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309"/>
  </p:notesMasterIdLst>
  <p:sldIdLst>
    <p:sldId id="2147476953" r:id="rId6"/>
    <p:sldId id="2147476954" r:id="rId7"/>
    <p:sldId id="2147476955" r:id="rId8"/>
    <p:sldId id="2147476956" r:id="rId9"/>
    <p:sldId id="2147476957" r:id="rId10"/>
    <p:sldId id="2147476958" r:id="rId11"/>
    <p:sldId id="2147476959" r:id="rId12"/>
    <p:sldId id="2147476960" r:id="rId13"/>
    <p:sldId id="2147476961" r:id="rId14"/>
    <p:sldId id="2147476962" r:id="rId15"/>
    <p:sldId id="2147476963" r:id="rId16"/>
    <p:sldId id="2147476964" r:id="rId17"/>
    <p:sldId id="2147476965" r:id="rId18"/>
    <p:sldId id="2147476966" r:id="rId19"/>
    <p:sldId id="2147476967" r:id="rId20"/>
    <p:sldId id="2147476968" r:id="rId21"/>
    <p:sldId id="2147476969" r:id="rId22"/>
    <p:sldId id="2147476970" r:id="rId23"/>
    <p:sldId id="2147476971" r:id="rId24"/>
    <p:sldId id="2147476972" r:id="rId25"/>
    <p:sldId id="2147476973" r:id="rId26"/>
    <p:sldId id="2147476974" r:id="rId27"/>
    <p:sldId id="2147476975" r:id="rId28"/>
    <p:sldId id="2147476976" r:id="rId29"/>
    <p:sldId id="2147476977" r:id="rId30"/>
    <p:sldId id="2147476978" r:id="rId31"/>
    <p:sldId id="2147476979" r:id="rId32"/>
    <p:sldId id="2147476980" r:id="rId33"/>
    <p:sldId id="2147476981" r:id="rId34"/>
    <p:sldId id="2147476982" r:id="rId35"/>
    <p:sldId id="2147476983" r:id="rId36"/>
    <p:sldId id="2147476984" r:id="rId37"/>
    <p:sldId id="2147476985" r:id="rId38"/>
    <p:sldId id="2147476986" r:id="rId39"/>
    <p:sldId id="2147476987" r:id="rId40"/>
    <p:sldId id="2147476988" r:id="rId41"/>
    <p:sldId id="2147476989" r:id="rId42"/>
    <p:sldId id="2147476990" r:id="rId43"/>
    <p:sldId id="2147476991" r:id="rId44"/>
    <p:sldId id="2147476992" r:id="rId45"/>
    <p:sldId id="2147476993" r:id="rId46"/>
    <p:sldId id="2147476994" r:id="rId47"/>
    <p:sldId id="2147476995" r:id="rId48"/>
    <p:sldId id="2147476996" r:id="rId49"/>
    <p:sldId id="2147476997" r:id="rId50"/>
    <p:sldId id="2147476998" r:id="rId51"/>
    <p:sldId id="2147476999" r:id="rId52"/>
    <p:sldId id="2147477000" r:id="rId53"/>
    <p:sldId id="2147477001" r:id="rId54"/>
    <p:sldId id="2147477002" r:id="rId55"/>
    <p:sldId id="2147477003" r:id="rId56"/>
    <p:sldId id="2147477004" r:id="rId57"/>
    <p:sldId id="2147477005" r:id="rId58"/>
    <p:sldId id="2147477006" r:id="rId59"/>
    <p:sldId id="2147477007" r:id="rId60"/>
    <p:sldId id="2147477008" r:id="rId61"/>
    <p:sldId id="2147477009" r:id="rId62"/>
    <p:sldId id="2147477010" r:id="rId63"/>
    <p:sldId id="2147477011" r:id="rId64"/>
    <p:sldId id="2147477012" r:id="rId65"/>
    <p:sldId id="2147477013" r:id="rId66"/>
    <p:sldId id="2147477014" r:id="rId67"/>
    <p:sldId id="2147477015" r:id="rId68"/>
    <p:sldId id="2147477016" r:id="rId69"/>
    <p:sldId id="2147477017" r:id="rId70"/>
    <p:sldId id="2147477018" r:id="rId71"/>
    <p:sldId id="2147477019" r:id="rId72"/>
    <p:sldId id="2147477020" r:id="rId73"/>
    <p:sldId id="2147477021" r:id="rId74"/>
    <p:sldId id="2147477022" r:id="rId75"/>
    <p:sldId id="2147477023" r:id="rId76"/>
    <p:sldId id="2147477024" r:id="rId77"/>
    <p:sldId id="2147477025" r:id="rId78"/>
    <p:sldId id="2147477026" r:id="rId79"/>
    <p:sldId id="2147477027" r:id="rId80"/>
    <p:sldId id="2147477028" r:id="rId81"/>
    <p:sldId id="2147477029" r:id="rId82"/>
    <p:sldId id="2147477030" r:id="rId83"/>
    <p:sldId id="2147477031" r:id="rId84"/>
    <p:sldId id="2147477032" r:id="rId85"/>
    <p:sldId id="2147477033" r:id="rId86"/>
    <p:sldId id="2147477034" r:id="rId87"/>
    <p:sldId id="2147477035" r:id="rId88"/>
    <p:sldId id="2147477036" r:id="rId89"/>
    <p:sldId id="2147477037" r:id="rId90"/>
    <p:sldId id="2147477038" r:id="rId91"/>
    <p:sldId id="2147477039" r:id="rId92"/>
    <p:sldId id="2147477040" r:id="rId93"/>
    <p:sldId id="2147477041" r:id="rId94"/>
    <p:sldId id="2147477042" r:id="rId95"/>
    <p:sldId id="2147477043" r:id="rId96"/>
    <p:sldId id="2147477044" r:id="rId97"/>
    <p:sldId id="2147477045" r:id="rId98"/>
    <p:sldId id="2147477046" r:id="rId99"/>
    <p:sldId id="2147477047" r:id="rId100"/>
    <p:sldId id="2147477048" r:id="rId101"/>
    <p:sldId id="2147477049" r:id="rId102"/>
    <p:sldId id="2147477050" r:id="rId103"/>
    <p:sldId id="2147477051" r:id="rId104"/>
    <p:sldId id="2147477052" r:id="rId105"/>
    <p:sldId id="2147477053" r:id="rId106"/>
    <p:sldId id="2147477054" r:id="rId107"/>
    <p:sldId id="2147477055" r:id="rId108"/>
    <p:sldId id="2147477056" r:id="rId109"/>
    <p:sldId id="2147477057" r:id="rId110"/>
    <p:sldId id="2147477058" r:id="rId111"/>
    <p:sldId id="2147477059" r:id="rId112"/>
    <p:sldId id="2147477060" r:id="rId113"/>
    <p:sldId id="2147477061" r:id="rId114"/>
    <p:sldId id="2147477062" r:id="rId115"/>
    <p:sldId id="2147477063" r:id="rId116"/>
    <p:sldId id="2147477064" r:id="rId117"/>
    <p:sldId id="2147477065" r:id="rId118"/>
    <p:sldId id="2147477066" r:id="rId119"/>
    <p:sldId id="2147477067" r:id="rId120"/>
    <p:sldId id="2147477068" r:id="rId121"/>
    <p:sldId id="2147477069" r:id="rId122"/>
    <p:sldId id="2147477070" r:id="rId123"/>
    <p:sldId id="2147477071" r:id="rId124"/>
    <p:sldId id="2147477072" r:id="rId125"/>
    <p:sldId id="2147477073" r:id="rId126"/>
    <p:sldId id="2147477074" r:id="rId127"/>
    <p:sldId id="2147477075" r:id="rId128"/>
    <p:sldId id="2147477076" r:id="rId129"/>
    <p:sldId id="2147477077" r:id="rId130"/>
    <p:sldId id="2147477078" r:id="rId131"/>
    <p:sldId id="2147477079" r:id="rId132"/>
    <p:sldId id="2147477080" r:id="rId133"/>
    <p:sldId id="2147477081" r:id="rId134"/>
    <p:sldId id="2147477082" r:id="rId135"/>
    <p:sldId id="2147477083" r:id="rId136"/>
    <p:sldId id="2147477084" r:id="rId137"/>
    <p:sldId id="2147477085" r:id="rId138"/>
    <p:sldId id="2147477086" r:id="rId139"/>
    <p:sldId id="2147477087" r:id="rId140"/>
    <p:sldId id="2147477088" r:id="rId141"/>
    <p:sldId id="2147477089" r:id="rId142"/>
    <p:sldId id="2147477090" r:id="rId143"/>
    <p:sldId id="2147477091" r:id="rId144"/>
    <p:sldId id="2147477092" r:id="rId145"/>
    <p:sldId id="2147477093" r:id="rId146"/>
    <p:sldId id="2147477094" r:id="rId147"/>
    <p:sldId id="2147477095" r:id="rId148"/>
    <p:sldId id="2147477096" r:id="rId149"/>
    <p:sldId id="2147477097" r:id="rId150"/>
    <p:sldId id="2147477098" r:id="rId151"/>
    <p:sldId id="2147477099" r:id="rId152"/>
    <p:sldId id="2147477100" r:id="rId153"/>
    <p:sldId id="2147477101" r:id="rId154"/>
    <p:sldId id="2147477102" r:id="rId155"/>
    <p:sldId id="2147477103" r:id="rId156"/>
    <p:sldId id="2147477104" r:id="rId157"/>
    <p:sldId id="2147477105" r:id="rId158"/>
    <p:sldId id="2147477106" r:id="rId159"/>
    <p:sldId id="2147477107" r:id="rId160"/>
    <p:sldId id="2147477108" r:id="rId161"/>
    <p:sldId id="2147477109" r:id="rId162"/>
    <p:sldId id="2147477110" r:id="rId163"/>
    <p:sldId id="2147477111" r:id="rId164"/>
    <p:sldId id="2147477112" r:id="rId165"/>
    <p:sldId id="2147477113" r:id="rId166"/>
    <p:sldId id="2147477114" r:id="rId167"/>
    <p:sldId id="2147477115" r:id="rId168"/>
    <p:sldId id="2147477116" r:id="rId169"/>
    <p:sldId id="2147477117" r:id="rId170"/>
    <p:sldId id="2147477118" r:id="rId171"/>
    <p:sldId id="2147477119" r:id="rId172"/>
    <p:sldId id="2147477120" r:id="rId173"/>
    <p:sldId id="2147477121" r:id="rId174"/>
    <p:sldId id="2147477122" r:id="rId175"/>
    <p:sldId id="2147477123" r:id="rId176"/>
    <p:sldId id="2147477124" r:id="rId177"/>
    <p:sldId id="2147477125" r:id="rId178"/>
    <p:sldId id="2147477126" r:id="rId179"/>
    <p:sldId id="2147477127" r:id="rId180"/>
    <p:sldId id="2147477128" r:id="rId181"/>
    <p:sldId id="2147477129" r:id="rId182"/>
    <p:sldId id="2147477130" r:id="rId183"/>
    <p:sldId id="2147477131" r:id="rId184"/>
    <p:sldId id="2147477132" r:id="rId185"/>
    <p:sldId id="2147477133" r:id="rId186"/>
    <p:sldId id="2147477134" r:id="rId187"/>
    <p:sldId id="2147477135" r:id="rId188"/>
    <p:sldId id="2147477136" r:id="rId189"/>
    <p:sldId id="2147477137" r:id="rId190"/>
    <p:sldId id="2147477138" r:id="rId191"/>
    <p:sldId id="2147477139" r:id="rId192"/>
    <p:sldId id="2147477140" r:id="rId193"/>
    <p:sldId id="2147477141" r:id="rId194"/>
    <p:sldId id="2147477142" r:id="rId195"/>
    <p:sldId id="2147477143" r:id="rId196"/>
    <p:sldId id="2147477144" r:id="rId197"/>
    <p:sldId id="2147477145" r:id="rId198"/>
    <p:sldId id="2147477146" r:id="rId199"/>
    <p:sldId id="2147477147" r:id="rId200"/>
    <p:sldId id="2147477148" r:id="rId201"/>
    <p:sldId id="2147477149" r:id="rId202"/>
    <p:sldId id="2147477150" r:id="rId203"/>
    <p:sldId id="2147477151" r:id="rId204"/>
    <p:sldId id="2147477152" r:id="rId205"/>
    <p:sldId id="2147477153" r:id="rId206"/>
    <p:sldId id="2147477154" r:id="rId207"/>
    <p:sldId id="2147477155" r:id="rId208"/>
    <p:sldId id="2147477156" r:id="rId209"/>
    <p:sldId id="2147477157" r:id="rId210"/>
    <p:sldId id="2147477158" r:id="rId211"/>
    <p:sldId id="2147477159" r:id="rId212"/>
    <p:sldId id="2147477160" r:id="rId213"/>
    <p:sldId id="2147477161" r:id="rId214"/>
    <p:sldId id="2147477162" r:id="rId215"/>
    <p:sldId id="2147477163" r:id="rId216"/>
    <p:sldId id="2147477164" r:id="rId217"/>
    <p:sldId id="2147477165" r:id="rId218"/>
    <p:sldId id="2147477166" r:id="rId219"/>
    <p:sldId id="2147477167" r:id="rId220"/>
    <p:sldId id="2147477168" r:id="rId221"/>
    <p:sldId id="2147477169" r:id="rId222"/>
    <p:sldId id="2147477170" r:id="rId223"/>
    <p:sldId id="2147477171" r:id="rId224"/>
    <p:sldId id="2147477172" r:id="rId225"/>
    <p:sldId id="2147477173" r:id="rId226"/>
    <p:sldId id="2147477174" r:id="rId227"/>
    <p:sldId id="2147477175" r:id="rId228"/>
    <p:sldId id="2147477176" r:id="rId229"/>
    <p:sldId id="2147477177" r:id="rId230"/>
    <p:sldId id="2147477178" r:id="rId231"/>
    <p:sldId id="2147477179" r:id="rId232"/>
    <p:sldId id="2147477180" r:id="rId233"/>
    <p:sldId id="2147477181" r:id="rId234"/>
    <p:sldId id="2147477182" r:id="rId235"/>
    <p:sldId id="2147477183" r:id="rId236"/>
    <p:sldId id="2147477184" r:id="rId237"/>
    <p:sldId id="2147477185" r:id="rId238"/>
    <p:sldId id="2147477186" r:id="rId239"/>
    <p:sldId id="2147477187" r:id="rId240"/>
    <p:sldId id="2147477188" r:id="rId241"/>
    <p:sldId id="2147477189" r:id="rId242"/>
    <p:sldId id="2147477190" r:id="rId243"/>
    <p:sldId id="2147477191" r:id="rId244"/>
    <p:sldId id="2147477192" r:id="rId245"/>
    <p:sldId id="2147477193" r:id="rId246"/>
    <p:sldId id="2147477194" r:id="rId247"/>
    <p:sldId id="2147477195" r:id="rId248"/>
    <p:sldId id="2147477196" r:id="rId249"/>
    <p:sldId id="2147477197" r:id="rId250"/>
    <p:sldId id="2147477198" r:id="rId251"/>
    <p:sldId id="2147477199" r:id="rId252"/>
    <p:sldId id="2147477200" r:id="rId253"/>
    <p:sldId id="2147477201" r:id="rId254"/>
    <p:sldId id="2147477202" r:id="rId255"/>
    <p:sldId id="2147477203" r:id="rId256"/>
    <p:sldId id="2147477204" r:id="rId257"/>
    <p:sldId id="2147477205" r:id="rId258"/>
    <p:sldId id="2147477206" r:id="rId259"/>
    <p:sldId id="2147477207" r:id="rId260"/>
    <p:sldId id="2147477208" r:id="rId261"/>
    <p:sldId id="2147477209" r:id="rId262"/>
    <p:sldId id="2147477210" r:id="rId263"/>
    <p:sldId id="2147477211" r:id="rId264"/>
    <p:sldId id="2147477212" r:id="rId265"/>
    <p:sldId id="2147477213" r:id="rId266"/>
    <p:sldId id="2147477214" r:id="rId267"/>
    <p:sldId id="2147477215" r:id="rId268"/>
    <p:sldId id="2147477216" r:id="rId269"/>
    <p:sldId id="2147477217" r:id="rId270"/>
    <p:sldId id="2147477218" r:id="rId271"/>
    <p:sldId id="2147477219" r:id="rId272"/>
    <p:sldId id="2147477220" r:id="rId273"/>
    <p:sldId id="2147477221" r:id="rId274"/>
    <p:sldId id="2147477222" r:id="rId275"/>
    <p:sldId id="2147477223" r:id="rId276"/>
    <p:sldId id="2147477224" r:id="rId277"/>
    <p:sldId id="2147477225" r:id="rId278"/>
    <p:sldId id="2147477226" r:id="rId279"/>
    <p:sldId id="2147477227" r:id="rId280"/>
    <p:sldId id="2147477228" r:id="rId281"/>
    <p:sldId id="2147477229" r:id="rId282"/>
    <p:sldId id="2147477230" r:id="rId283"/>
    <p:sldId id="2147477231" r:id="rId284"/>
    <p:sldId id="2147477232" r:id="rId285"/>
    <p:sldId id="2147477233" r:id="rId286"/>
    <p:sldId id="2147477234" r:id="rId287"/>
    <p:sldId id="2147477235" r:id="rId288"/>
    <p:sldId id="2147477236" r:id="rId289"/>
    <p:sldId id="2147477237" r:id="rId290"/>
    <p:sldId id="2147477238" r:id="rId291"/>
    <p:sldId id="2147477239" r:id="rId292"/>
    <p:sldId id="2147477240" r:id="rId293"/>
    <p:sldId id="2147477241" r:id="rId294"/>
    <p:sldId id="2147477242" r:id="rId295"/>
    <p:sldId id="2147477243" r:id="rId296"/>
    <p:sldId id="2147477244" r:id="rId297"/>
    <p:sldId id="2147477245" r:id="rId298"/>
    <p:sldId id="2147477246" r:id="rId299"/>
    <p:sldId id="2147477247" r:id="rId300"/>
    <p:sldId id="2147477248" r:id="rId301"/>
    <p:sldId id="2147477249" r:id="rId302"/>
    <p:sldId id="2147477250" r:id="rId303"/>
    <p:sldId id="2147477251" r:id="rId304"/>
    <p:sldId id="2147477252" r:id="rId305"/>
    <p:sldId id="2147477253" r:id="rId306"/>
    <p:sldId id="2147477254" r:id="rId307"/>
    <p:sldId id="2147477255" r:id="rId30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E4B51B2F-AAA3-4A5B-9237-BBE74FE7190F}">
          <p14:sldIdLst>
            <p14:sldId id="2147476953"/>
            <p14:sldId id="2147476954"/>
            <p14:sldId id="2147476955"/>
            <p14:sldId id="2147476956"/>
          </p14:sldIdLst>
        </p14:section>
        <p14:section name="Brand Sourcing Analysis" id="{70E1B326-B670-4EFA-9E21-505D2FF7B613}">
          <p14:sldIdLst>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Lst>
        </p14:section>
        <p14:section name="Product Sourcing Analysis" id="{FC6B0680-A8A8-4378-8644-B8F29A050951}">
          <p14:sldIdLst>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Lst>
        </p14:section>
        <p14:section name="Price Elasticity Curve" id="{A8159E72-5202-49EC-B3B6-EC91B164A736}">
          <p14:sldIdLst>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Lst>
        </p14:section>
        <p14:section name="Revenue Response Analysis" id="{A957B548-D17E-48B0-BB32-04665127F739}">
          <p14:sldIdLst>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 id="2147477240"/>
            <p14:sldId id="2147477241"/>
            <p14:sldId id="2147477242"/>
            <p14:sldId id="2147477243"/>
            <p14:sldId id="2147477244"/>
            <p14:sldId id="2147477245"/>
            <p14:sldId id="2147477246"/>
            <p14:sldId id="2147477247"/>
            <p14:sldId id="2147477248"/>
            <p14:sldId id="2147477249"/>
            <p14:sldId id="2147477250"/>
            <p14:sldId id="2147477251"/>
            <p14:sldId id="2147477252"/>
            <p14:sldId id="2147477253"/>
            <p14:sldId id="2147477254"/>
            <p14:sldId id="214747725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slide" Target="slides/slide139.xml"/><Relationship Id="rId145" Type="http://schemas.openxmlformats.org/officeDocument/2006/relationships/slide" Target="slides/slide140.xml"/><Relationship Id="rId146" Type="http://schemas.openxmlformats.org/officeDocument/2006/relationships/slide" Target="slides/slide141.xml"/><Relationship Id="rId147" Type="http://schemas.openxmlformats.org/officeDocument/2006/relationships/slide" Target="slides/slide142.xml"/><Relationship Id="rId148" Type="http://schemas.openxmlformats.org/officeDocument/2006/relationships/slide" Target="slides/slide143.xml"/><Relationship Id="rId149" Type="http://schemas.openxmlformats.org/officeDocument/2006/relationships/slide" Target="slides/slide144.xml"/><Relationship Id="rId150" Type="http://schemas.openxmlformats.org/officeDocument/2006/relationships/slide" Target="slides/slide145.xml"/><Relationship Id="rId151" Type="http://schemas.openxmlformats.org/officeDocument/2006/relationships/slide" Target="slides/slide146.xml"/><Relationship Id="rId152" Type="http://schemas.openxmlformats.org/officeDocument/2006/relationships/slide" Target="slides/slide147.xml"/><Relationship Id="rId153" Type="http://schemas.openxmlformats.org/officeDocument/2006/relationships/slide" Target="slides/slide148.xml"/><Relationship Id="rId154" Type="http://schemas.openxmlformats.org/officeDocument/2006/relationships/slide" Target="slides/slide149.xml"/><Relationship Id="rId155" Type="http://schemas.openxmlformats.org/officeDocument/2006/relationships/slide" Target="slides/slide150.xml"/><Relationship Id="rId156" Type="http://schemas.openxmlformats.org/officeDocument/2006/relationships/slide" Target="slides/slide151.xml"/><Relationship Id="rId157" Type="http://schemas.openxmlformats.org/officeDocument/2006/relationships/slide" Target="slides/slide152.xml"/><Relationship Id="rId158" Type="http://schemas.openxmlformats.org/officeDocument/2006/relationships/slide" Target="slides/slide153.xml"/><Relationship Id="rId159" Type="http://schemas.openxmlformats.org/officeDocument/2006/relationships/slide" Target="slides/slide154.xml"/><Relationship Id="rId160" Type="http://schemas.openxmlformats.org/officeDocument/2006/relationships/slide" Target="slides/slide155.xml"/><Relationship Id="rId161" Type="http://schemas.openxmlformats.org/officeDocument/2006/relationships/slide" Target="slides/slide156.xml"/><Relationship Id="rId162" Type="http://schemas.openxmlformats.org/officeDocument/2006/relationships/slide" Target="slides/slide157.xml"/><Relationship Id="rId163" Type="http://schemas.openxmlformats.org/officeDocument/2006/relationships/slide" Target="slides/slide158.xml"/><Relationship Id="rId164" Type="http://schemas.openxmlformats.org/officeDocument/2006/relationships/slide" Target="slides/slide159.xml"/><Relationship Id="rId165" Type="http://schemas.openxmlformats.org/officeDocument/2006/relationships/slide" Target="slides/slide160.xml"/><Relationship Id="rId166" Type="http://schemas.openxmlformats.org/officeDocument/2006/relationships/slide" Target="slides/slide161.xml"/><Relationship Id="rId167" Type="http://schemas.openxmlformats.org/officeDocument/2006/relationships/slide" Target="slides/slide162.xml"/><Relationship Id="rId168" Type="http://schemas.openxmlformats.org/officeDocument/2006/relationships/slide" Target="slides/slide163.xml"/><Relationship Id="rId169" Type="http://schemas.openxmlformats.org/officeDocument/2006/relationships/slide" Target="slides/slide164.xml"/><Relationship Id="rId170" Type="http://schemas.openxmlformats.org/officeDocument/2006/relationships/slide" Target="slides/slide165.xml"/><Relationship Id="rId171" Type="http://schemas.openxmlformats.org/officeDocument/2006/relationships/slide" Target="slides/slide166.xml"/><Relationship Id="rId172" Type="http://schemas.openxmlformats.org/officeDocument/2006/relationships/slide" Target="slides/slide167.xml"/><Relationship Id="rId173" Type="http://schemas.openxmlformats.org/officeDocument/2006/relationships/slide" Target="slides/slide168.xml"/><Relationship Id="rId174" Type="http://schemas.openxmlformats.org/officeDocument/2006/relationships/slide" Target="slides/slide169.xml"/><Relationship Id="rId175" Type="http://schemas.openxmlformats.org/officeDocument/2006/relationships/slide" Target="slides/slide170.xml"/><Relationship Id="rId176" Type="http://schemas.openxmlformats.org/officeDocument/2006/relationships/slide" Target="slides/slide171.xml"/><Relationship Id="rId177" Type="http://schemas.openxmlformats.org/officeDocument/2006/relationships/slide" Target="slides/slide172.xml"/><Relationship Id="rId178" Type="http://schemas.openxmlformats.org/officeDocument/2006/relationships/slide" Target="slides/slide173.xml"/><Relationship Id="rId179" Type="http://schemas.openxmlformats.org/officeDocument/2006/relationships/slide" Target="slides/slide174.xml"/><Relationship Id="rId180" Type="http://schemas.openxmlformats.org/officeDocument/2006/relationships/slide" Target="slides/slide175.xml"/><Relationship Id="rId181" Type="http://schemas.openxmlformats.org/officeDocument/2006/relationships/slide" Target="slides/slide176.xml"/><Relationship Id="rId182" Type="http://schemas.openxmlformats.org/officeDocument/2006/relationships/slide" Target="slides/slide177.xml"/><Relationship Id="rId183" Type="http://schemas.openxmlformats.org/officeDocument/2006/relationships/slide" Target="slides/slide178.xml"/><Relationship Id="rId184" Type="http://schemas.openxmlformats.org/officeDocument/2006/relationships/slide" Target="slides/slide179.xml"/><Relationship Id="rId185" Type="http://schemas.openxmlformats.org/officeDocument/2006/relationships/slide" Target="slides/slide180.xml"/><Relationship Id="rId186" Type="http://schemas.openxmlformats.org/officeDocument/2006/relationships/slide" Target="slides/slide181.xml"/><Relationship Id="rId187" Type="http://schemas.openxmlformats.org/officeDocument/2006/relationships/slide" Target="slides/slide182.xml"/><Relationship Id="rId188" Type="http://schemas.openxmlformats.org/officeDocument/2006/relationships/slide" Target="slides/slide183.xml"/><Relationship Id="rId189" Type="http://schemas.openxmlformats.org/officeDocument/2006/relationships/slide" Target="slides/slide184.xml"/><Relationship Id="rId190" Type="http://schemas.openxmlformats.org/officeDocument/2006/relationships/slide" Target="slides/slide185.xml"/><Relationship Id="rId191" Type="http://schemas.openxmlformats.org/officeDocument/2006/relationships/slide" Target="slides/slide186.xml"/><Relationship Id="rId192" Type="http://schemas.openxmlformats.org/officeDocument/2006/relationships/slide" Target="slides/slide187.xml"/><Relationship Id="rId193" Type="http://schemas.openxmlformats.org/officeDocument/2006/relationships/slide" Target="slides/slide188.xml"/><Relationship Id="rId194" Type="http://schemas.openxmlformats.org/officeDocument/2006/relationships/slide" Target="slides/slide189.xml"/><Relationship Id="rId195" Type="http://schemas.openxmlformats.org/officeDocument/2006/relationships/slide" Target="slides/slide190.xml"/><Relationship Id="rId196" Type="http://schemas.openxmlformats.org/officeDocument/2006/relationships/slide" Target="slides/slide191.xml"/><Relationship Id="rId197" Type="http://schemas.openxmlformats.org/officeDocument/2006/relationships/slide" Target="slides/slide192.xml"/><Relationship Id="rId198" Type="http://schemas.openxmlformats.org/officeDocument/2006/relationships/slide" Target="slides/slide193.xml"/><Relationship Id="rId199" Type="http://schemas.openxmlformats.org/officeDocument/2006/relationships/slide" Target="slides/slide194.xml"/><Relationship Id="rId200" Type="http://schemas.openxmlformats.org/officeDocument/2006/relationships/slide" Target="slides/slide195.xml"/><Relationship Id="rId201" Type="http://schemas.openxmlformats.org/officeDocument/2006/relationships/slide" Target="slides/slide196.xml"/><Relationship Id="rId202" Type="http://schemas.openxmlformats.org/officeDocument/2006/relationships/slide" Target="slides/slide197.xml"/><Relationship Id="rId203" Type="http://schemas.openxmlformats.org/officeDocument/2006/relationships/slide" Target="slides/slide198.xml"/><Relationship Id="rId204" Type="http://schemas.openxmlformats.org/officeDocument/2006/relationships/slide" Target="slides/slide199.xml"/><Relationship Id="rId205" Type="http://schemas.openxmlformats.org/officeDocument/2006/relationships/slide" Target="slides/slide200.xml"/><Relationship Id="rId206" Type="http://schemas.openxmlformats.org/officeDocument/2006/relationships/slide" Target="slides/slide201.xml"/><Relationship Id="rId207" Type="http://schemas.openxmlformats.org/officeDocument/2006/relationships/slide" Target="slides/slide202.xml"/><Relationship Id="rId208" Type="http://schemas.openxmlformats.org/officeDocument/2006/relationships/slide" Target="slides/slide203.xml"/><Relationship Id="rId209" Type="http://schemas.openxmlformats.org/officeDocument/2006/relationships/slide" Target="slides/slide204.xml"/><Relationship Id="rId210" Type="http://schemas.openxmlformats.org/officeDocument/2006/relationships/slide" Target="slides/slide205.xml"/><Relationship Id="rId211" Type="http://schemas.openxmlformats.org/officeDocument/2006/relationships/slide" Target="slides/slide206.xml"/><Relationship Id="rId212" Type="http://schemas.openxmlformats.org/officeDocument/2006/relationships/slide" Target="slides/slide207.xml"/><Relationship Id="rId213" Type="http://schemas.openxmlformats.org/officeDocument/2006/relationships/slide" Target="slides/slide208.xml"/><Relationship Id="rId214" Type="http://schemas.openxmlformats.org/officeDocument/2006/relationships/slide" Target="slides/slide209.xml"/><Relationship Id="rId215" Type="http://schemas.openxmlformats.org/officeDocument/2006/relationships/slide" Target="slides/slide210.xml"/><Relationship Id="rId216" Type="http://schemas.openxmlformats.org/officeDocument/2006/relationships/slide" Target="slides/slide211.xml"/><Relationship Id="rId217" Type="http://schemas.openxmlformats.org/officeDocument/2006/relationships/slide" Target="slides/slide212.xml"/><Relationship Id="rId218" Type="http://schemas.openxmlformats.org/officeDocument/2006/relationships/slide" Target="slides/slide213.xml"/><Relationship Id="rId219" Type="http://schemas.openxmlformats.org/officeDocument/2006/relationships/slide" Target="slides/slide214.xml"/><Relationship Id="rId220" Type="http://schemas.openxmlformats.org/officeDocument/2006/relationships/slide" Target="slides/slide215.xml"/><Relationship Id="rId221" Type="http://schemas.openxmlformats.org/officeDocument/2006/relationships/slide" Target="slides/slide216.xml"/><Relationship Id="rId222" Type="http://schemas.openxmlformats.org/officeDocument/2006/relationships/slide" Target="slides/slide217.xml"/><Relationship Id="rId223" Type="http://schemas.openxmlformats.org/officeDocument/2006/relationships/slide" Target="slides/slide218.xml"/><Relationship Id="rId224" Type="http://schemas.openxmlformats.org/officeDocument/2006/relationships/slide" Target="slides/slide219.xml"/><Relationship Id="rId225" Type="http://schemas.openxmlformats.org/officeDocument/2006/relationships/slide" Target="slides/slide220.xml"/><Relationship Id="rId226" Type="http://schemas.openxmlformats.org/officeDocument/2006/relationships/slide" Target="slides/slide221.xml"/><Relationship Id="rId227" Type="http://schemas.openxmlformats.org/officeDocument/2006/relationships/slide" Target="slides/slide222.xml"/><Relationship Id="rId228" Type="http://schemas.openxmlformats.org/officeDocument/2006/relationships/slide" Target="slides/slide223.xml"/><Relationship Id="rId229" Type="http://schemas.openxmlformats.org/officeDocument/2006/relationships/slide" Target="slides/slide224.xml"/><Relationship Id="rId230" Type="http://schemas.openxmlformats.org/officeDocument/2006/relationships/slide" Target="slides/slide225.xml"/><Relationship Id="rId231" Type="http://schemas.openxmlformats.org/officeDocument/2006/relationships/slide" Target="slides/slide226.xml"/><Relationship Id="rId232" Type="http://schemas.openxmlformats.org/officeDocument/2006/relationships/slide" Target="slides/slide227.xml"/><Relationship Id="rId233" Type="http://schemas.openxmlformats.org/officeDocument/2006/relationships/slide" Target="slides/slide228.xml"/><Relationship Id="rId234" Type="http://schemas.openxmlformats.org/officeDocument/2006/relationships/slide" Target="slides/slide229.xml"/><Relationship Id="rId235" Type="http://schemas.openxmlformats.org/officeDocument/2006/relationships/slide" Target="slides/slide230.xml"/><Relationship Id="rId236" Type="http://schemas.openxmlformats.org/officeDocument/2006/relationships/slide" Target="slides/slide231.xml"/><Relationship Id="rId237" Type="http://schemas.openxmlformats.org/officeDocument/2006/relationships/slide" Target="slides/slide232.xml"/><Relationship Id="rId238" Type="http://schemas.openxmlformats.org/officeDocument/2006/relationships/slide" Target="slides/slide233.xml"/><Relationship Id="rId239" Type="http://schemas.openxmlformats.org/officeDocument/2006/relationships/slide" Target="slides/slide234.xml"/><Relationship Id="rId240" Type="http://schemas.openxmlformats.org/officeDocument/2006/relationships/slide" Target="slides/slide235.xml"/><Relationship Id="rId241" Type="http://schemas.openxmlformats.org/officeDocument/2006/relationships/slide" Target="slides/slide236.xml"/><Relationship Id="rId242" Type="http://schemas.openxmlformats.org/officeDocument/2006/relationships/slide" Target="slides/slide237.xml"/><Relationship Id="rId243" Type="http://schemas.openxmlformats.org/officeDocument/2006/relationships/slide" Target="slides/slide238.xml"/><Relationship Id="rId244" Type="http://schemas.openxmlformats.org/officeDocument/2006/relationships/slide" Target="slides/slide239.xml"/><Relationship Id="rId245" Type="http://schemas.openxmlformats.org/officeDocument/2006/relationships/slide" Target="slides/slide240.xml"/><Relationship Id="rId246" Type="http://schemas.openxmlformats.org/officeDocument/2006/relationships/slide" Target="slides/slide241.xml"/><Relationship Id="rId247" Type="http://schemas.openxmlformats.org/officeDocument/2006/relationships/slide" Target="slides/slide242.xml"/><Relationship Id="rId248" Type="http://schemas.openxmlformats.org/officeDocument/2006/relationships/slide" Target="slides/slide243.xml"/><Relationship Id="rId249" Type="http://schemas.openxmlformats.org/officeDocument/2006/relationships/slide" Target="slides/slide244.xml"/><Relationship Id="rId250" Type="http://schemas.openxmlformats.org/officeDocument/2006/relationships/slide" Target="slides/slide245.xml"/><Relationship Id="rId251" Type="http://schemas.openxmlformats.org/officeDocument/2006/relationships/slide" Target="slides/slide246.xml"/><Relationship Id="rId252" Type="http://schemas.openxmlformats.org/officeDocument/2006/relationships/slide" Target="slides/slide247.xml"/><Relationship Id="rId253" Type="http://schemas.openxmlformats.org/officeDocument/2006/relationships/slide" Target="slides/slide248.xml"/><Relationship Id="rId254" Type="http://schemas.openxmlformats.org/officeDocument/2006/relationships/slide" Target="slides/slide249.xml"/><Relationship Id="rId255" Type="http://schemas.openxmlformats.org/officeDocument/2006/relationships/slide" Target="slides/slide250.xml"/><Relationship Id="rId256" Type="http://schemas.openxmlformats.org/officeDocument/2006/relationships/slide" Target="slides/slide251.xml"/><Relationship Id="rId257" Type="http://schemas.openxmlformats.org/officeDocument/2006/relationships/slide" Target="slides/slide252.xml"/><Relationship Id="rId258" Type="http://schemas.openxmlformats.org/officeDocument/2006/relationships/slide" Target="slides/slide253.xml"/><Relationship Id="rId259" Type="http://schemas.openxmlformats.org/officeDocument/2006/relationships/slide" Target="slides/slide254.xml"/><Relationship Id="rId260" Type="http://schemas.openxmlformats.org/officeDocument/2006/relationships/slide" Target="slides/slide255.xml"/><Relationship Id="rId261" Type="http://schemas.openxmlformats.org/officeDocument/2006/relationships/slide" Target="slides/slide256.xml"/><Relationship Id="rId262" Type="http://schemas.openxmlformats.org/officeDocument/2006/relationships/slide" Target="slides/slide257.xml"/><Relationship Id="rId263" Type="http://schemas.openxmlformats.org/officeDocument/2006/relationships/slide" Target="slides/slide258.xml"/><Relationship Id="rId264" Type="http://schemas.openxmlformats.org/officeDocument/2006/relationships/slide" Target="slides/slide259.xml"/><Relationship Id="rId265" Type="http://schemas.openxmlformats.org/officeDocument/2006/relationships/slide" Target="slides/slide260.xml"/><Relationship Id="rId266" Type="http://schemas.openxmlformats.org/officeDocument/2006/relationships/slide" Target="slides/slide261.xml"/><Relationship Id="rId267" Type="http://schemas.openxmlformats.org/officeDocument/2006/relationships/slide" Target="slides/slide262.xml"/><Relationship Id="rId268" Type="http://schemas.openxmlformats.org/officeDocument/2006/relationships/slide" Target="slides/slide263.xml"/><Relationship Id="rId269" Type="http://schemas.openxmlformats.org/officeDocument/2006/relationships/slide" Target="slides/slide264.xml"/><Relationship Id="rId270" Type="http://schemas.openxmlformats.org/officeDocument/2006/relationships/slide" Target="slides/slide265.xml"/><Relationship Id="rId271" Type="http://schemas.openxmlformats.org/officeDocument/2006/relationships/slide" Target="slides/slide266.xml"/><Relationship Id="rId272" Type="http://schemas.openxmlformats.org/officeDocument/2006/relationships/slide" Target="slides/slide267.xml"/><Relationship Id="rId273" Type="http://schemas.openxmlformats.org/officeDocument/2006/relationships/slide" Target="slides/slide268.xml"/><Relationship Id="rId274" Type="http://schemas.openxmlformats.org/officeDocument/2006/relationships/slide" Target="slides/slide269.xml"/><Relationship Id="rId275" Type="http://schemas.openxmlformats.org/officeDocument/2006/relationships/slide" Target="slides/slide270.xml"/><Relationship Id="rId276" Type="http://schemas.openxmlformats.org/officeDocument/2006/relationships/slide" Target="slides/slide271.xml"/><Relationship Id="rId277" Type="http://schemas.openxmlformats.org/officeDocument/2006/relationships/slide" Target="slides/slide272.xml"/><Relationship Id="rId278" Type="http://schemas.openxmlformats.org/officeDocument/2006/relationships/slide" Target="slides/slide273.xml"/><Relationship Id="rId279" Type="http://schemas.openxmlformats.org/officeDocument/2006/relationships/slide" Target="slides/slide274.xml"/><Relationship Id="rId280" Type="http://schemas.openxmlformats.org/officeDocument/2006/relationships/slide" Target="slides/slide275.xml"/><Relationship Id="rId281" Type="http://schemas.openxmlformats.org/officeDocument/2006/relationships/slide" Target="slides/slide276.xml"/><Relationship Id="rId282" Type="http://schemas.openxmlformats.org/officeDocument/2006/relationships/slide" Target="slides/slide277.xml"/><Relationship Id="rId283" Type="http://schemas.openxmlformats.org/officeDocument/2006/relationships/slide" Target="slides/slide278.xml"/><Relationship Id="rId284" Type="http://schemas.openxmlformats.org/officeDocument/2006/relationships/slide" Target="slides/slide279.xml"/><Relationship Id="rId285" Type="http://schemas.openxmlformats.org/officeDocument/2006/relationships/slide" Target="slides/slide280.xml"/><Relationship Id="rId286" Type="http://schemas.openxmlformats.org/officeDocument/2006/relationships/slide" Target="slides/slide281.xml"/><Relationship Id="rId287" Type="http://schemas.openxmlformats.org/officeDocument/2006/relationships/slide" Target="slides/slide282.xml"/><Relationship Id="rId288" Type="http://schemas.openxmlformats.org/officeDocument/2006/relationships/slide" Target="slides/slide283.xml"/><Relationship Id="rId289" Type="http://schemas.openxmlformats.org/officeDocument/2006/relationships/slide" Target="slides/slide284.xml"/><Relationship Id="rId290" Type="http://schemas.openxmlformats.org/officeDocument/2006/relationships/slide" Target="slides/slide285.xml"/><Relationship Id="rId291" Type="http://schemas.openxmlformats.org/officeDocument/2006/relationships/slide" Target="slides/slide286.xml"/><Relationship Id="rId292" Type="http://schemas.openxmlformats.org/officeDocument/2006/relationships/slide" Target="slides/slide287.xml"/><Relationship Id="rId293" Type="http://schemas.openxmlformats.org/officeDocument/2006/relationships/slide" Target="slides/slide288.xml"/><Relationship Id="rId294" Type="http://schemas.openxmlformats.org/officeDocument/2006/relationships/slide" Target="slides/slide289.xml"/><Relationship Id="rId295" Type="http://schemas.openxmlformats.org/officeDocument/2006/relationships/slide" Target="slides/slide290.xml"/><Relationship Id="rId296" Type="http://schemas.openxmlformats.org/officeDocument/2006/relationships/slide" Target="slides/slide291.xml"/><Relationship Id="rId297" Type="http://schemas.openxmlformats.org/officeDocument/2006/relationships/slide" Target="slides/slide292.xml"/><Relationship Id="rId298" Type="http://schemas.openxmlformats.org/officeDocument/2006/relationships/slide" Target="slides/slide293.xml"/><Relationship Id="rId299" Type="http://schemas.openxmlformats.org/officeDocument/2006/relationships/slide" Target="slides/slide294.xml"/><Relationship Id="rId300" Type="http://schemas.openxmlformats.org/officeDocument/2006/relationships/slide" Target="slides/slide295.xml"/><Relationship Id="rId301" Type="http://schemas.openxmlformats.org/officeDocument/2006/relationships/slide" Target="slides/slide296.xml"/><Relationship Id="rId302" Type="http://schemas.openxmlformats.org/officeDocument/2006/relationships/slide" Target="slides/slide297.xml"/><Relationship Id="rId303" Type="http://schemas.openxmlformats.org/officeDocument/2006/relationships/slide" Target="slides/slide298.xml"/><Relationship Id="rId304" Type="http://schemas.openxmlformats.org/officeDocument/2006/relationships/slide" Target="slides/slide299.xml"/><Relationship Id="rId305" Type="http://schemas.openxmlformats.org/officeDocument/2006/relationships/slide" Target="slides/slide300.xml"/><Relationship Id="rId306" Type="http://schemas.openxmlformats.org/officeDocument/2006/relationships/slide" Target="slides/slide301.xml"/><Relationship Id="rId307" Type="http://schemas.openxmlformats.org/officeDocument/2006/relationships/slide" Target="slides/slide302.xml"/><Relationship Id="rId308" Type="http://schemas.openxmlformats.org/officeDocument/2006/relationships/slide" Target="slides/slide303.xml"/><Relationship Id="rId309" Type="http://schemas.openxmlformats.org/officeDocument/2006/relationships/notesMaster" Target="notesMasters/notesMaster1.xml"/><Relationship Id="rId310" Type="http://schemas.openxmlformats.org/officeDocument/2006/relationships/presProps" Target="presProps.xml"/><Relationship Id="rId311" Type="http://schemas.openxmlformats.org/officeDocument/2006/relationships/viewProps" Target="viewProps.xml"/><Relationship Id="rId312" Type="http://schemas.openxmlformats.org/officeDocument/2006/relationships/theme" Target="theme/theme1.xml"/><Relationship Id="rId313" Type="http://schemas.openxmlformats.org/officeDocument/2006/relationships/tableStyles" Target="tableStyles.xml"/><Relationship Id="rId31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Nicola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sserat De Bellef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Aya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olling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Canard-Duchên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Lall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Deutz</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Henrio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aurent Perr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Lefèv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Malar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De Blig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ouis Mart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Ruinar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Moët &amp; Chand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Veuve Clicquo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Perrier-Jouë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t>Piper-Heidsieck</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t>Pol Roger</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dLbl>
              <c:idx val="19"/>
              <c:tx>
                <c:rich>
                  <a:bodyPr/>
                  <a:lstStyle/>
                  <a:p>
                    <a:r>
                      <a:t>Roederer</a:t>
                    </a:r>
                  </a:p>
                </c:rich>
              </c:tx>
              <c:showLegendKey val="0"/>
              <c:showVal val="1"/>
              <c:showCatName val="0"/>
              <c:showSerName val="0"/>
              <c:showPercent val="0"/>
              <c:showBubbleSize val="0"/>
            </c:dLbl>
            <c:dLbl>
              <c:idx val="20"/>
              <c:tx>
                <c:rich>
                  <a:bodyPr/>
                  <a:lstStyle/>
                  <a:p>
                    <a:r>
                      <a:t>Taittinger</a:t>
                    </a:r>
                  </a:p>
                </c:rich>
              </c:tx>
              <c:showLegendKey val="0"/>
              <c:showVal val="1"/>
              <c:showCatName val="0"/>
              <c:showSerName val="0"/>
              <c:showPercent val="0"/>
              <c:showBubbleSize val="0"/>
            </c:dLbl>
            <c:dLbl>
              <c:idx val="21"/>
              <c:tx>
                <c:rich>
                  <a:bodyPr/>
                  <a:lstStyle/>
                  <a:p>
                    <a:r>
                      <a:t>Nicolas Feuillatte</a:t>
                    </a:r>
                  </a:p>
                </c:rich>
              </c:tx>
              <c:showLegendKey val="0"/>
              <c:showVal val="1"/>
              <c:showCatName val="0"/>
              <c:showSerName val="0"/>
              <c:showPercent val="0"/>
              <c:showBubbleSize val="0"/>
            </c:dLbl>
            <c:dLbl>
              <c:idx val="22"/>
              <c:tx>
                <c:rich>
                  <a:bodyPr/>
                  <a:lstStyle/>
                  <a:p>
                    <a:r>
                      <a:t>De Saint-Gall</a:t>
                    </a:r>
                  </a:p>
                </c:rich>
              </c:tx>
              <c:showLegendKey val="0"/>
              <c:showVal val="1"/>
              <c:showCatName val="0"/>
              <c:showSerName val="0"/>
              <c:showPercent val="0"/>
              <c:showBubbleSize val="0"/>
            </c:dLbl>
            <c:dLbl>
              <c:idx val="23"/>
              <c:tx>
                <c:rich>
                  <a:bodyPr/>
                  <a:lstStyle/>
                  <a:p>
                    <a:r>
                      <a:t>De Venoge</a:t>
                    </a:r>
                  </a:p>
                </c:rich>
              </c:tx>
              <c:showLegendKey val="0"/>
              <c:showVal val="1"/>
              <c:showCatName val="0"/>
              <c:showSerName val="0"/>
              <c:showPercent val="0"/>
              <c:showBubbleSize val="0"/>
            </c:dLbl>
            <c:dLbl>
              <c:idx val="24"/>
              <c:tx>
                <c:rich>
                  <a:bodyPr/>
                  <a:lstStyle/>
                  <a:p>
                    <a:r>
                      <a:t>Vesselle</a:t>
                    </a:r>
                  </a:p>
                </c:rich>
              </c:tx>
              <c:showLegendKey val="0"/>
              <c:showVal val="1"/>
              <c:showCatName val="0"/>
              <c:showSerName val="0"/>
              <c:showPercent val="0"/>
              <c:showBubbleSize val="0"/>
            </c:dLbl>
            <c:dLbl>
              <c:idx val="25"/>
              <c:tx>
                <c:rich>
                  <a:bodyPr/>
                  <a:lstStyle/>
                  <a:p>
                    <a:r>
                      <a:t>Demoiselle</a:t>
                    </a:r>
                  </a:p>
                </c:rich>
              </c:tx>
              <c:showLegendKey val="0"/>
              <c:showVal val="1"/>
              <c:showCatName val="0"/>
              <c:showSerName val="0"/>
              <c:showPercent val="0"/>
              <c:showBubbleSize val="0"/>
            </c:dLbl>
            <c:dLbl>
              <c:idx val="26"/>
              <c:tx>
                <c:rich>
                  <a:bodyPr/>
                  <a:lstStyle/>
                  <a:p>
                    <a:r>
                      <a:t>Heidsieck &amp; C° Monopole</a:t>
                    </a:r>
                  </a:p>
                </c:rich>
              </c:tx>
              <c:showLegendKey val="0"/>
              <c:showVal val="1"/>
              <c:showCatName val="0"/>
              <c:showSerName val="0"/>
              <c:showPercent val="0"/>
              <c:showBubbleSize val="0"/>
            </c:dLbl>
            <c:dLbl>
              <c:idx val="27"/>
              <c:tx>
                <c:rich>
                  <a:bodyPr/>
                  <a:lstStyle/>
                  <a:p>
                    <a:r>
                      <a:t>Pommery</a:t>
                    </a:r>
                  </a:p>
                </c:rich>
              </c:tx>
              <c:showLegendKey val="0"/>
              <c:showVal val="1"/>
              <c:showCatName val="0"/>
              <c:showSerName val="0"/>
              <c:showPercent val="0"/>
              <c:showBubbleSize val="0"/>
            </c:dLbl>
            <c:dLbl>
              <c:idx val="28"/>
              <c:tx>
                <c:rich>
                  <a:bodyPr/>
                  <a:lstStyle/>
                  <a:p>
                    <a:r>
                      <a:t>Dea Augusta</a:t>
                    </a:r>
                  </a:p>
                </c:rich>
              </c:tx>
              <c:showLegendKey val="0"/>
              <c:showVal val="1"/>
              <c:showCatName val="0"/>
              <c:showSerName val="0"/>
              <c:showPercent val="0"/>
              <c:showBubbleSize val="0"/>
            </c:dLbl>
            <c:dLbl>
              <c:idx val="29"/>
              <c:tx>
                <c:rich>
                  <a:bodyPr/>
                  <a:lstStyle/>
                  <a:p>
                    <a:r>
                      <a:t>De Chanceny</a:t>
                    </a:r>
                  </a:p>
                </c:rich>
              </c:tx>
              <c:showLegendKey val="0"/>
              <c:showVal val="1"/>
              <c:showCatName val="0"/>
              <c:showSerName val="0"/>
              <c:showPercent val="0"/>
              <c:showBubbleSize val="0"/>
            </c:dLbl>
            <c:dLbl>
              <c:idx val="30"/>
              <c:tx>
                <c:rich>
                  <a:bodyPr/>
                  <a:lstStyle/>
                  <a:p>
                    <a:r>
                      <a:t>Bouvet Ladubay</a:t>
                    </a:r>
                  </a:p>
                </c:rich>
              </c:tx>
              <c:showLegendKey val="0"/>
              <c:showVal val="1"/>
              <c:showCatName val="0"/>
              <c:showSerName val="0"/>
              <c:showPercent val="0"/>
              <c:showBubbleSize val="0"/>
            </c:dLbl>
            <c:dLbl>
              <c:idx val="31"/>
              <c:tx>
                <c:rich>
                  <a:bodyPr/>
                  <a:lstStyle/>
                  <a:p>
                    <a:r>
                      <a:t>Cru La Maqueline</a:t>
                    </a:r>
                  </a:p>
                </c:rich>
              </c:tx>
              <c:showLegendKey val="0"/>
              <c:showVal val="1"/>
              <c:showCatName val="0"/>
              <c:showSerName val="0"/>
              <c:showPercent val="0"/>
              <c:showBubbleSize val="0"/>
            </c:dLbl>
            <c:dLbl>
              <c:idx val="32"/>
              <c:tx>
                <c:rich>
                  <a:bodyPr/>
                  <a:lstStyle/>
                  <a:p>
                    <a:r>
                      <a:t>Patriarche</a:t>
                    </a:r>
                  </a:p>
                </c:rich>
              </c:tx>
              <c:showLegendKey val="0"/>
              <c:showVal val="1"/>
              <c:showCatName val="0"/>
              <c:showSerName val="0"/>
              <c:showPercent val="0"/>
              <c:showBubbleSize val="0"/>
            </c:dLbl>
            <c:dLbl>
              <c:idx val="33"/>
              <c:tx>
                <c:rich>
                  <a:bodyPr/>
                  <a:lstStyle/>
                  <a:p>
                    <a:r>
                      <a:t>Muré</a:t>
                    </a:r>
                  </a:p>
                </c:rich>
              </c:tx>
              <c:showLegendKey val="0"/>
              <c:showVal val="1"/>
              <c:showCatName val="0"/>
              <c:showSerName val="0"/>
              <c:showPercent val="0"/>
              <c:showBubbleSize val="0"/>
            </c:dLbl>
            <c:dLbl>
              <c:idx val="34"/>
              <c:tx>
                <c:rich>
                  <a:bodyPr/>
                  <a:lstStyle/>
                  <a:p>
                    <a:r>
                      <a:t>Château Moncontour </a:t>
                    </a:r>
                  </a:p>
                </c:rich>
              </c:tx>
              <c:showLegendKey val="0"/>
              <c:showVal val="1"/>
              <c:showCatName val="0"/>
              <c:showSerName val="0"/>
              <c:showPercent val="0"/>
              <c:showBubbleSize val="0"/>
            </c:dLbl>
            <c:dLbl>
              <c:idx val="35"/>
              <c:tx>
                <c:rich>
                  <a:bodyPr/>
                  <a:lstStyle/>
                  <a:p>
                    <a:r>
                      <a:t>Petit Coteau</a:t>
                    </a:r>
                  </a:p>
                </c:rich>
              </c:tx>
              <c:showLegendKey val="0"/>
              <c:showVal val="1"/>
              <c:showCatName val="0"/>
              <c:showSerName val="0"/>
              <c:showPercent val="0"/>
              <c:showBubbleSize val="0"/>
            </c:dLbl>
            <c:dLbl>
              <c:idx val="36"/>
              <c:tx>
                <c:rich>
                  <a:bodyPr/>
                  <a:lstStyle/>
                  <a:p>
                    <a:r>
                      <a:t>Les Grumes </a:t>
                    </a:r>
                  </a:p>
                </c:rich>
              </c:tx>
              <c:showLegendKey val="0"/>
              <c:showVal val="1"/>
              <c:showCatName val="0"/>
              <c:showSerName val="0"/>
              <c:showPercent val="0"/>
              <c:showBubbleSize val="0"/>
            </c:dLbl>
            <c:dLbl>
              <c:idx val="37"/>
              <c:tx>
                <c:rich>
                  <a:bodyPr/>
                  <a:lstStyle/>
                  <a:p>
                    <a:r>
                      <a:t>Veuve du Vernay</a:t>
                    </a:r>
                  </a:p>
                </c:rich>
              </c:tx>
              <c:showLegendKey val="0"/>
              <c:showVal val="1"/>
              <c:showCatName val="0"/>
              <c:showSerName val="0"/>
              <c:showPercent val="0"/>
              <c:showBubbleSize val="0"/>
            </c:dLbl>
            <c:dLbl>
              <c:idx val="38"/>
              <c:tx>
                <c:rich>
                  <a:bodyPr/>
                  <a:lstStyle/>
                  <a:p>
                    <a:r>
                      <a:t>French Bloom</a:t>
                    </a:r>
                  </a:p>
                </c:rich>
              </c:tx>
              <c:showLegendKey val="0"/>
              <c:showVal val="1"/>
              <c:showCatName val="0"/>
              <c:showSerName val="0"/>
              <c:showPercent val="0"/>
              <c:showBubbleSize val="0"/>
            </c:dLbl>
            <c:dLbl>
              <c:idx val="39"/>
              <c:tx>
                <c:rich>
                  <a:bodyPr/>
                  <a:lstStyle/>
                  <a:p>
                    <a:r>
                      <a:t>Lyre's</a:t>
                    </a:r>
                  </a:p>
                </c:rich>
              </c:tx>
              <c:showLegendKey val="0"/>
              <c:showVal val="1"/>
              <c:showCatName val="0"/>
              <c:showSerName val="0"/>
              <c:showPercent val="0"/>
              <c:showBubbleSize val="0"/>
            </c:dLbl>
            <c:dLbl>
              <c:idx val="40"/>
              <c:tx>
                <c:rich>
                  <a:bodyPr/>
                  <a:lstStyle/>
                  <a:p>
                    <a:r>
                      <a:t>Bottega</a:t>
                    </a:r>
                  </a:p>
                </c:rich>
              </c:tx>
              <c:showLegendKey val="0"/>
              <c:showVal val="1"/>
              <c:showCatName val="0"/>
              <c:showSerName val="0"/>
              <c:showPercent val="0"/>
              <c:showBubbleSize val="0"/>
            </c:dLbl>
            <c:dLbl>
              <c:idx val="41"/>
              <c:tx>
                <c:rich>
                  <a:bodyPr/>
                  <a:lstStyle/>
                  <a:p>
                    <a:r>
                      <a:t>Carlo V</a:t>
                    </a:r>
                  </a:p>
                </c:rich>
              </c:tx>
              <c:showLegendKey val="0"/>
              <c:showVal val="1"/>
              <c:showCatName val="0"/>
              <c:showSerName val="0"/>
              <c:showPercent val="0"/>
              <c:showBubbleSize val="0"/>
            </c:dLbl>
            <c:dLbl>
              <c:idx val="42"/>
              <c:tx>
                <c:rich>
                  <a:bodyPr/>
                  <a:lstStyle/>
                  <a:p>
                    <a:r>
                      <a:t>Savian</a:t>
                    </a:r>
                  </a:p>
                </c:rich>
              </c:tx>
              <c:showLegendKey val="0"/>
              <c:showVal val="1"/>
              <c:showCatName val="0"/>
              <c:showSerName val="0"/>
              <c:showPercent val="0"/>
              <c:showBubbleSize val="0"/>
            </c:dLbl>
            <c:dLbl>
              <c:idx val="43"/>
              <c:tx>
                <c:rich>
                  <a:bodyPr/>
                  <a:lstStyle/>
                  <a:p>
                    <a:r>
                      <a:t>Contarini</a:t>
                    </a:r>
                  </a:p>
                </c:rich>
              </c:tx>
              <c:showLegendKey val="0"/>
              <c:showVal val="1"/>
              <c:showCatName val="0"/>
              <c:showSerName val="0"/>
              <c:showPercent val="0"/>
              <c:showBubbleSize val="0"/>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45</c:f>
              <c:numCache>
                <c:formatCode>General</c:formatCode>
                <c:ptCount val="44"/>
                <c:pt idx="0">
                  <c:v>-0.871898599501861</c:v>
                </c:pt>
                <c:pt idx="1">
                  <c:v>-3.7298890498633677</c:v>
                </c:pt>
                <c:pt idx="2">
                  <c:v>-2.758476531353604</c:v>
                </c:pt>
                <c:pt idx="3">
                  <c:v>-2.766440751841997</c:v>
                </c:pt>
                <c:pt idx="4">
                  <c:v>-2.8804199789518066</c:v>
                </c:pt>
                <c:pt idx="5">
                  <c:v>-4.403283338429581</c:v>
                </c:pt>
                <c:pt idx="6">
                  <c:v>-2.065916697908571</c:v>
                </c:pt>
                <c:pt idx="7">
                  <c:v>-5.994585927907643</c:v>
                </c:pt>
                <c:pt idx="8">
                  <c:v>-3.7648441801541597</c:v>
                </c:pt>
                <c:pt idx="9">
                  <c:v>-5.856754954470285</c:v>
                </c:pt>
                <c:pt idx="10">
                  <c:v>-3.1406353091950896</c:v>
                </c:pt>
                <c:pt idx="11">
                  <c:v>-4.551955305650122</c:v>
                </c:pt>
                <c:pt idx="12">
                  <c:v>-8.762076955971382</c:v>
                </c:pt>
                <c:pt idx="13">
                  <c:v>-1.650835724726462</c:v>
                </c:pt>
                <c:pt idx="14">
                  <c:v>-4.507062957616163</c:v>
                </c:pt>
                <c:pt idx="15">
                  <c:v>-2.97235746062147</c:v>
                </c:pt>
                <c:pt idx="16">
                  <c:v>-1.675772966700996</c:v>
                </c:pt>
                <c:pt idx="17">
                  <c:v>-6.173211779784301</c:v>
                </c:pt>
                <c:pt idx="18">
                  <c:v>-3.0626521630707773</c:v>
                </c:pt>
                <c:pt idx="19">
                  <c:v>-2.266545221923299</c:v>
                </c:pt>
                <c:pt idx="20">
                  <c:v>-2.9509799493615105</c:v>
                </c:pt>
                <c:pt idx="21">
                  <c:v>-3.6204906874426697</c:v>
                </c:pt>
                <c:pt idx="22">
                  <c:v>-4.120413983364908</c:v>
                </c:pt>
                <c:pt idx="23">
                  <c:v>-3.3663864540191355</c:v>
                </c:pt>
                <c:pt idx="24">
                  <c:v>-6.1704837588986186</c:v>
                </c:pt>
                <c:pt idx="25">
                  <c:v>-2.7238985624634298</c:v>
                </c:pt>
                <c:pt idx="26">
                  <c:v>-2.8875399437414626</c:v>
                </c:pt>
                <c:pt idx="27">
                  <c:v>-7.201653123439341</c:v>
                </c:pt>
                <c:pt idx="28">
                  <c:v>-3.0464350819460897</c:v>
                </c:pt>
                <c:pt idx="29">
                  <c:v>-1.7517004706972361</c:v>
                </c:pt>
                <c:pt idx="30">
                  <c:v>-1.922746158879736</c:v>
                </c:pt>
                <c:pt idx="31">
                  <c:v>-2.6451612233112463</c:v>
                </c:pt>
                <c:pt idx="32">
                  <c:v>-1.3988214624514914</c:v>
                </c:pt>
                <c:pt idx="33">
                  <c:v>-2.3344791848628947</c:v>
                </c:pt>
                <c:pt idx="34">
                  <c:v>-1.093974035596232</c:v>
                </c:pt>
                <c:pt idx="35">
                  <c:v>-1.2464321017946798</c:v>
                </c:pt>
                <c:pt idx="36">
                  <c:v>-0.6663463804190853</c:v>
                </c:pt>
                <c:pt idx="37">
                  <c:v>-1.757321057713538</c:v>
                </c:pt>
                <c:pt idx="38">
                  <c:v>-1.8410551404993287</c:v>
                </c:pt>
                <c:pt idx="39">
                  <c:v>-0.8841923448966379</c:v>
                </c:pt>
                <c:pt idx="40">
                  <c:v>-2.2443894501346744</c:v>
                </c:pt>
                <c:pt idx="41">
                  <c:v>-0.7516861368682781</c:v>
                </c:pt>
                <c:pt idx="42">
                  <c:v>-3.3429564785406742</c:v>
                </c:pt>
                <c:pt idx="43">
                  <c:v>-2.117499888201595</c:v>
                </c:pt>
              </c:numCache>
            </c:numRef>
          </c:xVal>
          <c:yVal>
            <c:numRef>
              <c:f>Sheet1!$B$2:$B$45</c:f>
              <c:numCache>
                <c:formatCode>General</c:formatCode>
                <c:ptCount val="44"/>
                <c:pt idx="0">
                  <c:v>-0.8873149515287486</c:v>
                </c:pt>
                <c:pt idx="1">
                  <c:v>-3.243735076789094</c:v>
                </c:pt>
                <c:pt idx="2">
                  <c:v>-2.356653572711453</c:v>
                </c:pt>
                <c:pt idx="3">
                  <c:v>-2.397428869253031</c:v>
                </c:pt>
                <c:pt idx="4">
                  <c:v>-2.411536221560478</c:v>
                </c:pt>
                <c:pt idx="5">
                  <c:v>-3.2642033214260078</c:v>
                </c:pt>
                <c:pt idx="6">
                  <c:v>-2.4742652533139773</c:v>
                </c:pt>
                <c:pt idx="7">
                  <c:v>-2.380024088037659</c:v>
                </c:pt>
                <c:pt idx="8">
                  <c:v>-1.8795349271952344</c:v>
                </c:pt>
                <c:pt idx="9">
                  <c:v>-3.3985356133279576</c:v>
                </c:pt>
                <c:pt idx="10">
                  <c:v>-2.7421514668878872</c:v>
                </c:pt>
                <c:pt idx="11">
                  <c:v>-2.260964354396626</c:v>
                </c:pt>
                <c:pt idx="12">
                  <c:v>-4.173133587660915</c:v>
                </c:pt>
                <c:pt idx="13">
                  <c:v>-1.117295663616622</c:v>
                </c:pt>
                <c:pt idx="14">
                  <c:v>-2.2978464718797746</c:v>
                </c:pt>
                <c:pt idx="15">
                  <c:v>-2.693371256181121</c:v>
                </c:pt>
                <c:pt idx="16">
                  <c:v>-2.0803962690225446</c:v>
                </c:pt>
                <c:pt idx="17">
                  <c:v>-3.9244942739374</c:v>
                </c:pt>
                <c:pt idx="18">
                  <c:v>-1.8841690828780906</c:v>
                </c:pt>
                <c:pt idx="19">
                  <c:v>-1.820627503000053</c:v>
                </c:pt>
                <c:pt idx="20">
                  <c:v>-2.426358722490728</c:v>
                </c:pt>
                <c:pt idx="21">
                  <c:v>-2.1600671041770534</c:v>
                </c:pt>
                <c:pt idx="22">
                  <c:v>-2.0252634584695266</c:v>
                </c:pt>
                <c:pt idx="23">
                  <c:v>-2.0111415520263574</c:v>
                </c:pt>
                <c:pt idx="24">
                  <c:v>-2.8923657392763924</c:v>
                </c:pt>
                <c:pt idx="25">
                  <c:v>-2.9169172156273317</c:v>
                </c:pt>
                <c:pt idx="26">
                  <c:v>-2.723473401724752</c:v>
                </c:pt>
                <c:pt idx="27">
                  <c:v>-2.5169816577217103</c:v>
                </c:pt>
                <c:pt idx="28">
                  <c:v>-1.6555260614709277</c:v>
                </c:pt>
                <c:pt idx="29">
                  <c:v>-1.3584283979476903</c:v>
                </c:pt>
                <c:pt idx="30">
                  <c:v>-1.2189711815930024</c:v>
                </c:pt>
                <c:pt idx="31">
                  <c:v>-1.493480822245214</c:v>
                </c:pt>
                <c:pt idx="32">
                  <c:v>-1.1035827154567517</c:v>
                </c:pt>
                <c:pt idx="33">
                  <c:v>-1.6346050407491504</c:v>
                </c:pt>
                <c:pt idx="34">
                  <c:v>-0.9164320225004672</c:v>
                </c:pt>
                <c:pt idx="35">
                  <c:v>-0.9847896868492356</c:v>
                </c:pt>
                <c:pt idx="36">
                  <c:v>-0.5800895045529948</c:v>
                </c:pt>
                <c:pt idx="37">
                  <c:v>-1.1696829979419168</c:v>
                </c:pt>
                <c:pt idx="38">
                  <c:v>-1.194669335207226</c:v>
                </c:pt>
                <c:pt idx="39">
                  <c:v>-0.8183011786996705</c:v>
                </c:pt>
                <c:pt idx="40">
                  <c:v>-1.277441875594672</c:v>
                </c:pt>
                <c:pt idx="41">
                  <c:v>-1.6916224606601524</c:v>
                </c:pt>
                <c:pt idx="42">
                  <c:v>-2.1417855102743975</c:v>
                </c:pt>
                <c:pt idx="43">
                  <c:v>-1.378657935392466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9.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5.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sserat De Bellefo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Deutz (4.8%)</c:v>
                </c:pt>
                <c:pt idx="4">
                  <c:v>Nicolas Feuillatte (4.5%)</c:v>
                </c:pt>
                <c:pt idx="5">
                  <c:v>De Bligny (1.3%)</c:v>
                </c:pt>
                <c:pt idx="6">
                  <c:v>Laurent Perrier (3.9%)</c:v>
                </c:pt>
                <c:pt idx="7">
                  <c:v>Demoiselle (3.5%)</c:v>
                </c:pt>
                <c:pt idx="8">
                  <c:v>Ruinart (12.8%)</c:v>
                </c:pt>
                <c:pt idx="9">
                  <c:v>Canard-Duchêne (3.1%)</c:v>
                </c:pt>
              </c:strCache>
            </c:strRef>
          </c:cat>
          <c:val>
            <c:numRef>
              <c:f>Sheet1!$B$2:$B$11</c:f>
              <c:numCache>
                <c:formatCode>General</c:formatCode>
                <c:ptCount val="10"/>
                <c:pt idx="0">
                  <c:v>0.12912547622975457</c:v>
                </c:pt>
                <c:pt idx="1">
                  <c:v>0.1229424128325905</c:v>
                </c:pt>
                <c:pt idx="2">
                  <c:v>0.09211902852892626</c:v>
                </c:pt>
                <c:pt idx="3">
                  <c:v>0.049719723708420996</c:v>
                </c:pt>
                <c:pt idx="4">
                  <c:v>0.041550413858879795</c:v>
                </c:pt>
                <c:pt idx="5">
                  <c:v>0.03930949735258502</c:v>
                </c:pt>
                <c:pt idx="6">
                  <c:v>0.03856577803187204</c:v>
                </c:pt>
                <c:pt idx="7">
                  <c:v>0.03849725203859658</c:v>
                </c:pt>
                <c:pt idx="8">
                  <c:v>0.037099791080510314</c:v>
                </c:pt>
                <c:pt idx="9">
                  <c:v>0.034918085192365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uve du Verna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Les Grumes  (1.0%)</c:v>
                </c:pt>
                <c:pt idx="4">
                  <c:v>Savian (2.1%)</c:v>
                </c:pt>
                <c:pt idx="5">
                  <c:v>Patriarche (2.6%)</c:v>
                </c:pt>
                <c:pt idx="6">
                  <c:v>Muré (1.3%)</c:v>
                </c:pt>
                <c:pt idx="7">
                  <c:v>Dea Augusta (0.5%)</c:v>
                </c:pt>
                <c:pt idx="8">
                  <c:v>Bouvet Ladubay (1.5%)</c:v>
                </c:pt>
                <c:pt idx="9">
                  <c:v>Malard (6.0%)</c:v>
                </c:pt>
              </c:strCache>
            </c:strRef>
          </c:cat>
          <c:val>
            <c:numRef>
              <c:f>Sheet1!$B$2:$B$11</c:f>
              <c:numCache>
                <c:formatCode>General</c:formatCode>
                <c:ptCount val="10"/>
                <c:pt idx="0">
                  <c:v>0.20593317494543584</c:v>
                </c:pt>
                <c:pt idx="1">
                  <c:v>0.07691556658790888</c:v>
                </c:pt>
                <c:pt idx="2">
                  <c:v>0.07119212176933831</c:v>
                </c:pt>
                <c:pt idx="3">
                  <c:v>0.06445935268325384</c:v>
                </c:pt>
                <c:pt idx="4">
                  <c:v>0.06058031774185151</c:v>
                </c:pt>
                <c:pt idx="5">
                  <c:v>0.05034799390112252</c:v>
                </c:pt>
                <c:pt idx="6">
                  <c:v>0.04498558453344297</c:v>
                </c:pt>
                <c:pt idx="7">
                  <c:v>0.03725504237410491</c:v>
                </c:pt>
                <c:pt idx="8">
                  <c:v>0.03713000606731692</c:v>
                </c:pt>
                <c:pt idx="9">
                  <c:v>0.0322906294663083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Wolfberg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Wolfberg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1ère Cuvée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Savian Extra Dry Bio 750ml (2.1%)</c:v>
                </c:pt>
                <c:pt idx="3">
                  <c:v>Champagne Malard Brut 1er Cru 750ml (4.1%)</c:v>
                </c:pt>
                <c:pt idx="4">
                  <c:v>Crémant de Bourgogne Patriarche Brut 750ml (1.8%)</c:v>
                </c:pt>
                <c:pt idx="5">
                  <c:v>Champagne Nicolas Feuillatte Réserve Exclusive Brut 750ml (3.0%)</c:v>
                </c:pt>
                <c:pt idx="6">
                  <c:v>Prosecco Bottega 750ml (2.6%)</c:v>
                </c:pt>
                <c:pt idx="7">
                  <c:v>Crémant Saumur Bouvet Cuvée Saphir Brut 750ml (1.5%)</c:v>
                </c:pt>
                <c:pt idx="8">
                  <c:v>Mousseux Lyre's Classico Sans Alcool 750ml (1.0%)</c:v>
                </c:pt>
                <c:pt idx="9">
                  <c:v>Champagne Ruinart Brut 750ml (7.3%)</c:v>
                </c:pt>
              </c:strCache>
            </c:strRef>
          </c:cat>
          <c:val>
            <c:numRef>
              <c:f>Sheet1!$B$2:$B$11</c:f>
              <c:numCache>
                <c:formatCode>General</c:formatCode>
                <c:ptCount val="10"/>
                <c:pt idx="0">
                  <c:v>0.310947109416868</c:v>
                </c:pt>
                <c:pt idx="1">
                  <c:v>0.05513565053545104</c:v>
                </c:pt>
                <c:pt idx="2">
                  <c:v>0.032993826748321665</c:v>
                </c:pt>
                <c:pt idx="3">
                  <c:v>0.032985447869442734</c:v>
                </c:pt>
                <c:pt idx="4">
                  <c:v>0.03133732021065146</c:v>
                </c:pt>
                <c:pt idx="5">
                  <c:v>0.028589624967735244</c:v>
                </c:pt>
                <c:pt idx="6">
                  <c:v>0.02572951504003382</c:v>
                </c:pt>
                <c:pt idx="7">
                  <c:v>0.023744614571255252</c:v>
                </c:pt>
                <c:pt idx="8">
                  <c:v>0.02369131179695234</c:v>
                </c:pt>
                <c:pt idx="9">
                  <c:v>0.0221029971164938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1ère Cuvée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rémant de Bourgogne Patriarche Brut 750ml (1.8%)</c:v>
                </c:pt>
                <c:pt idx="5">
                  <c:v>Champagne Nicolas Feuillatte Réserve Exclusive Brut 750ml (3.0%)</c:v>
                </c:pt>
                <c:pt idx="6">
                  <c:v>Champagne Ruinart Brut 750ml (7.3%)</c:v>
                </c:pt>
                <c:pt idx="7">
                  <c:v>Prosecco Bottega 750ml (2.6%)</c:v>
                </c:pt>
                <c:pt idx="8">
                  <c:v>Champagne E.Nicolas Rosé 750ml (0.9%)</c:v>
                </c:pt>
                <c:pt idx="9">
                  <c:v>Crémant Saumur Bouvet Cuvée Saphir Brut 750ml (1.5%)</c:v>
                </c:pt>
              </c:strCache>
            </c:strRef>
          </c:cat>
          <c:val>
            <c:numRef>
              <c:f>Sheet1!$B$2:$B$11</c:f>
              <c:numCache>
                <c:formatCode>General</c:formatCode>
                <c:ptCount val="10"/>
                <c:pt idx="0">
                  <c:v>0.33211241532331953</c:v>
                </c:pt>
                <c:pt idx="1">
                  <c:v>0.04866418140432124</c:v>
                </c:pt>
                <c:pt idx="2">
                  <c:v>0.037681777179403894</c:v>
                </c:pt>
                <c:pt idx="3">
                  <c:v>0.029446075467023405</c:v>
                </c:pt>
                <c:pt idx="4">
                  <c:v>0.02891273557930746</c:v>
                </c:pt>
                <c:pt idx="5">
                  <c:v>0.026667141489327906</c:v>
                </c:pt>
                <c:pt idx="6">
                  <c:v>0.02646327823923305</c:v>
                </c:pt>
                <c:pt idx="7">
                  <c:v>0.026123043758717164</c:v>
                </c:pt>
                <c:pt idx="8">
                  <c:v>0.02187216866413652</c:v>
                </c:pt>
                <c:pt idx="9">
                  <c:v>0.021499510445165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1ère Cuvée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Canard-Duchêne Blanc Cuvée Léonie Brut 750ml (2.6%)</c:v>
                </c:pt>
                <c:pt idx="5">
                  <c:v>Champagne Georges Vesselle Grand Cru Brut 750ml (1.0%)</c:v>
                </c:pt>
                <c:pt idx="6">
                  <c:v>Champagne Château de Bligny 750ml (1.3%)</c:v>
                </c:pt>
                <c:pt idx="7">
                  <c:v>Champagne Besserat de Bellefon Bleu Brut 750ml (1.7%)</c:v>
                </c:pt>
                <c:pt idx="8">
                  <c:v>Champagne Laurent-Perrier Blanc La Cuvée 750ml (2.7%)</c:v>
                </c:pt>
                <c:pt idx="9">
                  <c:v>Champagne Vranken Demoiselle Tête de Cuvée 750ml (1.4%)</c:v>
                </c:pt>
              </c:strCache>
            </c:strRef>
          </c:cat>
          <c:val>
            <c:numRef>
              <c:f>Sheet1!$B$2:$B$11</c:f>
              <c:numCache>
                <c:formatCode>General</c:formatCode>
                <c:ptCount val="10"/>
                <c:pt idx="0">
                  <c:v>0.20998536362120832</c:v>
                </c:pt>
                <c:pt idx="1">
                  <c:v>0.10025705118501907</c:v>
                </c:pt>
                <c:pt idx="2">
                  <c:v>0.07184026377293812</c:v>
                </c:pt>
                <c:pt idx="3">
                  <c:v>0.06511524289860554</c:v>
                </c:pt>
                <c:pt idx="4">
                  <c:v>0.037238453564647334</c:v>
                </c:pt>
                <c:pt idx="5">
                  <c:v>0.02660720329099872</c:v>
                </c:pt>
                <c:pt idx="6">
                  <c:v>0.023433467274263896</c:v>
                </c:pt>
                <c:pt idx="7">
                  <c:v>0.023420697957339386</c:v>
                </c:pt>
                <c:pt idx="8">
                  <c:v>0.021904819429677185</c:v>
                </c:pt>
                <c:pt idx="9">
                  <c:v>0.0198219600812269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1ère Cuvée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Laurent-Perrier Blanc La Cuvée 750ml (2.7%)</c:v>
                </c:pt>
                <c:pt idx="5">
                  <c:v>Champagne Canard-Duchêne Blanc Cuvée Léonie Brut 750ml (2.6%)</c:v>
                </c:pt>
                <c:pt idx="6">
                  <c:v>Champagne Besserat de Bellefon Bleu Brut 750ml (1.7%)</c:v>
                </c:pt>
                <c:pt idx="7">
                  <c:v>Champagne Château de Bligny 750ml (1.3%)</c:v>
                </c:pt>
                <c:pt idx="8">
                  <c:v>Champagne Vranken Demoiselle Tête de Cuvée 750ml (1.4%)</c:v>
                </c:pt>
                <c:pt idx="9">
                  <c:v>Champagne Georges Vesselle Grand Cru Brut 750ml (1.0%)</c:v>
                </c:pt>
              </c:strCache>
            </c:strRef>
          </c:cat>
          <c:val>
            <c:numRef>
              <c:f>Sheet1!$B$2:$B$11</c:f>
              <c:numCache>
                <c:formatCode>General</c:formatCode>
                <c:ptCount val="10"/>
                <c:pt idx="0">
                  <c:v>0.1692679582252732</c:v>
                </c:pt>
                <c:pt idx="1">
                  <c:v>0.07045695094447306</c:v>
                </c:pt>
                <c:pt idx="2">
                  <c:v>0.06935567643913064</c:v>
                </c:pt>
                <c:pt idx="3">
                  <c:v>0.06901411177355844</c:v>
                </c:pt>
                <c:pt idx="4">
                  <c:v>0.042213169573688834</c:v>
                </c:pt>
                <c:pt idx="5">
                  <c:v>0.03781977026331053</c:v>
                </c:pt>
                <c:pt idx="6">
                  <c:v>0.027306982243076258</c:v>
                </c:pt>
                <c:pt idx="7">
                  <c:v>0.026604997079073798</c:v>
                </c:pt>
                <c:pt idx="8">
                  <c:v>0.02419052931177179</c:v>
                </c:pt>
                <c:pt idx="9">
                  <c:v>0.02182509630196821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de Bourgogne Patriarche Brut 750ml (1.8%)</c:v>
                </c:pt>
                <c:pt idx="3">
                  <c:v>Prosecco Savian Extra Dry Bio 750ml (2.1%)</c:v>
                </c:pt>
                <c:pt idx="4">
                  <c:v>Crémant Saumur Bouvet Cuvée Saphir Brut 750ml (1.5%)</c:v>
                </c:pt>
                <c:pt idx="5">
                  <c:v>Mousseux Château Moncontour Brut Vouvray 750ml (1.5%)</c:v>
                </c:pt>
                <c:pt idx="6">
                  <c:v>Prosecco Bottega 750ml (2.6%)</c:v>
                </c:pt>
                <c:pt idx="7">
                  <c:v>Crémant d'Alsace Muré Prestige Bio 750ml (1.3%)</c:v>
                </c:pt>
                <c:pt idx="8">
                  <c:v>Mousseux Lyre's Classico Sans Alcool 750ml (1.0%)</c:v>
                </c:pt>
                <c:pt idx="9">
                  <c:v>Crémant de Bourgogne Patriarche Rosé Brut 750ml (0.8%)</c:v>
                </c:pt>
              </c:strCache>
            </c:strRef>
          </c:cat>
          <c:val>
            <c:numRef>
              <c:f>Sheet1!$B$2:$B$11</c:f>
              <c:numCache>
                <c:formatCode>General</c:formatCode>
                <c:ptCount val="10"/>
                <c:pt idx="0">
                  <c:v>0.18189376308735034</c:v>
                </c:pt>
                <c:pt idx="1">
                  <c:v>0.06636473373940968</c:v>
                </c:pt>
                <c:pt idx="2">
                  <c:v>0.04252967306698069</c:v>
                </c:pt>
                <c:pt idx="3">
                  <c:v>0.041002605306936044</c:v>
                </c:pt>
                <c:pt idx="4">
                  <c:v>0.039159767234928096</c:v>
                </c:pt>
                <c:pt idx="5">
                  <c:v>0.03479391424669552</c:v>
                </c:pt>
                <c:pt idx="6">
                  <c:v>0.033174224888669404</c:v>
                </c:pt>
                <c:pt idx="7">
                  <c:v>0.027598027896484807</c:v>
                </c:pt>
                <c:pt idx="8">
                  <c:v>0.026487304484489823</c:v>
                </c:pt>
                <c:pt idx="9">
                  <c:v>0.0260145365617295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de Bourgogne Patriarche Brut 750ml (1.8%)</c:v>
                </c:pt>
                <c:pt idx="3">
                  <c:v>Prosecco Savian Extra Dry Bio 750ml (2.1%)</c:v>
                </c:pt>
                <c:pt idx="4">
                  <c:v>Prosecco Bottega 750ml (2.6%)</c:v>
                </c:pt>
                <c:pt idx="5">
                  <c:v>Crémant Saumur Bouvet Cuvée Saphir Brut 750ml (1.5%)</c:v>
                </c:pt>
                <c:pt idx="6">
                  <c:v>Mousseux Château Moncontour Brut Vouvray 750ml (1.5%)</c:v>
                </c:pt>
                <c:pt idx="7">
                  <c:v>Crémant d'Alsace Muré Prestige Bio 750ml (1.3%)</c:v>
                </c:pt>
                <c:pt idx="8">
                  <c:v>Crémant de Bourgogne Patriarche Rosé Brut 750ml (0.8%)</c:v>
                </c:pt>
                <c:pt idx="9">
                  <c:v>Champagne Malard Brut 1er Cru 750ml (4.1%)</c:v>
                </c:pt>
              </c:strCache>
            </c:strRef>
          </c:cat>
          <c:val>
            <c:numRef>
              <c:f>Sheet1!$B$2:$B$11</c:f>
              <c:numCache>
                <c:formatCode>General</c:formatCode>
                <c:ptCount val="10"/>
                <c:pt idx="0">
                  <c:v>0.22238600870305542</c:v>
                </c:pt>
                <c:pt idx="1">
                  <c:v>0.06433547995823881</c:v>
                </c:pt>
                <c:pt idx="2">
                  <c:v>0.038960777663557565</c:v>
                </c:pt>
                <c:pt idx="3">
                  <c:v>0.03820988157751278</c:v>
                </c:pt>
                <c:pt idx="4">
                  <c:v>0.03706949302426304</c:v>
                </c:pt>
                <c:pt idx="5">
                  <c:v>0.03398876588814191</c:v>
                </c:pt>
                <c:pt idx="6">
                  <c:v>0.03231134176785612</c:v>
                </c:pt>
                <c:pt idx="7">
                  <c:v>0.026766943225776108</c:v>
                </c:pt>
                <c:pt idx="8">
                  <c:v>0.023557044761425044</c:v>
                </c:pt>
                <c:pt idx="9">
                  <c:v>0.0215547129847704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Malard Brut 1er Cru 750ml (4.1%)</c:v>
                </c:pt>
                <c:pt idx="3">
                  <c:v>Champagne Nicolas Feuillatte Réserve Exclusive Brut 750ml (3.0%)</c:v>
                </c:pt>
                <c:pt idx="4">
                  <c:v>Champagne Vranken Demoiselle Tête de Cuvée 750ml (1.4%)</c:v>
                </c:pt>
                <c:pt idx="5">
                  <c:v>Champagne Laurent-Perrier Blanc La Cuvée 750ml (2.7%)</c:v>
                </c:pt>
                <c:pt idx="6">
                  <c:v>Champagne Vranken Demoiselle Rosé Prestige 750ml (2.0%)</c:v>
                </c:pt>
                <c:pt idx="7">
                  <c:v>Champagne Canard-Duchêne Blanc Cuvée Léonie Brut 750ml (2.6%)</c:v>
                </c:pt>
                <c:pt idx="8">
                  <c:v>Champagne Besserat de Bellefon Bleu Brut 750ml (1.7%)</c:v>
                </c:pt>
                <c:pt idx="9">
                  <c:v>Prosecco Carlo V Cuvée Del Imperator 750ml (5.4%)</c:v>
                </c:pt>
              </c:strCache>
            </c:strRef>
          </c:cat>
          <c:val>
            <c:numRef>
              <c:f>Sheet1!$B$2:$B$11</c:f>
              <c:numCache>
                <c:formatCode>General</c:formatCode>
                <c:ptCount val="10"/>
                <c:pt idx="0">
                  <c:v>0.11787179525118559</c:v>
                </c:pt>
                <c:pt idx="1">
                  <c:v>0.08353026420992925</c:v>
                </c:pt>
                <c:pt idx="2">
                  <c:v>0.06100347544858744</c:v>
                </c:pt>
                <c:pt idx="3">
                  <c:v>0.039050518795730974</c:v>
                </c:pt>
                <c:pt idx="4">
                  <c:v>0.033291873223992685</c:v>
                </c:pt>
                <c:pt idx="5">
                  <c:v>0.03240032714055415</c:v>
                </c:pt>
                <c:pt idx="6">
                  <c:v>0.03209400974205198</c:v>
                </c:pt>
                <c:pt idx="7">
                  <c:v>0.030174344470784296</c:v>
                </c:pt>
                <c:pt idx="8">
                  <c:v>0.028280317513864252</c:v>
                </c:pt>
                <c:pt idx="9">
                  <c:v>0.02697023915411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llinger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Taittinger (2.2%)</c:v>
                </c:pt>
                <c:pt idx="4">
                  <c:v>Demoiselle (3.5%)</c:v>
                </c:pt>
                <c:pt idx="5">
                  <c:v>Malard (6.0%)</c:v>
                </c:pt>
                <c:pt idx="6">
                  <c:v>Laurent Perrier (3.9%)</c:v>
                </c:pt>
                <c:pt idx="7">
                  <c:v>Veuve Clicquot (1.7%)</c:v>
                </c:pt>
                <c:pt idx="8">
                  <c:v>Nicolas Feuillatte (4.5%)</c:v>
                </c:pt>
                <c:pt idx="9">
                  <c:v>Ayala (1.7%)</c:v>
                </c:pt>
              </c:strCache>
            </c:strRef>
          </c:cat>
          <c:val>
            <c:numRef>
              <c:f>Sheet1!$B$2:$B$11</c:f>
              <c:numCache>
                <c:formatCode>General</c:formatCode>
                <c:ptCount val="10"/>
                <c:pt idx="0">
                  <c:v>0.2241992805509303</c:v>
                </c:pt>
                <c:pt idx="1">
                  <c:v>0.1227997174915386</c:v>
                </c:pt>
                <c:pt idx="2">
                  <c:v>0.06230407766629604</c:v>
                </c:pt>
                <c:pt idx="3">
                  <c:v>0.05629019713395358</c:v>
                </c:pt>
                <c:pt idx="4">
                  <c:v>0.0505842410042869</c:v>
                </c:pt>
                <c:pt idx="5">
                  <c:v>0.04950146943590167</c:v>
                </c:pt>
                <c:pt idx="6">
                  <c:v>0.042158035099051853</c:v>
                </c:pt>
                <c:pt idx="7">
                  <c:v>0.03532044966976421</c:v>
                </c:pt>
                <c:pt idx="8">
                  <c:v>0.03466099005597141</c:v>
                </c:pt>
                <c:pt idx="9">
                  <c:v>0.0337955563616564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Laurent-Perrier Blanc La Cuvée 750ml (2.7%)</c:v>
                </c:pt>
                <c:pt idx="3">
                  <c:v>Champagne Vranken Demoiselle Rosé Prestige 750ml (2.0%)</c:v>
                </c:pt>
                <c:pt idx="4">
                  <c:v>Champagne Malard Brut 1er Cru 750ml (4.1%)</c:v>
                </c:pt>
                <c:pt idx="5">
                  <c:v>Champagne Nicolas Feuillatte Réserve Exclusive Brut 750ml (3.0%)</c:v>
                </c:pt>
                <c:pt idx="6">
                  <c:v>Champagne Vranken Demoiselle Tête de Cuvée 750ml (1.4%)</c:v>
                </c:pt>
                <c:pt idx="7">
                  <c:v>Prosecco Carlo V Cuvée Del Imperator 750ml (5.4%)</c:v>
                </c:pt>
                <c:pt idx="8">
                  <c:v>Champagne Besserat de Bellefon Bleu Brut 750ml (1.7%)</c:v>
                </c:pt>
                <c:pt idx="9">
                  <c:v>Champagne Ruinart Brut 750ml (7.3%)</c:v>
                </c:pt>
              </c:strCache>
            </c:strRef>
          </c:cat>
          <c:val>
            <c:numRef>
              <c:f>Sheet1!$B$2:$B$11</c:f>
              <c:numCache>
                <c:formatCode>General</c:formatCode>
                <c:ptCount val="10"/>
                <c:pt idx="0">
                  <c:v>0.10276820730403562</c:v>
                </c:pt>
                <c:pt idx="1">
                  <c:v>0.05341504889308904</c:v>
                </c:pt>
                <c:pt idx="2">
                  <c:v>0.04624183110746816</c:v>
                </c:pt>
                <c:pt idx="3">
                  <c:v>0.04061225999052877</c:v>
                </c:pt>
                <c:pt idx="4">
                  <c:v>0.039268311640970395</c:v>
                </c:pt>
                <c:pt idx="5">
                  <c:v>0.03851751447247296</c:v>
                </c:pt>
                <c:pt idx="6">
                  <c:v>0.03385770273710077</c:v>
                </c:pt>
                <c:pt idx="7">
                  <c:v>0.027385468288096446</c:v>
                </c:pt>
                <c:pt idx="8">
                  <c:v>0.0272212568576335</c:v>
                </c:pt>
                <c:pt idx="9">
                  <c:v>0.0263020124986012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150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Vranken Demoiselle Rosé Prestige 750ml (2.0%)</c:v>
                </c:pt>
                <c:pt idx="3">
                  <c:v>Mousseux French Bloom Blanc Bio Sans Alcool 750ml (0.7%)</c:v>
                </c:pt>
                <c:pt idx="4">
                  <c:v>Champagne E.Nicolas Brut 750ml (11.6%)</c:v>
                </c:pt>
                <c:pt idx="5">
                  <c:v>Champagne Laurent-Perrier Blanc La Cuvée 750ml (2.7%)</c:v>
                </c:pt>
                <c:pt idx="6">
                  <c:v>Champagne Deutz Brut Classique 750ml (3.4%)</c:v>
                </c:pt>
                <c:pt idx="7">
                  <c:v>Champagne Ruinart Blanc de Blancs (étui) 750ml (0.8%)</c:v>
                </c:pt>
                <c:pt idx="8">
                  <c:v>Champagne Nicolas Blanc de Blancs 750ml (0.8%)</c:v>
                </c:pt>
                <c:pt idx="9">
                  <c:v>Champagne Nicolas Feuillatte Réserve Exclusive Brut 750ml (3.0%)</c:v>
                </c:pt>
              </c:strCache>
            </c:strRef>
          </c:cat>
          <c:val>
            <c:numRef>
              <c:f>Sheet1!$B$2:$B$11</c:f>
              <c:numCache>
                <c:formatCode>General</c:formatCode>
                <c:ptCount val="10"/>
                <c:pt idx="0">
                  <c:v>0.07622456349104506</c:v>
                </c:pt>
                <c:pt idx="1">
                  <c:v>0.05939662519158766</c:v>
                </c:pt>
                <c:pt idx="2">
                  <c:v>0.04989355733138971</c:v>
                </c:pt>
                <c:pt idx="3">
                  <c:v>0.048190018583397394</c:v>
                </c:pt>
                <c:pt idx="4">
                  <c:v>0.046001681032319004</c:v>
                </c:pt>
                <c:pt idx="5">
                  <c:v>0.031215178179038447</c:v>
                </c:pt>
                <c:pt idx="6">
                  <c:v>0.027633129573269362</c:v>
                </c:pt>
                <c:pt idx="7">
                  <c:v>0.02532789566395225</c:v>
                </c:pt>
                <c:pt idx="8">
                  <c:v>0.023515847005252034</c:v>
                </c:pt>
                <c:pt idx="9">
                  <c:v>0.02021035396623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150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Mousseux French Bloom Blanc Bio Sans Alcool 750ml (0.7%)</c:v>
                </c:pt>
                <c:pt idx="2">
                  <c:v>Champagne Ruinart Brut 750ml (7.3%)</c:v>
                </c:pt>
                <c:pt idx="3">
                  <c:v>Champagne E.Nicolas Brut 750ml (11.6%)</c:v>
                </c:pt>
                <c:pt idx="4">
                  <c:v>Champagne Vranken Demoiselle Rosé Prestige 750ml (2.0%)</c:v>
                </c:pt>
                <c:pt idx="5">
                  <c:v>Champagne Ruinart Blanc de Blancs (étui) 750ml (0.8%)</c:v>
                </c:pt>
                <c:pt idx="6">
                  <c:v>Champagne Laurent-Perrier Blanc La Cuvée 750ml (2.7%)</c:v>
                </c:pt>
                <c:pt idx="7">
                  <c:v>Champagne Nicolas Blanc de Blancs 750ml (0.8%)</c:v>
                </c:pt>
                <c:pt idx="8">
                  <c:v>Champagne Deutz Brut Classique 750ml (3.4%)</c:v>
                </c:pt>
                <c:pt idx="9">
                  <c:v>Champagne Pol Roger Brut 750ml (0.8%)</c:v>
                </c:pt>
              </c:strCache>
            </c:strRef>
          </c:cat>
          <c:val>
            <c:numRef>
              <c:f>Sheet1!$B$2:$B$11</c:f>
              <c:numCache>
                <c:formatCode>General</c:formatCode>
                <c:ptCount val="10"/>
                <c:pt idx="0">
                  <c:v>0.08723832629683068</c:v>
                </c:pt>
                <c:pt idx="1">
                  <c:v>0.06831859687578269</c:v>
                </c:pt>
                <c:pt idx="2">
                  <c:v>0.06442373553641324</c:v>
                </c:pt>
                <c:pt idx="3">
                  <c:v>0.05343347538297261</c:v>
                </c:pt>
                <c:pt idx="4">
                  <c:v>0.04657682125064486</c:v>
                </c:pt>
                <c:pt idx="5">
                  <c:v>0.027189023006270845</c:v>
                </c:pt>
                <c:pt idx="6">
                  <c:v>0.024632532529797493</c:v>
                </c:pt>
                <c:pt idx="7">
                  <c:v>0.0233549905486278</c:v>
                </c:pt>
                <c:pt idx="8">
                  <c:v>0.021438521465678862</c:v>
                </c:pt>
                <c:pt idx="9">
                  <c:v>0.01979748126915151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ulles Blanc de Blancs désalcoolisé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Mousseux Les Grumes Bulles 750ml (1.0%)</c:v>
                </c:pt>
                <c:pt idx="6">
                  <c:v>Mousseux Lyre's Classico Sans Alcool 750ml (1.0%)</c:v>
                </c:pt>
                <c:pt idx="7">
                  <c:v>Crémant d'Alsace Muré Prestige Bio 750ml (1.3%)</c:v>
                </c:pt>
                <c:pt idx="8">
                  <c:v>Mousseux Château Moncontour Brut Vouvray 750ml (1.5%)</c:v>
                </c:pt>
                <c:pt idx="9">
                  <c:v>Clairette de Die Cuvée Dea Augusta 750ml (0.5%)</c:v>
                </c:pt>
              </c:strCache>
            </c:strRef>
          </c:cat>
          <c:val>
            <c:numRef>
              <c:f>Sheet1!$B$2:$B$11</c:f>
              <c:numCache>
                <c:formatCode>General</c:formatCode>
                <c:ptCount val="10"/>
                <c:pt idx="0">
                  <c:v>0.2293619656344404</c:v>
                </c:pt>
                <c:pt idx="1">
                  <c:v>0.1059432722327674</c:v>
                </c:pt>
                <c:pt idx="2">
                  <c:v>0.07192984269871329</c:v>
                </c:pt>
                <c:pt idx="3">
                  <c:v>0.06754676209921782</c:v>
                </c:pt>
                <c:pt idx="4">
                  <c:v>0.047578855566847926</c:v>
                </c:pt>
                <c:pt idx="5">
                  <c:v>0.039813211400431564</c:v>
                </c:pt>
                <c:pt idx="6">
                  <c:v>0.03905068803744629</c:v>
                </c:pt>
                <c:pt idx="7">
                  <c:v>0.03320122725600443</c:v>
                </c:pt>
                <c:pt idx="8">
                  <c:v>0.03163088457432826</c:v>
                </c:pt>
                <c:pt idx="9">
                  <c:v>0.0281838762838237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ulles Blanc de Blancs désalcoolisé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yre's Classico Sans Alcool 750ml (1.0%)</c:v>
                </c:pt>
                <c:pt idx="2">
                  <c:v>Champagne E.Nicolas Brut 750ml (11.6%)</c:v>
                </c:pt>
                <c:pt idx="3">
                  <c:v>Prosecco Savian Extra Dry Bio 750ml (2.1%)</c:v>
                </c:pt>
                <c:pt idx="4">
                  <c:v>Crémant Saumur Bouvet Cuvée Saphir Brut 750ml (1.5%)</c:v>
                </c:pt>
                <c:pt idx="5">
                  <c:v>Prosecco Bottega 750ml (2.6%)</c:v>
                </c:pt>
                <c:pt idx="6">
                  <c:v>Crémant de Bourgogne Patriarche Brut 750ml (1.8%)</c:v>
                </c:pt>
                <c:pt idx="7">
                  <c:v>Mousseux Veuve du Vernay Sans Alcool 750ml (0.3%)</c:v>
                </c:pt>
                <c:pt idx="8">
                  <c:v>Mousseux Château Moncontour Brut Vouvray 750ml (1.5%)</c:v>
                </c:pt>
                <c:pt idx="9">
                  <c:v>Crémant d'Alsace Muré Prestige Bio 750ml (1.3%)</c:v>
                </c:pt>
              </c:strCache>
            </c:strRef>
          </c:cat>
          <c:val>
            <c:numRef>
              <c:f>Sheet1!$B$2:$B$11</c:f>
              <c:numCache>
                <c:formatCode>General</c:formatCode>
                <c:ptCount val="10"/>
                <c:pt idx="0">
                  <c:v>0.18641482246150745</c:v>
                </c:pt>
                <c:pt idx="1">
                  <c:v>0.15676349788989663</c:v>
                </c:pt>
                <c:pt idx="2">
                  <c:v>0.11233197006420076</c:v>
                </c:pt>
                <c:pt idx="3">
                  <c:v>0.06610448342273352</c:v>
                </c:pt>
                <c:pt idx="4">
                  <c:v>0.04132021998262774</c:v>
                </c:pt>
                <c:pt idx="5">
                  <c:v>0.036674792839652935</c:v>
                </c:pt>
                <c:pt idx="6">
                  <c:v>0.03107234566753823</c:v>
                </c:pt>
                <c:pt idx="7">
                  <c:v>0.028800953901074806</c:v>
                </c:pt>
                <c:pt idx="8">
                  <c:v>0.02758599019792288</c:v>
                </c:pt>
                <c:pt idx="9">
                  <c:v>0.026114491855476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750ml (1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Prosecco Carlo V Cuvée Del Imperator 750ml (5.4%)</c:v>
                </c:pt>
                <c:pt idx="2">
                  <c:v>Champagne Nicolas Feuillatte Réserve Exclusive Brut 750ml (3.0%)</c:v>
                </c:pt>
                <c:pt idx="3">
                  <c:v>Crémant de Bourgogne Patriarche Brut 750ml (1.8%)</c:v>
                </c:pt>
                <c:pt idx="4">
                  <c:v>Crémant Saumur Bouvet Cuvée Saphir Brut 750ml (1.5%)</c:v>
                </c:pt>
                <c:pt idx="5">
                  <c:v>Prosecco Bottega 750ml (2.6%)</c:v>
                </c:pt>
                <c:pt idx="6">
                  <c:v>Prosecco Savian Extra Dry Bio 750ml (2.1%)</c:v>
                </c:pt>
                <c:pt idx="7">
                  <c:v>Champagne E.Nicolas Rosé 750ml (0.9%)</c:v>
                </c:pt>
                <c:pt idx="8">
                  <c:v>Champagne Heidsieck Monopole Silver Top 750ml (4.2%)</c:v>
                </c:pt>
                <c:pt idx="9">
                  <c:v>Crémant d'Alsace Muré Prestige Bio 750ml (1.3%)</c:v>
                </c:pt>
              </c:strCache>
            </c:strRef>
          </c:cat>
          <c:val>
            <c:numRef>
              <c:f>Sheet1!$B$2:$B$11</c:f>
              <c:numCache>
                <c:formatCode>General</c:formatCode>
                <c:ptCount val="10"/>
                <c:pt idx="0">
                  <c:v>0.09868681879669437</c:v>
                </c:pt>
                <c:pt idx="1">
                  <c:v>0.07846755404639522</c:v>
                </c:pt>
                <c:pt idx="2">
                  <c:v>0.047155807239601374</c:v>
                </c:pt>
                <c:pt idx="3">
                  <c:v>0.04563172777828906</c:v>
                </c:pt>
                <c:pt idx="4">
                  <c:v>0.044822721997653074</c:v>
                </c:pt>
                <c:pt idx="5">
                  <c:v>0.04161077247514354</c:v>
                </c:pt>
                <c:pt idx="6">
                  <c:v>0.03915480864984874</c:v>
                </c:pt>
                <c:pt idx="7">
                  <c:v>0.03630895281597254</c:v>
                </c:pt>
                <c:pt idx="8">
                  <c:v>0.03173789554033316</c:v>
                </c:pt>
                <c:pt idx="9">
                  <c:v>0.0309076027932132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750ml (1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Prosecco Carlo V Cuvée Del Imperator 750ml (5.4%)</c:v>
                </c:pt>
                <c:pt idx="2">
                  <c:v>Champagne Nicolas Feuillatte Réserve Exclusive Brut 750ml (3.0%)</c:v>
                </c:pt>
                <c:pt idx="3">
                  <c:v>Crémant de Bourgogne Patriarche Brut 750ml (1.8%)</c:v>
                </c:pt>
                <c:pt idx="4">
                  <c:v>Crémant Saumur Bouvet Cuvée Saphir Brut 750ml (1.5%)</c:v>
                </c:pt>
                <c:pt idx="5">
                  <c:v>Prosecco Bottega 750ml (2.6%)</c:v>
                </c:pt>
                <c:pt idx="6">
                  <c:v>Champagne E.Nicolas Rosé 750ml (0.9%)</c:v>
                </c:pt>
                <c:pt idx="7">
                  <c:v>Prosecco Savian Extra Dry Bio 750ml (2.1%)</c:v>
                </c:pt>
                <c:pt idx="8">
                  <c:v>Crémant d'Alsace Muré Prestige Bio 750ml (1.3%)</c:v>
                </c:pt>
                <c:pt idx="9">
                  <c:v>Mousseux Château Moncontour Brut Vouvray 750ml (1.5%)</c:v>
                </c:pt>
              </c:strCache>
            </c:strRef>
          </c:cat>
          <c:val>
            <c:numRef>
              <c:f>Sheet1!$B$2:$B$11</c:f>
              <c:numCache>
                <c:formatCode>General</c:formatCode>
                <c:ptCount val="10"/>
                <c:pt idx="0">
                  <c:v>0.09986076803036407</c:v>
                </c:pt>
                <c:pt idx="1">
                  <c:v>0.07226281501459586</c:v>
                </c:pt>
                <c:pt idx="2">
                  <c:v>0.04655960291670479</c:v>
                </c:pt>
                <c:pt idx="3">
                  <c:v>0.04635573658545241</c:v>
                </c:pt>
                <c:pt idx="4">
                  <c:v>0.04494123656496777</c:v>
                </c:pt>
                <c:pt idx="5">
                  <c:v>0.043181292777274574</c:v>
                </c:pt>
                <c:pt idx="6">
                  <c:v>0.039323153045603416</c:v>
                </c:pt>
                <c:pt idx="7">
                  <c:v>0.03799036756461537</c:v>
                </c:pt>
                <c:pt idx="8">
                  <c:v>0.031473435843341106</c:v>
                </c:pt>
                <c:pt idx="9">
                  <c:v>0.0287896175633230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150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Nicolas Feuillatte Réserve Exclusive Brut 750ml (3.0%)</c:v>
                </c:pt>
                <c:pt idx="3">
                  <c:v>Champagne Malard Brut 1er Cru 750ml (4.1%)</c:v>
                </c:pt>
                <c:pt idx="4">
                  <c:v>Champagne Laurent-Perrier Blanc La Cuvée 750ml (2.7%)</c:v>
                </c:pt>
                <c:pt idx="5">
                  <c:v>Champagne Besserat de Bellefon Bleu Brut 750ml (1.7%)</c:v>
                </c:pt>
                <c:pt idx="6">
                  <c:v>Champagne Château de Bligny 750ml (1.3%)</c:v>
                </c:pt>
                <c:pt idx="7">
                  <c:v>Champagne Canard-Duchêne Blanc Cuvée Léonie Brut 750ml (2.6%)</c:v>
                </c:pt>
                <c:pt idx="8">
                  <c:v>Champagne Ruinart Brut 750ml (7.3%)</c:v>
                </c:pt>
                <c:pt idx="9">
                  <c:v>Champagne Vranken Demoiselle Rosé Prestige 750ml (2.0%)</c:v>
                </c:pt>
              </c:strCache>
            </c:strRef>
          </c:cat>
          <c:val>
            <c:numRef>
              <c:f>Sheet1!$B$2:$B$11</c:f>
              <c:numCache>
                <c:formatCode>General</c:formatCode>
                <c:ptCount val="10"/>
                <c:pt idx="0">
                  <c:v>0.23367830114147892</c:v>
                </c:pt>
                <c:pt idx="1">
                  <c:v>0.05450487600148448</c:v>
                </c:pt>
                <c:pt idx="2">
                  <c:v>0.04809670353883506</c:v>
                </c:pt>
                <c:pt idx="3">
                  <c:v>0.038437819440593504</c:v>
                </c:pt>
                <c:pt idx="4">
                  <c:v>0.038364245661756925</c:v>
                </c:pt>
                <c:pt idx="5">
                  <c:v>0.029311027812777776</c:v>
                </c:pt>
                <c:pt idx="6">
                  <c:v>0.02863642951510992</c:v>
                </c:pt>
                <c:pt idx="7">
                  <c:v>0.028025589075887886</c:v>
                </c:pt>
                <c:pt idx="8">
                  <c:v>0.02790062994223143</c:v>
                </c:pt>
                <c:pt idx="9">
                  <c:v>0.020029844954270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150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Laurent-Perrier Blanc La Cuvée 750ml (2.7%)</c:v>
                </c:pt>
                <c:pt idx="2">
                  <c:v>Champagne Heidsieck Monopole Silver Top 750ml (4.2%)</c:v>
                </c:pt>
                <c:pt idx="3">
                  <c:v>Champagne Nicolas Feuillatte Réserve Exclusive Brut 750ml (3.0%)</c:v>
                </c:pt>
                <c:pt idx="4">
                  <c:v>Champagne Ruinart Brut 750ml (7.3%)</c:v>
                </c:pt>
                <c:pt idx="5">
                  <c:v>Champagne Besserat de Bellefon Bleu Brut 750ml (1.7%)</c:v>
                </c:pt>
                <c:pt idx="6">
                  <c:v>Champagne Château de Bligny 750ml (1.3%)</c:v>
                </c:pt>
                <c:pt idx="7">
                  <c:v>Champagne Malard Brut 1er Cru 750ml (4.1%)</c:v>
                </c:pt>
                <c:pt idx="8">
                  <c:v>Champagne Deutz Brut Classique 750ml (3.4%)</c:v>
                </c:pt>
                <c:pt idx="9">
                  <c:v>Champagne Canard-Duchêne Blanc Cuvée Léonie Brut 750ml (2.6%)</c:v>
                </c:pt>
              </c:strCache>
            </c:strRef>
          </c:cat>
          <c:val>
            <c:numRef>
              <c:f>Sheet1!$B$2:$B$11</c:f>
              <c:numCache>
                <c:formatCode>General</c:formatCode>
                <c:ptCount val="10"/>
                <c:pt idx="0">
                  <c:v>0.23868897133556408</c:v>
                </c:pt>
                <c:pt idx="1">
                  <c:v>0.04450414166266526</c:v>
                </c:pt>
                <c:pt idx="2">
                  <c:v>0.04257590216941761</c:v>
                </c:pt>
                <c:pt idx="3">
                  <c:v>0.03974821745210086</c:v>
                </c:pt>
                <c:pt idx="4">
                  <c:v>0.039396114529626214</c:v>
                </c:pt>
                <c:pt idx="5">
                  <c:v>0.03256211499100498</c:v>
                </c:pt>
                <c:pt idx="6">
                  <c:v>0.031837226590697154</c:v>
                </c:pt>
                <c:pt idx="7">
                  <c:v>0.02840464418916389</c:v>
                </c:pt>
                <c:pt idx="8">
                  <c:v>0.028379907459664202</c:v>
                </c:pt>
                <c:pt idx="9">
                  <c:v>0.02151449864274700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Canard-Duchêne Blanc Cuvée Léonie Brut 750ml (2.6%)</c:v>
                </c:pt>
                <c:pt idx="5">
                  <c:v>Prosecco Carlo V Cuvée Del Imperator 750ml (5.4%)</c:v>
                </c:pt>
                <c:pt idx="6">
                  <c:v>Champagne E.Nicolas Rosé 750ml (0.9%)</c:v>
                </c:pt>
                <c:pt idx="7">
                  <c:v>Champagne Château de Bligny 750ml (1.3%)</c:v>
                </c:pt>
                <c:pt idx="8">
                  <c:v>Champagne Besserat de Bellefon Bleu Brut 750ml (1.7%)</c:v>
                </c:pt>
                <c:pt idx="9">
                  <c:v>Champagne Georges Vesselle Grand Cru Brut 750ml (1.0%)</c:v>
                </c:pt>
              </c:strCache>
            </c:strRef>
          </c:cat>
          <c:val>
            <c:numRef>
              <c:f>Sheet1!$B$2:$B$11</c:f>
              <c:numCache>
                <c:formatCode>General</c:formatCode>
                <c:ptCount val="10"/>
                <c:pt idx="0">
                  <c:v>0.3141348868979043</c:v>
                </c:pt>
                <c:pt idx="1">
                  <c:v>0.09906992200594159</c:v>
                </c:pt>
                <c:pt idx="2">
                  <c:v>0.044870421988043106</c:v>
                </c:pt>
                <c:pt idx="3">
                  <c:v>0.043145320187149665</c:v>
                </c:pt>
                <c:pt idx="4">
                  <c:v>0.03984405770545628</c:v>
                </c:pt>
                <c:pt idx="5">
                  <c:v>0.022065583391090417</c:v>
                </c:pt>
                <c:pt idx="6">
                  <c:v>0.020563195392476086</c:v>
                </c:pt>
                <c:pt idx="7">
                  <c:v>0.01962212364706876</c:v>
                </c:pt>
                <c:pt idx="8">
                  <c:v>0.018555516939193228</c:v>
                </c:pt>
                <c:pt idx="9">
                  <c:v>0.0176177943740531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llinger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Demoiselle (3.5%)</c:v>
                </c:pt>
                <c:pt idx="3">
                  <c:v>Taittinger (2.2%)</c:v>
                </c:pt>
                <c:pt idx="4">
                  <c:v>Nicolas (14.4%)</c:v>
                </c:pt>
                <c:pt idx="5">
                  <c:v>Malard (6.0%)</c:v>
                </c:pt>
                <c:pt idx="6">
                  <c:v>Laurent Perrier (3.9%)</c:v>
                </c:pt>
                <c:pt idx="7">
                  <c:v>Veuve Clicquot (1.7%)</c:v>
                </c:pt>
                <c:pt idx="8">
                  <c:v>Nicolas Feuillatte (4.5%)</c:v>
                </c:pt>
                <c:pt idx="9">
                  <c:v>Perrier-Jouët (0.9%)</c:v>
                </c:pt>
              </c:strCache>
            </c:strRef>
          </c:cat>
          <c:val>
            <c:numRef>
              <c:f>Sheet1!$B$2:$B$11</c:f>
              <c:numCache>
                <c:formatCode>General</c:formatCode>
                <c:ptCount val="10"/>
                <c:pt idx="0">
                  <c:v>0.2403285032258887</c:v>
                </c:pt>
                <c:pt idx="1">
                  <c:v>0.1349807491458871</c:v>
                </c:pt>
                <c:pt idx="2">
                  <c:v>0.06452907833187586</c:v>
                </c:pt>
                <c:pt idx="3">
                  <c:v>0.05660400664307069</c:v>
                </c:pt>
                <c:pt idx="4">
                  <c:v>0.05377216897987182</c:v>
                </c:pt>
                <c:pt idx="5">
                  <c:v>0.04528524093705857</c:v>
                </c:pt>
                <c:pt idx="6">
                  <c:v>0.03962119975220864</c:v>
                </c:pt>
                <c:pt idx="7">
                  <c:v>0.03216569252802387</c:v>
                </c:pt>
                <c:pt idx="8">
                  <c:v>0.031470374236641334</c:v>
                </c:pt>
                <c:pt idx="9">
                  <c:v>0.031456690856680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Canard-Duchêne Blanc Cuvée Léonie Brut 750ml (2.6%)</c:v>
                </c:pt>
                <c:pt idx="5">
                  <c:v>Champagne Laurent-Perrier Blanc La Cuvée 750ml (2.7%)</c:v>
                </c:pt>
                <c:pt idx="6">
                  <c:v>Prosecco Carlo V Cuvée Del Imperator 750ml (5.4%)</c:v>
                </c:pt>
                <c:pt idx="7">
                  <c:v>Champagne E.Nicolas Rosé 750ml (0.9%)</c:v>
                </c:pt>
                <c:pt idx="8">
                  <c:v>Champagne Château de Bligny 750ml (1.3%)</c:v>
                </c:pt>
                <c:pt idx="9">
                  <c:v>Champagne Vranken Demoiselle Rosé Prestige 750ml (2.0%)</c:v>
                </c:pt>
              </c:strCache>
            </c:strRef>
          </c:cat>
          <c:val>
            <c:numRef>
              <c:f>Sheet1!$B$2:$B$11</c:f>
              <c:numCache>
                <c:formatCode>General</c:formatCode>
                <c:ptCount val="10"/>
                <c:pt idx="0">
                  <c:v>0.2952978990583806</c:v>
                </c:pt>
                <c:pt idx="1">
                  <c:v>0.06777977187293213</c:v>
                </c:pt>
                <c:pt idx="2">
                  <c:v>0.04626216936252543</c:v>
                </c:pt>
                <c:pt idx="3">
                  <c:v>0.03441739338495785</c:v>
                </c:pt>
                <c:pt idx="4">
                  <c:v>0.03428933846376623</c:v>
                </c:pt>
                <c:pt idx="5">
                  <c:v>0.025982746078831487</c:v>
                </c:pt>
                <c:pt idx="6">
                  <c:v>0.025695086104387695</c:v>
                </c:pt>
                <c:pt idx="7">
                  <c:v>0.023843970832044984</c:v>
                </c:pt>
                <c:pt idx="8">
                  <c:v>0.020630599101643846</c:v>
                </c:pt>
                <c:pt idx="9">
                  <c:v>0.01986616000700834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Ruinart Brut 750ml (7.3%)</c:v>
                </c:pt>
                <c:pt idx="3">
                  <c:v>Champagne Nicolas Feuillatte Réserve Exclusive Brut 750ml (3.0%)</c:v>
                </c:pt>
                <c:pt idx="4">
                  <c:v>Champagne Canard-Duchêne Blanc Cuvée Léonie Brut 750ml (2.6%)</c:v>
                </c:pt>
                <c:pt idx="5">
                  <c:v>Champagne Vranken Demoiselle Rosé Prestige 750ml (2.0%)</c:v>
                </c:pt>
                <c:pt idx="6">
                  <c:v>Champagne Heidsieck Monopole Silver Top 750ml (4.2%)</c:v>
                </c:pt>
                <c:pt idx="7">
                  <c:v>Champagne Laurent-Perrier Blanc La Cuvée 750ml (2.7%)</c:v>
                </c:pt>
                <c:pt idx="8">
                  <c:v>Champagne Vranken Demoiselle Tête de Cuvée 750ml (1.4%)</c:v>
                </c:pt>
                <c:pt idx="9">
                  <c:v>Champagne Besserat de Bellefon Bleu Brut 750ml (1.7%)</c:v>
                </c:pt>
              </c:strCache>
            </c:strRef>
          </c:cat>
          <c:val>
            <c:numRef>
              <c:f>Sheet1!$B$2:$B$11</c:f>
              <c:numCache>
                <c:formatCode>General</c:formatCode>
                <c:ptCount val="10"/>
                <c:pt idx="0">
                  <c:v>0.1363758786241643</c:v>
                </c:pt>
                <c:pt idx="1">
                  <c:v>0.056709561561713424</c:v>
                </c:pt>
                <c:pt idx="2">
                  <c:v>0.04416236215434393</c:v>
                </c:pt>
                <c:pt idx="3">
                  <c:v>0.03953189851012104</c:v>
                </c:pt>
                <c:pt idx="4">
                  <c:v>0.0363222325205433</c:v>
                </c:pt>
                <c:pt idx="5">
                  <c:v>0.03563656533450443</c:v>
                </c:pt>
                <c:pt idx="6">
                  <c:v>0.03514941566176754</c:v>
                </c:pt>
                <c:pt idx="7">
                  <c:v>0.032731594134007516</c:v>
                </c:pt>
                <c:pt idx="8">
                  <c:v>0.02369294387513172</c:v>
                </c:pt>
                <c:pt idx="9">
                  <c:v>0.0234261933095404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Nicolas Feuillatte Réserve Exclusive Brut 750ml (3.0%)</c:v>
                </c:pt>
                <c:pt idx="4">
                  <c:v>Champagne Ruinart Brut 750ml (7.3%)</c:v>
                </c:pt>
                <c:pt idx="5">
                  <c:v>Prosecco Carlo V Cuvée Del Imperator 750ml (5.4%)</c:v>
                </c:pt>
                <c:pt idx="6">
                  <c:v>Champagne Laurent-Perrier Blanc La Cuvée 750ml (2.7%)</c:v>
                </c:pt>
                <c:pt idx="7">
                  <c:v>Champagne Heidsieck Monopole Silver Top 750ml (4.2%)</c:v>
                </c:pt>
                <c:pt idx="8">
                  <c:v>Champagne Vranken Demoiselle Rosé Prestige 750ml (2.0%)</c:v>
                </c:pt>
                <c:pt idx="9">
                  <c:v>Champagne Besserat de Bellefon Bleu Brut 750ml (1.7%)</c:v>
                </c:pt>
              </c:strCache>
            </c:strRef>
          </c:cat>
          <c:val>
            <c:numRef>
              <c:f>Sheet1!$B$2:$B$11</c:f>
              <c:numCache>
                <c:formatCode>General</c:formatCode>
                <c:ptCount val="10"/>
                <c:pt idx="0">
                  <c:v>0.2016949339361261</c:v>
                </c:pt>
                <c:pt idx="1">
                  <c:v>0.05231431999825891</c:v>
                </c:pt>
                <c:pt idx="2">
                  <c:v>0.036732683563106015</c:v>
                </c:pt>
                <c:pt idx="3">
                  <c:v>0.03351690457431346</c:v>
                </c:pt>
                <c:pt idx="4">
                  <c:v>0.03332978291133466</c:v>
                </c:pt>
                <c:pt idx="5">
                  <c:v>0.031068082371792004</c:v>
                </c:pt>
                <c:pt idx="6">
                  <c:v>0.028662163885928425</c:v>
                </c:pt>
                <c:pt idx="7">
                  <c:v>0.028425701922450235</c:v>
                </c:pt>
                <c:pt idx="8">
                  <c:v>0.024993376084531484</c:v>
                </c:pt>
                <c:pt idx="9">
                  <c:v>0.021255721827447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Rosé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Nicolas Feuillatte Réserve Exclusive Brut 750ml (3.0%)</c:v>
                </c:pt>
                <c:pt idx="5">
                  <c:v>Crémant d'Alsace Muré Prestige Bio 750ml (1.3%)</c:v>
                </c:pt>
                <c:pt idx="6">
                  <c:v>Prosecco Bottega Rosé 750ml (1.1%)</c:v>
                </c:pt>
                <c:pt idx="7">
                  <c:v>Champagne Vranken Demoiselle Rosé Prestige 750ml (2.0%)</c:v>
                </c:pt>
                <c:pt idx="8">
                  <c:v>Prosecco Bottega 750ml (2.6%)</c:v>
                </c:pt>
                <c:pt idx="9">
                  <c:v>Crémant de Bourgogne Patriarche Brut 750ml (1.8%)</c:v>
                </c:pt>
              </c:strCache>
            </c:strRef>
          </c:cat>
          <c:val>
            <c:numRef>
              <c:f>Sheet1!$B$2:$B$11</c:f>
              <c:numCache>
                <c:formatCode>General</c:formatCode>
                <c:ptCount val="10"/>
                <c:pt idx="0">
                  <c:v>0.24147953485670545</c:v>
                </c:pt>
                <c:pt idx="1">
                  <c:v>0.08731168718900255</c:v>
                </c:pt>
                <c:pt idx="2">
                  <c:v>0.038875432681219964</c:v>
                </c:pt>
                <c:pt idx="3">
                  <c:v>0.03454180213028299</c:v>
                </c:pt>
                <c:pt idx="4">
                  <c:v>0.033334357931570045</c:v>
                </c:pt>
                <c:pt idx="5">
                  <c:v>0.028611357939215792</c:v>
                </c:pt>
                <c:pt idx="6">
                  <c:v>0.028512218711601766</c:v>
                </c:pt>
                <c:pt idx="7">
                  <c:v>0.02806486402777879</c:v>
                </c:pt>
                <c:pt idx="8">
                  <c:v>0.02613240759088763</c:v>
                </c:pt>
                <c:pt idx="9">
                  <c:v>0.0259378285675569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Rosé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Nicolas Feuillatte Réserve Exclusive Brut 750ml (3.0%)</c:v>
                </c:pt>
                <c:pt idx="5">
                  <c:v>Crémant d'Alsace Muré Prestige Bio 750ml (1.3%)</c:v>
                </c:pt>
                <c:pt idx="6">
                  <c:v>Prosecco Bottega 750ml (2.6%)</c:v>
                </c:pt>
                <c:pt idx="7">
                  <c:v>Crémant de Bourgogne Patriarche Brut 750ml (1.8%)</c:v>
                </c:pt>
                <c:pt idx="8">
                  <c:v>Champagne Vranken Demoiselle Rosé Prestige 750ml (2.0%)</c:v>
                </c:pt>
                <c:pt idx="9">
                  <c:v>Prosecco Bottega Rosé 750ml (1.1%)</c:v>
                </c:pt>
              </c:strCache>
            </c:strRef>
          </c:cat>
          <c:val>
            <c:numRef>
              <c:f>Sheet1!$B$2:$B$11</c:f>
              <c:numCache>
                <c:formatCode>General</c:formatCode>
                <c:ptCount val="10"/>
                <c:pt idx="0">
                  <c:v>0.31400151372680113</c:v>
                </c:pt>
                <c:pt idx="1">
                  <c:v>0.06778707635420786</c:v>
                </c:pt>
                <c:pt idx="2">
                  <c:v>0.04963447615573254</c:v>
                </c:pt>
                <c:pt idx="3">
                  <c:v>0.02799080110657482</c:v>
                </c:pt>
                <c:pt idx="4">
                  <c:v>0.027626977437554046</c:v>
                </c:pt>
                <c:pt idx="5">
                  <c:v>0.025740614590535456</c:v>
                </c:pt>
                <c:pt idx="6">
                  <c:v>0.02525129093096627</c:v>
                </c:pt>
                <c:pt idx="7">
                  <c:v>0.02297351447329953</c:v>
                </c:pt>
                <c:pt idx="8">
                  <c:v>0.022756421584359483</c:v>
                </c:pt>
                <c:pt idx="9">
                  <c:v>0.0227190120394517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Prosecco Carlo V Cuvée Del Imperator 750ml (5.4%)</c:v>
                </c:pt>
                <c:pt idx="4">
                  <c:v>Champagne Nicolas Feuillatte Réserve Exclusive Brut 750ml (3.0%)</c:v>
                </c:pt>
                <c:pt idx="5">
                  <c:v>Champagne Laurent-Perrier Blanc La Cuvée 750ml (2.7%)</c:v>
                </c:pt>
                <c:pt idx="6">
                  <c:v>Champagne E.Nicolas Rosé 750ml (0.9%)</c:v>
                </c:pt>
                <c:pt idx="7">
                  <c:v>Champagne Vranken Demoiselle Rosé Prestige 750ml (2.0%)</c:v>
                </c:pt>
                <c:pt idx="8">
                  <c:v>Champagne Canard-Duchêne Blanc Cuvée Léonie Brut 750ml (2.6%)</c:v>
                </c:pt>
                <c:pt idx="9">
                  <c:v>Champagne Vranken Demoiselle Tête de Cuvée 750ml (1.4%)</c:v>
                </c:pt>
              </c:strCache>
            </c:strRef>
          </c:cat>
          <c:val>
            <c:numRef>
              <c:f>Sheet1!$B$2:$B$11</c:f>
              <c:numCache>
                <c:formatCode>General</c:formatCode>
                <c:ptCount val="10"/>
                <c:pt idx="0">
                  <c:v>0.23278067202532668</c:v>
                </c:pt>
                <c:pt idx="1">
                  <c:v>0.05919057633085129</c:v>
                </c:pt>
                <c:pt idx="2">
                  <c:v>0.04581001741867503</c:v>
                </c:pt>
                <c:pt idx="3">
                  <c:v>0.0410115328146258</c:v>
                </c:pt>
                <c:pt idx="4">
                  <c:v>0.040539930857054915</c:v>
                </c:pt>
                <c:pt idx="5">
                  <c:v>0.03310032642044135</c:v>
                </c:pt>
                <c:pt idx="6">
                  <c:v>0.03108401221123452</c:v>
                </c:pt>
                <c:pt idx="7">
                  <c:v>0.028289706050941874</c:v>
                </c:pt>
                <c:pt idx="8">
                  <c:v>0.027087711332749603</c:v>
                </c:pt>
                <c:pt idx="9">
                  <c:v>0.0242219167121886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Laurent-Perrier Blanc La Cuvée 750ml (2.7%)</c:v>
                </c:pt>
                <c:pt idx="2">
                  <c:v>Champagne Malard Brut 1er Cru 750ml (4.1%)</c:v>
                </c:pt>
                <c:pt idx="3">
                  <c:v>Champagne Nicolas Feuillatte Réserve Exclusive Brut 750ml (3.0%)</c:v>
                </c:pt>
                <c:pt idx="4">
                  <c:v>Champagne Heidsieck Monopole Silver Top 750ml (4.2%)</c:v>
                </c:pt>
                <c:pt idx="5">
                  <c:v>Prosecco Carlo V Cuvée Del Imperator 750ml (5.4%)</c:v>
                </c:pt>
                <c:pt idx="6">
                  <c:v>Champagne Vranken Demoiselle Rosé Prestige 750ml (2.0%)</c:v>
                </c:pt>
                <c:pt idx="7">
                  <c:v>Champagne Ruinart Brut 750ml (7.3%)</c:v>
                </c:pt>
                <c:pt idx="8">
                  <c:v>Champagne E.Nicolas Rosé 750ml (0.9%)</c:v>
                </c:pt>
                <c:pt idx="9">
                  <c:v>Champagne Vranken Demoiselle Tête de Cuvée 750ml (1.4%)</c:v>
                </c:pt>
              </c:strCache>
            </c:strRef>
          </c:cat>
          <c:val>
            <c:numRef>
              <c:f>Sheet1!$B$2:$B$11</c:f>
              <c:numCache>
                <c:formatCode>General</c:formatCode>
                <c:ptCount val="10"/>
                <c:pt idx="0">
                  <c:v>0.18097754497620092</c:v>
                </c:pt>
                <c:pt idx="1">
                  <c:v>0.0533577215226791</c:v>
                </c:pt>
                <c:pt idx="2">
                  <c:v>0.04946268388587244</c:v>
                </c:pt>
                <c:pt idx="3">
                  <c:v>0.03904858919999935</c:v>
                </c:pt>
                <c:pt idx="4">
                  <c:v>0.03739033747783517</c:v>
                </c:pt>
                <c:pt idx="5">
                  <c:v>0.03396649460788481</c:v>
                </c:pt>
                <c:pt idx="6">
                  <c:v>0.03238580149762042</c:v>
                </c:pt>
                <c:pt idx="7">
                  <c:v>0.029807179451175878</c:v>
                </c:pt>
                <c:pt idx="8">
                  <c:v>0.027984936814198877</c:v>
                </c:pt>
                <c:pt idx="9">
                  <c:v>0.02466045146456957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esserat de Bellefon Blanc de Blancs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Vranken Demoiselle Rosé Prestige 750ml (2.0%)</c:v>
                </c:pt>
                <c:pt idx="3">
                  <c:v>Champagne Ruinart Blanc de Blancs 750ml (2.0%)</c:v>
                </c:pt>
                <c:pt idx="4">
                  <c:v>Champagne Ayala Brut Majeur 750ml (1.7%)</c:v>
                </c:pt>
                <c:pt idx="5">
                  <c:v>Champagne E.Nicolas Brut 750ml (11.6%)</c:v>
                </c:pt>
                <c:pt idx="6">
                  <c:v>Champagne Laurent-Perrier Blanc La Cuvée 750ml (2.7%)</c:v>
                </c:pt>
                <c:pt idx="7">
                  <c:v>Champagne Pol Roger Brut 750ml (0.8%)</c:v>
                </c:pt>
                <c:pt idx="8">
                  <c:v>Champagne Bollinger Special Cuvée Brut 750ml (1.2%)</c:v>
                </c:pt>
                <c:pt idx="9">
                  <c:v>Champagne Ruinart Blanc de Blancs (étui) 750ml (0.8%)</c:v>
                </c:pt>
              </c:strCache>
            </c:strRef>
          </c:cat>
          <c:val>
            <c:numRef>
              <c:f>Sheet1!$B$2:$B$11</c:f>
              <c:numCache>
                <c:formatCode>General</c:formatCode>
                <c:ptCount val="10"/>
                <c:pt idx="0">
                  <c:v>0.055752725407046316</c:v>
                </c:pt>
                <c:pt idx="1">
                  <c:v>0.05464347374445229</c:v>
                </c:pt>
                <c:pt idx="2">
                  <c:v>0.043113918481722725</c:v>
                </c:pt>
                <c:pt idx="3">
                  <c:v>0.04066547464794899</c:v>
                </c:pt>
                <c:pt idx="4">
                  <c:v>0.03717386707637248</c:v>
                </c:pt>
                <c:pt idx="5">
                  <c:v>0.03635927556776124</c:v>
                </c:pt>
                <c:pt idx="6">
                  <c:v>0.035762719314552466</c:v>
                </c:pt>
                <c:pt idx="7">
                  <c:v>0.02937014778223139</c:v>
                </c:pt>
                <c:pt idx="8">
                  <c:v>0.027287421310295105</c:v>
                </c:pt>
                <c:pt idx="9">
                  <c:v>0.0272225239070158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esserat de Bellefon Blanc de Blancs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Vranken Demoiselle Rosé Prestige 750ml (2.0%)</c:v>
                </c:pt>
                <c:pt idx="3">
                  <c:v>Champagne Deutz Brut Classique 750ml (3.4%)</c:v>
                </c:pt>
                <c:pt idx="4">
                  <c:v>Mousseux French Bloom Blanc Bio Sans Alcool 750ml (0.7%)</c:v>
                </c:pt>
                <c:pt idx="5">
                  <c:v>Champagne Ruinart Blanc de Blancs (étui) 750ml (0.8%)</c:v>
                </c:pt>
                <c:pt idx="6">
                  <c:v>Champagne Laurent-Perrier Blanc La Cuvée 750ml (2.7%)</c:v>
                </c:pt>
                <c:pt idx="7">
                  <c:v>Champagne Pol Roger Brut 750ml (0.8%)</c:v>
                </c:pt>
                <c:pt idx="8">
                  <c:v>Champagne Ayala Brut Majeur 750ml (1.7%)</c:v>
                </c:pt>
                <c:pt idx="9">
                  <c:v>Champagne Bollinger Special Cuvée Brut 750ml (1.2%)</c:v>
                </c:pt>
              </c:strCache>
            </c:strRef>
          </c:cat>
          <c:val>
            <c:numRef>
              <c:f>Sheet1!$B$2:$B$11</c:f>
              <c:numCache>
                <c:formatCode>General</c:formatCode>
                <c:ptCount val="10"/>
                <c:pt idx="0">
                  <c:v>0.060953363272914715</c:v>
                </c:pt>
                <c:pt idx="1">
                  <c:v>0.05477934863441457</c:v>
                </c:pt>
                <c:pt idx="2">
                  <c:v>0.05396648978806431</c:v>
                </c:pt>
                <c:pt idx="3">
                  <c:v>0.0483625144808283</c:v>
                </c:pt>
                <c:pt idx="4">
                  <c:v>0.04299189287288819</c:v>
                </c:pt>
                <c:pt idx="5">
                  <c:v>0.038249331578013857</c:v>
                </c:pt>
                <c:pt idx="6">
                  <c:v>0.03055714730037496</c:v>
                </c:pt>
                <c:pt idx="7">
                  <c:v>0.030503393286391893</c:v>
                </c:pt>
                <c:pt idx="8">
                  <c:v>0.030140212945397243</c:v>
                </c:pt>
                <c:pt idx="9">
                  <c:v>0.03009602279292963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esserat de Bellefon Bleu Brut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Georges Vesselle Grand Cru Brut 750ml (1.0%)</c:v>
                </c:pt>
                <c:pt idx="4">
                  <c:v>Champagne Canard-Duchêne Blanc Cuvée Léonie Brut 750ml (2.6%)</c:v>
                </c:pt>
                <c:pt idx="5">
                  <c:v>Champagne Nicolas Feuillatte Réserve Exclusive Brut 750ml (3.0%)</c:v>
                </c:pt>
                <c:pt idx="6">
                  <c:v>Champagne Ayala Brut Majeur 750ml (1.7%)</c:v>
                </c:pt>
                <c:pt idx="7">
                  <c:v>Champagne Château de Bligny 750ml (1.3%)</c:v>
                </c:pt>
                <c:pt idx="8">
                  <c:v>Champagne Louis Martin Brut 1er Cru 750ml (0.5%)</c:v>
                </c:pt>
                <c:pt idx="9">
                  <c:v>Champagne Laurent-Perrier Blanc La Cuvée 750ml (2.7%)</c:v>
                </c:pt>
              </c:strCache>
            </c:strRef>
          </c:cat>
          <c:val>
            <c:numRef>
              <c:f>Sheet1!$B$2:$B$11</c:f>
              <c:numCache>
                <c:formatCode>General</c:formatCode>
                <c:ptCount val="10"/>
                <c:pt idx="0">
                  <c:v>0.13120130363489252</c:v>
                </c:pt>
                <c:pt idx="1">
                  <c:v>0.11939681870101458</c:v>
                </c:pt>
                <c:pt idx="2">
                  <c:v>0.11448363060826229</c:v>
                </c:pt>
                <c:pt idx="3">
                  <c:v>0.04657396202347995</c:v>
                </c:pt>
                <c:pt idx="4">
                  <c:v>0.043935302634352164</c:v>
                </c:pt>
                <c:pt idx="5">
                  <c:v>0.03717312618100326</c:v>
                </c:pt>
                <c:pt idx="6">
                  <c:v>0.0364389656474327</c:v>
                </c:pt>
                <c:pt idx="7">
                  <c:v>0.03561656546926516</c:v>
                </c:pt>
                <c:pt idx="8">
                  <c:v>0.02377596259502197</c:v>
                </c:pt>
                <c:pt idx="9">
                  <c:v>0.0206855761894542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ttega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Patriarche (2.6%)</c:v>
                </c:pt>
                <c:pt idx="4">
                  <c:v>Muré (1.3%)</c:v>
                </c:pt>
                <c:pt idx="5">
                  <c:v>Les Grumes  (1.0%)</c:v>
                </c:pt>
                <c:pt idx="6">
                  <c:v>Heidsieck &amp; C° Monopole (4.2%)</c:v>
                </c:pt>
                <c:pt idx="7">
                  <c:v>Ruinart (12.8%)</c:v>
                </c:pt>
                <c:pt idx="8">
                  <c:v>Bouvet Ladubay (1.5%)</c:v>
                </c:pt>
                <c:pt idx="9">
                  <c:v>Malard (6.0%)</c:v>
                </c:pt>
              </c:strCache>
            </c:strRef>
          </c:cat>
          <c:val>
            <c:numRef>
              <c:f>Sheet1!$B$2:$B$11</c:f>
              <c:numCache>
                <c:formatCode>General</c:formatCode>
                <c:ptCount val="10"/>
                <c:pt idx="0">
                  <c:v>0.3711179795295846</c:v>
                </c:pt>
                <c:pt idx="1">
                  <c:v>0.15361714291129308</c:v>
                </c:pt>
                <c:pt idx="2">
                  <c:v>0.08419517485388188</c:v>
                </c:pt>
                <c:pt idx="3">
                  <c:v>0.03375541198220851</c:v>
                </c:pt>
                <c:pt idx="4">
                  <c:v>0.031693480633741285</c:v>
                </c:pt>
                <c:pt idx="5">
                  <c:v>0.02931883677235543</c:v>
                </c:pt>
                <c:pt idx="6">
                  <c:v>0.028248682066472214</c:v>
                </c:pt>
                <c:pt idx="7">
                  <c:v>0.025050511996632677</c:v>
                </c:pt>
                <c:pt idx="8">
                  <c:v>0.02307267279024683</c:v>
                </c:pt>
                <c:pt idx="9">
                  <c:v>0.0210539168257219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esserat de Bellefon Bleu Brut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E.Nicolas Brut 750ml (11.6%)</c:v>
                </c:pt>
                <c:pt idx="2">
                  <c:v>Champagne Malard Brut 1er Cru 750ml (4.1%)</c:v>
                </c:pt>
                <c:pt idx="3">
                  <c:v>Champagne Château de Bligny 750ml (1.3%)</c:v>
                </c:pt>
                <c:pt idx="4">
                  <c:v>Champagne Georges Vesselle Grand Cru Brut 750ml (1.0%)</c:v>
                </c:pt>
                <c:pt idx="5">
                  <c:v>Champagne Laurent-Perrier Blanc La Cuvée 750ml (2.7%)</c:v>
                </c:pt>
                <c:pt idx="6">
                  <c:v>Champagne Ayala Brut Majeur 750ml (1.7%)</c:v>
                </c:pt>
                <c:pt idx="7">
                  <c:v>Champagne Nicolas Feuillatte Réserve Exclusive Brut 750ml (3.0%)</c:v>
                </c:pt>
                <c:pt idx="8">
                  <c:v>Champagne Canard-Duchêne Blanc Cuvée Léonie Brut 750ml (2.6%)</c:v>
                </c:pt>
                <c:pt idx="9">
                  <c:v>Champagne Deutz Brut Classique 750ml (3.4%)</c:v>
                </c:pt>
              </c:strCache>
            </c:strRef>
          </c:cat>
          <c:val>
            <c:numRef>
              <c:f>Sheet1!$B$2:$B$11</c:f>
              <c:numCache>
                <c:formatCode>General</c:formatCode>
                <c:ptCount val="10"/>
                <c:pt idx="0">
                  <c:v>0.09872043258972685</c:v>
                </c:pt>
                <c:pt idx="1">
                  <c:v>0.09716110317659186</c:v>
                </c:pt>
                <c:pt idx="2">
                  <c:v>0.07919756004195236</c:v>
                </c:pt>
                <c:pt idx="3">
                  <c:v>0.041461268509938434</c:v>
                </c:pt>
                <c:pt idx="4">
                  <c:v>0.03602130374632653</c:v>
                </c:pt>
                <c:pt idx="5">
                  <c:v>0.03541886895294705</c:v>
                </c:pt>
                <c:pt idx="6">
                  <c:v>0.0348388071596666</c:v>
                </c:pt>
                <c:pt idx="7">
                  <c:v>0.03280633263271189</c:v>
                </c:pt>
                <c:pt idx="8">
                  <c:v>0.03242626153673929</c:v>
                </c:pt>
                <c:pt idx="9">
                  <c:v>0.0321574251979967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Ayala Brut Majeur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Deutz Brut Classique 750ml (3.4%)</c:v>
                </c:pt>
                <c:pt idx="3">
                  <c:v>Champagne Canard-Duchêne Blanc Cuvée Léonie Brut 750ml (2.6%)</c:v>
                </c:pt>
                <c:pt idx="4">
                  <c:v>Champagne Besserat de Bellefon Bleu Brut 750ml (1.7%)</c:v>
                </c:pt>
                <c:pt idx="5">
                  <c:v>Champagne E.Nicolas Brut 750ml (11.6%)</c:v>
                </c:pt>
                <c:pt idx="6">
                  <c:v>Champagne Nicolas Feuillatte Réserve Exclusive Brut 750ml (3.0%)</c:v>
                </c:pt>
                <c:pt idx="7">
                  <c:v>Champagne Château de Bligny 750ml (1.3%)</c:v>
                </c:pt>
                <c:pt idx="8">
                  <c:v>Champagne Ruinart Brut 750ml (7.3%)</c:v>
                </c:pt>
                <c:pt idx="9">
                  <c:v>Champagne Vranken Demoiselle Tête de Cuvée 750ml (1.4%)</c:v>
                </c:pt>
              </c:strCache>
            </c:strRef>
          </c:cat>
          <c:val>
            <c:numRef>
              <c:f>Sheet1!$B$2:$B$11</c:f>
              <c:numCache>
                <c:formatCode>General</c:formatCode>
                <c:ptCount val="10"/>
                <c:pt idx="0">
                  <c:v>0.15768674984968795</c:v>
                </c:pt>
                <c:pt idx="1">
                  <c:v>0.15096531370638336</c:v>
                </c:pt>
                <c:pt idx="2">
                  <c:v>0.09455820168595308</c:v>
                </c:pt>
                <c:pt idx="3">
                  <c:v>0.09390480485241812</c:v>
                </c:pt>
                <c:pt idx="4">
                  <c:v>0.05347716407534321</c:v>
                </c:pt>
                <c:pt idx="5">
                  <c:v>0.05053487079809051</c:v>
                </c:pt>
                <c:pt idx="6">
                  <c:v>0.026135739215241597</c:v>
                </c:pt>
                <c:pt idx="7">
                  <c:v>0.024367939944112665</c:v>
                </c:pt>
                <c:pt idx="8">
                  <c:v>0.022924784159255765</c:v>
                </c:pt>
                <c:pt idx="9">
                  <c:v>0.0206940700397516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Ayala Brut Majeur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Heidsieck Monopole Silver Top 750ml (4.2%)</c:v>
                </c:pt>
                <c:pt idx="2">
                  <c:v>Champagne Malard Brut 1er Cru 750ml (4.1%)</c:v>
                </c:pt>
                <c:pt idx="3">
                  <c:v>Champagne Canard-Duchêne Blanc Cuvée Léonie Brut 750ml (2.6%)</c:v>
                </c:pt>
                <c:pt idx="4">
                  <c:v>Champagne Besserat de Bellefon Bleu Brut 750ml (1.7%)</c:v>
                </c:pt>
                <c:pt idx="5">
                  <c:v>Champagne E.Nicolas Brut 750ml (11.6%)</c:v>
                </c:pt>
                <c:pt idx="6">
                  <c:v>Champagne Ruinart Brut 750ml (7.3%)</c:v>
                </c:pt>
                <c:pt idx="7">
                  <c:v>Champagne Laurent-Perrier Blanc La Cuvée 750ml (2.7%)</c:v>
                </c:pt>
                <c:pt idx="8">
                  <c:v>Champagne Château de Bligny 750ml (1.3%)</c:v>
                </c:pt>
                <c:pt idx="9">
                  <c:v>Champagne Taittinger Prestige Brut 750ml (1.6%)</c:v>
                </c:pt>
              </c:strCache>
            </c:strRef>
          </c:cat>
          <c:val>
            <c:numRef>
              <c:f>Sheet1!$B$2:$B$11</c:f>
              <c:numCache>
                <c:formatCode>General</c:formatCode>
                <c:ptCount val="10"/>
                <c:pt idx="0">
                  <c:v>0.14999491381579402</c:v>
                </c:pt>
                <c:pt idx="1">
                  <c:v>0.12718957490715654</c:v>
                </c:pt>
                <c:pt idx="2">
                  <c:v>0.09580624870603076</c:v>
                </c:pt>
                <c:pt idx="3">
                  <c:v>0.07825446739791961</c:v>
                </c:pt>
                <c:pt idx="4">
                  <c:v>0.05647074400545226</c:v>
                </c:pt>
                <c:pt idx="5">
                  <c:v>0.03804379759726295</c:v>
                </c:pt>
                <c:pt idx="6">
                  <c:v>0.03519210281317289</c:v>
                </c:pt>
                <c:pt idx="7">
                  <c:v>0.026101360062449057</c:v>
                </c:pt>
                <c:pt idx="8">
                  <c:v>0.02502163981202787</c:v>
                </c:pt>
                <c:pt idx="9">
                  <c:v>0.02224664269420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ollinger Special Cuvée Brut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Taittinger Prestige Brut 750ml (1.6%)</c:v>
                </c:pt>
                <c:pt idx="3">
                  <c:v>Champagne Veuve Clicquot Réserve Cuvée 750ml (1.7%)</c:v>
                </c:pt>
                <c:pt idx="4">
                  <c:v>Champagne E.Nicolas Brut 750ml (11.6%)</c:v>
                </c:pt>
                <c:pt idx="5">
                  <c:v>Champagne Ayala Brut Majeur 750ml (1.7%)</c:v>
                </c:pt>
                <c:pt idx="6">
                  <c:v>Champagne Vranken Demoiselle Rosé Prestige 750ml (2.0%)</c:v>
                </c:pt>
                <c:pt idx="7">
                  <c:v>Champagne Malard Brut 1er Cru 750ml (4.1%)</c:v>
                </c:pt>
                <c:pt idx="8">
                  <c:v>Champagne Laurent-Perrier Blanc La Cuvée 750ml (2.7%)</c:v>
                </c:pt>
                <c:pt idx="9">
                  <c:v>Champagne Ruinart Brut (étui) 750ml (1.2%)</c:v>
                </c:pt>
              </c:strCache>
            </c:strRef>
          </c:cat>
          <c:val>
            <c:numRef>
              <c:f>Sheet1!$B$2:$B$11</c:f>
              <c:numCache>
                <c:formatCode>General</c:formatCode>
                <c:ptCount val="10"/>
                <c:pt idx="0">
                  <c:v>0.14907755588531404</c:v>
                </c:pt>
                <c:pt idx="1">
                  <c:v>0.106906974806126</c:v>
                </c:pt>
                <c:pt idx="2">
                  <c:v>0.053467524213182606</c:v>
                </c:pt>
                <c:pt idx="3">
                  <c:v>0.03773156265387117</c:v>
                </c:pt>
                <c:pt idx="4">
                  <c:v>0.03744229062710347</c:v>
                </c:pt>
                <c:pt idx="5">
                  <c:v>0.035280607321886495</c:v>
                </c:pt>
                <c:pt idx="6">
                  <c:v>0.03275024447291755</c:v>
                </c:pt>
                <c:pt idx="7">
                  <c:v>0.029906953845576657</c:v>
                </c:pt>
                <c:pt idx="8">
                  <c:v>0.028516485757795498</c:v>
                </c:pt>
                <c:pt idx="9">
                  <c:v>0.02405428595203773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ollinger Special Cuvée Brut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Taittinger Prestige Brut 750ml (1.6%)</c:v>
                </c:pt>
                <c:pt idx="3">
                  <c:v>Champagne Vranken Demoiselle Rosé Prestige 750ml (2.0%)</c:v>
                </c:pt>
                <c:pt idx="4">
                  <c:v>Champagne Veuve Clicquot Réserve Cuvée 750ml (1.7%)</c:v>
                </c:pt>
                <c:pt idx="5">
                  <c:v>Champagne Perrier-Jouët Blanc Grand Brut 750ml (0.9%)</c:v>
                </c:pt>
                <c:pt idx="6">
                  <c:v>Champagne E.Nicolas Brut 750ml (11.6%)</c:v>
                </c:pt>
                <c:pt idx="7">
                  <c:v>Champagne Ruinart Blanc de Blancs 750ml (2.0%)</c:v>
                </c:pt>
                <c:pt idx="8">
                  <c:v>Champagne Ruinart Brut (étui) 750ml (1.2%)</c:v>
                </c:pt>
                <c:pt idx="9">
                  <c:v>Champagne Malard Brut 1er Cru 750ml (4.1%)</c:v>
                </c:pt>
              </c:strCache>
            </c:strRef>
          </c:cat>
          <c:val>
            <c:numRef>
              <c:f>Sheet1!$B$2:$B$11</c:f>
              <c:numCache>
                <c:formatCode>General</c:formatCode>
                <c:ptCount val="10"/>
                <c:pt idx="0">
                  <c:v>0.14447835842013682</c:v>
                </c:pt>
                <c:pt idx="1">
                  <c:v>0.11461744197005042</c:v>
                </c:pt>
                <c:pt idx="2">
                  <c:v>0.05165247634672622</c:v>
                </c:pt>
                <c:pt idx="3">
                  <c:v>0.04586586405146328</c:v>
                </c:pt>
                <c:pt idx="4">
                  <c:v>0.033192183334302745</c:v>
                </c:pt>
                <c:pt idx="5">
                  <c:v>0.03158986585714529</c:v>
                </c:pt>
                <c:pt idx="6">
                  <c:v>0.029604233555511644</c:v>
                </c:pt>
                <c:pt idx="7">
                  <c:v>0.02931195681681955</c:v>
                </c:pt>
                <c:pt idx="8">
                  <c:v>0.028203010770159288</c:v>
                </c:pt>
                <c:pt idx="9">
                  <c:v>0.0257109190000009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ollinger 1846 Special Cuvée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Laurent-Perrier Blanc La Cuvée 1500ml (0.8%)</c:v>
                </c:pt>
                <c:pt idx="3">
                  <c:v>Champagne Ruinart Blanc de Blancs 750ml (2.0%)</c:v>
                </c:pt>
                <c:pt idx="4">
                  <c:v>Champagne Ruinart Brut (étui) 750ml (1.2%)</c:v>
                </c:pt>
                <c:pt idx="5">
                  <c:v>Champagne Pol Roger Brut 750ml (0.8%)</c:v>
                </c:pt>
                <c:pt idx="6">
                  <c:v>Champagne E.Nicolas Brut 750ml (11.6%)</c:v>
                </c:pt>
                <c:pt idx="7">
                  <c:v>Champagne Ruinart Brut (étui) 1500ml (0.7%)</c:v>
                </c:pt>
                <c:pt idx="8">
                  <c:v>Champagne Deutz Brut Classique 1500ml (0.6%)</c:v>
                </c:pt>
                <c:pt idx="9">
                  <c:v>Champagne Laurent-Perrier Blanc La Cuvée 750ml (2.7%)</c:v>
                </c:pt>
              </c:strCache>
            </c:strRef>
          </c:cat>
          <c:val>
            <c:numRef>
              <c:f>Sheet1!$B$2:$B$11</c:f>
              <c:numCache>
                <c:formatCode>General</c:formatCode>
                <c:ptCount val="10"/>
                <c:pt idx="0">
                  <c:v>0.10260617528880951</c:v>
                </c:pt>
                <c:pt idx="1">
                  <c:v>0.061327073346612644</c:v>
                </c:pt>
                <c:pt idx="2">
                  <c:v>0.044129391294727385</c:v>
                </c:pt>
                <c:pt idx="3">
                  <c:v>0.040280471098734776</c:v>
                </c:pt>
                <c:pt idx="4">
                  <c:v>0.03641086770237225</c:v>
                </c:pt>
                <c:pt idx="5">
                  <c:v>0.03540391572775641</c:v>
                </c:pt>
                <c:pt idx="6">
                  <c:v>0.03431260904008106</c:v>
                </c:pt>
                <c:pt idx="7">
                  <c:v>0.0308813711913939</c:v>
                </c:pt>
                <c:pt idx="8">
                  <c:v>0.029251367092334866</c:v>
                </c:pt>
                <c:pt idx="9">
                  <c:v>0.028095897578248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ollinger 1846 Special Cuvée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Laurent-Perrier Blanc La Cuvée 1500ml (0.8%)</c:v>
                </c:pt>
                <c:pt idx="3">
                  <c:v>Champagne Pol Roger Brut 750ml (0.8%)</c:v>
                </c:pt>
                <c:pt idx="4">
                  <c:v>Champagne Ruinart Blanc de Blancs 750ml (2.0%)</c:v>
                </c:pt>
                <c:pt idx="5">
                  <c:v>Champagne Ruinart Brut (étui) 750ml (1.2%)</c:v>
                </c:pt>
                <c:pt idx="6">
                  <c:v>Champagne E.Nicolas Brut 750ml (11.6%)</c:v>
                </c:pt>
                <c:pt idx="7">
                  <c:v>Champagne Ruinart Brut (étui) 1500ml (0.7%)</c:v>
                </c:pt>
                <c:pt idx="8">
                  <c:v>Champagne Laurent-Perrier Blanc La Cuvée 750ml (2.7%)</c:v>
                </c:pt>
                <c:pt idx="9">
                  <c:v>Champagne Deutz Brut Classique 1500ml (0.6%)</c:v>
                </c:pt>
              </c:strCache>
            </c:strRef>
          </c:cat>
          <c:val>
            <c:numRef>
              <c:f>Sheet1!$B$2:$B$11</c:f>
              <c:numCache>
                <c:formatCode>General</c:formatCode>
                <c:ptCount val="10"/>
                <c:pt idx="0">
                  <c:v>0.09631624257453454</c:v>
                </c:pt>
                <c:pt idx="1">
                  <c:v>0.06033632083138395</c:v>
                </c:pt>
                <c:pt idx="2">
                  <c:v>0.04005202688022057</c:v>
                </c:pt>
                <c:pt idx="3">
                  <c:v>0.03777165587472098</c:v>
                </c:pt>
                <c:pt idx="4">
                  <c:v>0.03617482647592749</c:v>
                </c:pt>
                <c:pt idx="5">
                  <c:v>0.03615877987868709</c:v>
                </c:pt>
                <c:pt idx="6">
                  <c:v>0.036055419073982534</c:v>
                </c:pt>
                <c:pt idx="7">
                  <c:v>0.032579482992386014</c:v>
                </c:pt>
                <c:pt idx="8">
                  <c:v>0.030557323920391267</c:v>
                </c:pt>
                <c:pt idx="9">
                  <c:v>0.0285623561002270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Savian Extra Dry Bio 750ml (2.1%)</c:v>
                </c:pt>
                <c:pt idx="3">
                  <c:v>Champagne Heidsieck Monopole Silver Top 750ml (4.2%)</c:v>
                </c:pt>
                <c:pt idx="4">
                  <c:v>Prosecco Bottega 750ml (2.6%)</c:v>
                </c:pt>
                <c:pt idx="5">
                  <c:v>Crémant Saumur Bouvet Cuvée Saphir Brut 750ml (1.5%)</c:v>
                </c:pt>
                <c:pt idx="6">
                  <c:v>Champagne Malard Brut 1er Cru 750ml (4.1%)</c:v>
                </c:pt>
                <c:pt idx="7">
                  <c:v>Champagne Nicolas Feuillatte Réserve Exclusive Brut 750ml (3.0%)</c:v>
                </c:pt>
                <c:pt idx="8">
                  <c:v>Champagne Canard-Duchêne Blanc Cuvée Léonie Brut 750ml (2.6%)</c:v>
                </c:pt>
                <c:pt idx="9">
                  <c:v>Crémant d'Alsace Muré Prestige Bio 750ml (1.3%)</c:v>
                </c:pt>
              </c:strCache>
            </c:strRef>
          </c:cat>
          <c:val>
            <c:numRef>
              <c:f>Sheet1!$B$2:$B$11</c:f>
              <c:numCache>
                <c:formatCode>General</c:formatCode>
                <c:ptCount val="10"/>
                <c:pt idx="0">
                  <c:v>0.17305159621641064</c:v>
                </c:pt>
                <c:pt idx="1">
                  <c:v>0.12907015378975542</c:v>
                </c:pt>
                <c:pt idx="2">
                  <c:v>0.04981736380666442</c:v>
                </c:pt>
                <c:pt idx="3">
                  <c:v>0.04870678564307337</c:v>
                </c:pt>
                <c:pt idx="4">
                  <c:v>0.03864488967389683</c:v>
                </c:pt>
                <c:pt idx="5">
                  <c:v>0.033748354095612325</c:v>
                </c:pt>
                <c:pt idx="6">
                  <c:v>0.02847886094633199</c:v>
                </c:pt>
                <c:pt idx="7">
                  <c:v>0.024729402052677263</c:v>
                </c:pt>
                <c:pt idx="8">
                  <c:v>0.024500551430182683</c:v>
                </c:pt>
                <c:pt idx="9">
                  <c:v>0.0230259739967540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Saumur Bouvet Cuvée Saphir Brut 750ml (1.5%)</c:v>
                </c:pt>
                <c:pt idx="3">
                  <c:v>Prosecco Savian Extra Dry Bio 750ml (2.1%)</c:v>
                </c:pt>
                <c:pt idx="4">
                  <c:v>Prosecco Bottega 750ml (2.6%)</c:v>
                </c:pt>
                <c:pt idx="5">
                  <c:v>Champagne Heidsieck Monopole Silver Top 750ml (4.2%)</c:v>
                </c:pt>
                <c:pt idx="6">
                  <c:v>Crémant d'Alsace Muré Prestige Bio 750ml (1.3%)</c:v>
                </c:pt>
                <c:pt idx="7">
                  <c:v>Crémant de Bourgogne Patriarche Brut 750ml (1.8%)</c:v>
                </c:pt>
                <c:pt idx="8">
                  <c:v>Champagne Nicolas Feuillatte Réserve Exclusive Brut 750ml (3.0%)</c:v>
                </c:pt>
                <c:pt idx="9">
                  <c:v>Champagne Ruinart Brut 750ml (7.3%)</c:v>
                </c:pt>
              </c:strCache>
            </c:strRef>
          </c:cat>
          <c:val>
            <c:numRef>
              <c:f>Sheet1!$B$2:$B$11</c:f>
              <c:numCache>
                <c:formatCode>General</c:formatCode>
                <c:ptCount val="10"/>
                <c:pt idx="0">
                  <c:v>0.19199937530143682</c:v>
                </c:pt>
                <c:pt idx="1">
                  <c:v>0.10186414144714084</c:v>
                </c:pt>
                <c:pt idx="2">
                  <c:v>0.03915045713177222</c:v>
                </c:pt>
                <c:pt idx="3">
                  <c:v>0.03907933062158574</c:v>
                </c:pt>
                <c:pt idx="4">
                  <c:v>0.037560977114345265</c:v>
                </c:pt>
                <c:pt idx="5">
                  <c:v>0.035141409723407464</c:v>
                </c:pt>
                <c:pt idx="6">
                  <c:v>0.024871178994684363</c:v>
                </c:pt>
                <c:pt idx="7">
                  <c:v>0.02476529129033451</c:v>
                </c:pt>
                <c:pt idx="8">
                  <c:v>0.024523558000238158</c:v>
                </c:pt>
                <c:pt idx="9">
                  <c:v>0.0242604596766246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Nicolas Feuillatte Réserve Exclusive Brut 750ml (3.0%)</c:v>
                </c:pt>
                <c:pt idx="4">
                  <c:v>Champagne Vranken Demoiselle Tête de Cuvée 750ml (1.4%)</c:v>
                </c:pt>
                <c:pt idx="5">
                  <c:v>Champagne Ayala Brut Majeur 750ml (1.7%)</c:v>
                </c:pt>
                <c:pt idx="6">
                  <c:v>Champagne Château de Bligny 750ml (1.3%)</c:v>
                </c:pt>
                <c:pt idx="7">
                  <c:v>Prosecco Carlo V Cuvée Del Imperator 750ml (5.4%)</c:v>
                </c:pt>
                <c:pt idx="8">
                  <c:v>Champagne Ruinart Brut 750ml (7.3%)</c:v>
                </c:pt>
                <c:pt idx="9">
                  <c:v>Champagne Besserat de Bellefon Bleu Brut 750ml (1.7%)</c:v>
                </c:pt>
              </c:strCache>
            </c:strRef>
          </c:cat>
          <c:val>
            <c:numRef>
              <c:f>Sheet1!$B$2:$B$11</c:f>
              <c:numCache>
                <c:formatCode>General</c:formatCode>
                <c:ptCount val="10"/>
                <c:pt idx="0">
                  <c:v>0.14672492360422565</c:v>
                </c:pt>
                <c:pt idx="1">
                  <c:v>0.14244905923811876</c:v>
                </c:pt>
                <c:pt idx="2">
                  <c:v>0.12551356266920644</c:v>
                </c:pt>
                <c:pt idx="3">
                  <c:v>0.08177309505151514</c:v>
                </c:pt>
                <c:pt idx="4">
                  <c:v>0.03211099169268784</c:v>
                </c:pt>
                <c:pt idx="5">
                  <c:v>0.025370812770638244</c:v>
                </c:pt>
                <c:pt idx="6">
                  <c:v>0.024995653472807786</c:v>
                </c:pt>
                <c:pt idx="7">
                  <c:v>0.023373068819973784</c:v>
                </c:pt>
                <c:pt idx="8">
                  <c:v>0.02198820655747336</c:v>
                </c:pt>
                <c:pt idx="9">
                  <c:v>0.019564776122452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ttega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Patriarche (2.6%)</c:v>
                </c:pt>
                <c:pt idx="4">
                  <c:v>Muré (1.3%)</c:v>
                </c:pt>
                <c:pt idx="5">
                  <c:v>Les Grumes  (1.0%)</c:v>
                </c:pt>
                <c:pt idx="6">
                  <c:v>Bouvet Ladubay (1.5%)</c:v>
                </c:pt>
                <c:pt idx="7">
                  <c:v>Ruinart (12.8%)</c:v>
                </c:pt>
                <c:pt idx="8">
                  <c:v>Demoiselle (3.5%)</c:v>
                </c:pt>
                <c:pt idx="9">
                  <c:v>Malard (6.0%)</c:v>
                </c:pt>
              </c:strCache>
            </c:strRef>
          </c:cat>
          <c:val>
            <c:numRef>
              <c:f>Sheet1!$B$2:$B$11</c:f>
              <c:numCache>
                <c:formatCode>General</c:formatCode>
                <c:ptCount val="10"/>
                <c:pt idx="0">
                  <c:v>0.3187456438689804</c:v>
                </c:pt>
                <c:pt idx="1">
                  <c:v>0.15810447643001205</c:v>
                </c:pt>
                <c:pt idx="2">
                  <c:v>0.09330303624972233</c:v>
                </c:pt>
                <c:pt idx="3">
                  <c:v>0.040751984049537365</c:v>
                </c:pt>
                <c:pt idx="4">
                  <c:v>0.036422224097258885</c:v>
                </c:pt>
                <c:pt idx="5">
                  <c:v>0.029745544155854595</c:v>
                </c:pt>
                <c:pt idx="6">
                  <c:v>0.026715700393086215</c:v>
                </c:pt>
                <c:pt idx="7">
                  <c:v>0.02427777593804768</c:v>
                </c:pt>
                <c:pt idx="8">
                  <c:v>0.023146657642058668</c:v>
                </c:pt>
                <c:pt idx="9">
                  <c:v>0.0226184719214526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Nicolas Feuillatte Réserve Exclusive Brut 750ml (3.0%)</c:v>
                </c:pt>
                <c:pt idx="3">
                  <c:v>Champagne E.Nicolas Brut 750ml (11.6%)</c:v>
                </c:pt>
                <c:pt idx="4">
                  <c:v>Champagne Vranken Demoiselle Tête de Cuvée 750ml (1.4%)</c:v>
                </c:pt>
                <c:pt idx="5">
                  <c:v>Champagne Ayala Brut Majeur 750ml (1.7%)</c:v>
                </c:pt>
                <c:pt idx="6">
                  <c:v>Champagne Château de Bligny 750ml (1.3%)</c:v>
                </c:pt>
                <c:pt idx="7">
                  <c:v>Champagne Ruinart Brut 750ml (7.3%)</c:v>
                </c:pt>
                <c:pt idx="8">
                  <c:v>Champagne Besserat de Bellefon Bleu Brut 750ml (1.7%)</c:v>
                </c:pt>
                <c:pt idx="9">
                  <c:v>Champagne Deutz Brut Classique 750ml (3.4%)</c:v>
                </c:pt>
              </c:strCache>
            </c:strRef>
          </c:cat>
          <c:val>
            <c:numRef>
              <c:f>Sheet1!$B$2:$B$11</c:f>
              <c:numCache>
                <c:formatCode>General</c:formatCode>
                <c:ptCount val="10"/>
                <c:pt idx="0">
                  <c:v>0.17050235393564525</c:v>
                </c:pt>
                <c:pt idx="1">
                  <c:v>0.13078638778736607</c:v>
                </c:pt>
                <c:pt idx="2">
                  <c:v>0.0910875038895272</c:v>
                </c:pt>
                <c:pt idx="3">
                  <c:v>0.07606043971736656</c:v>
                </c:pt>
                <c:pt idx="4">
                  <c:v>0.041637744559194126</c:v>
                </c:pt>
                <c:pt idx="5">
                  <c:v>0.03268052017724765</c:v>
                </c:pt>
                <c:pt idx="6">
                  <c:v>0.028653790057525018</c:v>
                </c:pt>
                <c:pt idx="7">
                  <c:v>0.025297332271120097</c:v>
                </c:pt>
                <c:pt idx="8">
                  <c:v>0.02272736071901955</c:v>
                </c:pt>
                <c:pt idx="9">
                  <c:v>0.021980982270775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Canard-Duchêne Blanc Cuvée Léonie Brut 750ml (2.6%)</c:v>
                </c:pt>
                <c:pt idx="3">
                  <c:v>Champagne Heidsieck Monopole Silver Top 750ml (4.2%)</c:v>
                </c:pt>
                <c:pt idx="4">
                  <c:v>Champagne Malard Brut 1er Cru 750ml (4.1%)</c:v>
                </c:pt>
                <c:pt idx="5">
                  <c:v>Champagne Laurent-Perrier Blanc La Cuvée 750ml (2.7%)</c:v>
                </c:pt>
                <c:pt idx="6">
                  <c:v>Champagne Deutz Brut Classique 750ml (3.4%)</c:v>
                </c:pt>
                <c:pt idx="7">
                  <c:v>Champagne Nicolas Feuillatte Réserve Exclusive Brut 750ml (3.0%)</c:v>
                </c:pt>
                <c:pt idx="8">
                  <c:v>Champagne Taittinger Prestige Brut 750ml (1.6%)</c:v>
                </c:pt>
                <c:pt idx="9">
                  <c:v>Champagne Vranken Demoiselle Rosé Prestige 750ml (2.0%)</c:v>
                </c:pt>
              </c:strCache>
            </c:strRef>
          </c:cat>
          <c:val>
            <c:numRef>
              <c:f>Sheet1!$B$2:$B$11</c:f>
              <c:numCache>
                <c:formatCode>General</c:formatCode>
                <c:ptCount val="10"/>
                <c:pt idx="0">
                  <c:v>0.08060600813739327</c:v>
                </c:pt>
                <c:pt idx="1">
                  <c:v>0.07419163036579551</c:v>
                </c:pt>
                <c:pt idx="2">
                  <c:v>0.05686302847970909</c:v>
                </c:pt>
                <c:pt idx="3">
                  <c:v>0.04390228472660989</c:v>
                </c:pt>
                <c:pt idx="4">
                  <c:v>0.03478203837090094</c:v>
                </c:pt>
                <c:pt idx="5">
                  <c:v>0.034675664921987315</c:v>
                </c:pt>
                <c:pt idx="6">
                  <c:v>0.03218111338054771</c:v>
                </c:pt>
                <c:pt idx="7">
                  <c:v>0.030521250679584742</c:v>
                </c:pt>
                <c:pt idx="8">
                  <c:v>0.02912040207267248</c:v>
                </c:pt>
                <c:pt idx="9">
                  <c:v>0.02871195550466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Canard-Duchêne Blanc Cuvée Léonie Brut 750ml (2.6%)</c:v>
                </c:pt>
                <c:pt idx="3">
                  <c:v>Champagne Heidsieck Monopole Silver Top 750ml (4.2%)</c:v>
                </c:pt>
                <c:pt idx="4">
                  <c:v>Champagne Laurent-Perrier Blanc La Cuvée 750ml (2.7%)</c:v>
                </c:pt>
                <c:pt idx="5">
                  <c:v>Champagne Malard Brut 1er Cru 750ml (4.1%)</c:v>
                </c:pt>
                <c:pt idx="6">
                  <c:v>Champagne Deutz Brut Classique 750ml (3.4%)</c:v>
                </c:pt>
                <c:pt idx="7">
                  <c:v>Champagne Taittinger Prestige Brut 750ml (1.6%)</c:v>
                </c:pt>
                <c:pt idx="8">
                  <c:v>Champagne Nicolas Feuillatte Réserve Exclusive Brut 750ml (3.0%)</c:v>
                </c:pt>
                <c:pt idx="9">
                  <c:v>Champagne Vranken Demoiselle Rosé Prestige 750ml (2.0%)</c:v>
                </c:pt>
              </c:strCache>
            </c:strRef>
          </c:cat>
          <c:val>
            <c:numRef>
              <c:f>Sheet1!$B$2:$B$11</c:f>
              <c:numCache>
                <c:formatCode>General</c:formatCode>
                <c:ptCount val="10"/>
                <c:pt idx="0">
                  <c:v>0.09860240017420749</c:v>
                </c:pt>
                <c:pt idx="1">
                  <c:v>0.07624040745853529</c:v>
                </c:pt>
                <c:pt idx="2">
                  <c:v>0.06477288061454822</c:v>
                </c:pt>
                <c:pt idx="3">
                  <c:v>0.03281603520948703</c:v>
                </c:pt>
                <c:pt idx="4">
                  <c:v>0.032467988099518286</c:v>
                </c:pt>
                <c:pt idx="5">
                  <c:v>0.031881666773402616</c:v>
                </c:pt>
                <c:pt idx="6">
                  <c:v>0.03148280911523488</c:v>
                </c:pt>
                <c:pt idx="7">
                  <c:v>0.028321363173944188</c:v>
                </c:pt>
                <c:pt idx="8">
                  <c:v>0.028099529404230862</c:v>
                </c:pt>
                <c:pt idx="9">
                  <c:v>0.0240089532567205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Ruinart Brut 750ml (7.3%)</c:v>
                </c:pt>
                <c:pt idx="2">
                  <c:v>Champagne E.Nicolas Brut 750ml (11.6%)</c:v>
                </c:pt>
                <c:pt idx="3">
                  <c:v>Champagne Malard Brut 1er Cru 750ml (4.1%)</c:v>
                </c:pt>
                <c:pt idx="4">
                  <c:v>Champagne Heidsieck Monopole Silver Top 750ml (4.2%)</c:v>
                </c:pt>
                <c:pt idx="5">
                  <c:v>Champagne Deutz Brut Classique 750ml (3.4%)</c:v>
                </c:pt>
                <c:pt idx="6">
                  <c:v>Champagne Nicolas Feuillatte Réserve Exclusive Brut 750ml (3.0%)</c:v>
                </c:pt>
                <c:pt idx="7">
                  <c:v>Champagne Laurent-Perrier Blanc La Cuvée 750ml (2.7%)</c:v>
                </c:pt>
                <c:pt idx="8">
                  <c:v>Champagne Taittinger Prestige Brut 750ml (1.6%)</c:v>
                </c:pt>
                <c:pt idx="9">
                  <c:v>Champagne Vranken Demoiselle Tête de Cuvée 750ml (1.4%)</c:v>
                </c:pt>
              </c:strCache>
            </c:strRef>
          </c:cat>
          <c:val>
            <c:numRef>
              <c:f>Sheet1!$B$2:$B$11</c:f>
              <c:numCache>
                <c:formatCode>General</c:formatCode>
                <c:ptCount val="10"/>
                <c:pt idx="0">
                  <c:v>0.11940838316500031</c:v>
                </c:pt>
                <c:pt idx="1">
                  <c:v>0.07663354296950758</c:v>
                </c:pt>
                <c:pt idx="2">
                  <c:v>0.0629620636783891</c:v>
                </c:pt>
                <c:pt idx="3">
                  <c:v>0.04937551147256014</c:v>
                </c:pt>
                <c:pt idx="4">
                  <c:v>0.04359634403043162</c:v>
                </c:pt>
                <c:pt idx="5">
                  <c:v>0.04144891460520251</c:v>
                </c:pt>
                <c:pt idx="6">
                  <c:v>0.040374800172870186</c:v>
                </c:pt>
                <c:pt idx="7">
                  <c:v>0.030468942772148285</c:v>
                </c:pt>
                <c:pt idx="8">
                  <c:v>0.029746427756218566</c:v>
                </c:pt>
                <c:pt idx="9">
                  <c:v>0.0283588934676463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E.Nicolas Brut 750ml (11.6%)</c:v>
                </c:pt>
                <c:pt idx="2">
                  <c:v>Champagne Ruinart Brut 750ml (7.3%)</c:v>
                </c:pt>
                <c:pt idx="3">
                  <c:v>Champagne Malard Brut 1er Cru 750ml (4.1%)</c:v>
                </c:pt>
                <c:pt idx="4">
                  <c:v>Champagne Nicolas Feuillatte Réserve Exclusive Brut 750ml (3.0%)</c:v>
                </c:pt>
                <c:pt idx="5">
                  <c:v>Champagne Heidsieck Monopole Silver Top 750ml (4.2%)</c:v>
                </c:pt>
                <c:pt idx="6">
                  <c:v>Champagne Deutz Brut Classique 750ml (3.4%)</c:v>
                </c:pt>
                <c:pt idx="7">
                  <c:v>Prosecco Bottega 750ml (2.6%)</c:v>
                </c:pt>
                <c:pt idx="8">
                  <c:v>Champagne Laurent-Perrier Blanc La Cuvée 750ml (2.7%)</c:v>
                </c:pt>
                <c:pt idx="9">
                  <c:v>Champagne Taittinger Prestige Brut 750ml (1.6%)</c:v>
                </c:pt>
              </c:strCache>
            </c:strRef>
          </c:cat>
          <c:val>
            <c:numRef>
              <c:f>Sheet1!$B$2:$B$11</c:f>
              <c:numCache>
                <c:formatCode>General</c:formatCode>
                <c:ptCount val="10"/>
                <c:pt idx="0">
                  <c:v>0.13509596001987867</c:v>
                </c:pt>
                <c:pt idx="1">
                  <c:v>0.0912763094882856</c:v>
                </c:pt>
                <c:pt idx="2">
                  <c:v>0.06329465768556314</c:v>
                </c:pt>
                <c:pt idx="3">
                  <c:v>0.05234832926434384</c:v>
                </c:pt>
                <c:pt idx="4">
                  <c:v>0.039621039020374324</c:v>
                </c:pt>
                <c:pt idx="5">
                  <c:v>0.03453186753185472</c:v>
                </c:pt>
                <c:pt idx="6">
                  <c:v>0.030282390666694265</c:v>
                </c:pt>
                <c:pt idx="7">
                  <c:v>0.028828659154699465</c:v>
                </c:pt>
                <c:pt idx="8">
                  <c:v>0.027046625476430306</c:v>
                </c:pt>
                <c:pt idx="9">
                  <c:v>0.0252702219477125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Ruinart Brut 750ml (7.3%)</c:v>
                </c:pt>
                <c:pt idx="2">
                  <c:v>Champagne Canard-Duchêne Blanc Cuvée Léonie Brut 750ml (2.6%)</c:v>
                </c:pt>
                <c:pt idx="3">
                  <c:v>Champagne Malard Brut 1er Cru 750ml (4.1%)</c:v>
                </c:pt>
                <c:pt idx="4">
                  <c:v>Champagne Nicolas Feuillatte Réserve Exclusive Brut 750ml (3.0%)</c:v>
                </c:pt>
                <c:pt idx="5">
                  <c:v>Champagne Deutz Brut Classique 750ml (3.4%)</c:v>
                </c:pt>
                <c:pt idx="6">
                  <c:v>Champagne Heidsieck Monopole Silver Top 750ml (4.2%)</c:v>
                </c:pt>
                <c:pt idx="7">
                  <c:v>Champagne Laurent-Perrier Blanc La Cuvée 750ml (2.7%)</c:v>
                </c:pt>
                <c:pt idx="8">
                  <c:v>Champagne Vranken Demoiselle Rosé Prestige 750ml (2.0%)</c:v>
                </c:pt>
                <c:pt idx="9">
                  <c:v>Champagne Ruinart Brut (étui) 750ml (1.2%)</c:v>
                </c:pt>
              </c:strCache>
            </c:strRef>
          </c:cat>
          <c:val>
            <c:numRef>
              <c:f>Sheet1!$B$2:$B$11</c:f>
              <c:numCache>
                <c:formatCode>General</c:formatCode>
                <c:ptCount val="10"/>
                <c:pt idx="0">
                  <c:v>0.111638096743325</c:v>
                </c:pt>
                <c:pt idx="1">
                  <c:v>0.10652293452550225</c:v>
                </c:pt>
                <c:pt idx="2">
                  <c:v>0.09183900766835094</c:v>
                </c:pt>
                <c:pt idx="3">
                  <c:v>0.05897056853874022</c:v>
                </c:pt>
                <c:pt idx="4">
                  <c:v>0.04302191806517738</c:v>
                </c:pt>
                <c:pt idx="5">
                  <c:v>0.030821198150964447</c:v>
                </c:pt>
                <c:pt idx="6">
                  <c:v>0.028586440119588986</c:v>
                </c:pt>
                <c:pt idx="7">
                  <c:v>0.025645257780874897</c:v>
                </c:pt>
                <c:pt idx="8">
                  <c:v>0.025516845973785392</c:v>
                </c:pt>
                <c:pt idx="9">
                  <c:v>0.02520526535837812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Canard-Duchêne Blanc Cuvée Léonie Brut 750ml (2.6%)</c:v>
                </c:pt>
                <c:pt idx="2">
                  <c:v>Champagne Ruinart Brut 750ml (7.3%)</c:v>
                </c:pt>
                <c:pt idx="3">
                  <c:v>Champagne Malard Brut 1er Cru 750ml (4.1%)</c:v>
                </c:pt>
                <c:pt idx="4">
                  <c:v>Champagne Nicolas Feuillatte Réserve Exclusive Brut 750ml (3.0%)</c:v>
                </c:pt>
                <c:pt idx="5">
                  <c:v>Champagne Deutz Brut Classique 750ml (3.4%)</c:v>
                </c:pt>
                <c:pt idx="6">
                  <c:v>Champagne Heidsieck Monopole Silver Top 750ml (4.2%)</c:v>
                </c:pt>
                <c:pt idx="7">
                  <c:v>Champagne Taittinger Prestige Brut 750ml (1.6%)</c:v>
                </c:pt>
                <c:pt idx="8">
                  <c:v>Champagne Laurent-Perrier Blanc La Cuvée 750ml (2.7%)</c:v>
                </c:pt>
                <c:pt idx="9">
                  <c:v>Champagne Vranken Demoiselle Rosé Prestige 750ml (2.0%)</c:v>
                </c:pt>
              </c:strCache>
            </c:strRef>
          </c:cat>
          <c:val>
            <c:numRef>
              <c:f>Sheet1!$B$2:$B$11</c:f>
              <c:numCache>
                <c:formatCode>General</c:formatCode>
                <c:ptCount val="10"/>
                <c:pt idx="0">
                  <c:v>0.11585435711582859</c:v>
                </c:pt>
                <c:pt idx="1">
                  <c:v>0.09359861381271281</c:v>
                </c:pt>
                <c:pt idx="2">
                  <c:v>0.08110532621296256</c:v>
                </c:pt>
                <c:pt idx="3">
                  <c:v>0.05298421320620721</c:v>
                </c:pt>
                <c:pt idx="4">
                  <c:v>0.036806634096004216</c:v>
                </c:pt>
                <c:pt idx="5">
                  <c:v>0.03447059090710767</c:v>
                </c:pt>
                <c:pt idx="6">
                  <c:v>0.02990786719341975</c:v>
                </c:pt>
                <c:pt idx="7">
                  <c:v>0.02480424000146158</c:v>
                </c:pt>
                <c:pt idx="8">
                  <c:v>0.024369944117690466</c:v>
                </c:pt>
                <c:pt idx="9">
                  <c:v>0.0224367935150414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llier Blanc Série R.021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Canard-Duchêne Blanc Cuvée Léonie Brut 750ml (2.6%)</c:v>
                </c:pt>
                <c:pt idx="4">
                  <c:v>Champagne Ayala Brut Majeur 750ml (1.7%)</c:v>
                </c:pt>
                <c:pt idx="5">
                  <c:v>Champagne Besserat de Bellefon Bleu Brut 750ml (1.7%)</c:v>
                </c:pt>
                <c:pt idx="6">
                  <c:v>Champagne Nicolas Feuillatte Réserve Exclusive Brut 750ml (3.0%)</c:v>
                </c:pt>
                <c:pt idx="7">
                  <c:v>Champagne Georges Vesselle Grand Cru Brut 750ml (1.0%)</c:v>
                </c:pt>
                <c:pt idx="8">
                  <c:v>Champagne Château de Bligny 750ml (1.3%)</c:v>
                </c:pt>
                <c:pt idx="9">
                  <c:v>Champagne Vranken Demoiselle Tête de Cuvée 750ml (1.4%)</c:v>
                </c:pt>
              </c:strCache>
            </c:strRef>
          </c:cat>
          <c:val>
            <c:numRef>
              <c:f>Sheet1!$B$2:$B$11</c:f>
              <c:numCache>
                <c:formatCode>General</c:formatCode>
                <c:ptCount val="10"/>
                <c:pt idx="0">
                  <c:v>0.14948863421932784</c:v>
                </c:pt>
                <c:pt idx="1">
                  <c:v>0.10891526425080075</c:v>
                </c:pt>
                <c:pt idx="2">
                  <c:v>0.07677711552398554</c:v>
                </c:pt>
                <c:pt idx="3">
                  <c:v>0.06282504762822973</c:v>
                </c:pt>
                <c:pt idx="4">
                  <c:v>0.055219090432042976</c:v>
                </c:pt>
                <c:pt idx="5">
                  <c:v>0.05348247401339676</c:v>
                </c:pt>
                <c:pt idx="6">
                  <c:v>0.03422140067223617</c:v>
                </c:pt>
                <c:pt idx="7">
                  <c:v>0.03006128032417382</c:v>
                </c:pt>
                <c:pt idx="8">
                  <c:v>0.027709516475357483</c:v>
                </c:pt>
                <c:pt idx="9">
                  <c:v>0.0245995906305295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llier Blanc Série R.021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Besserat de Bellefon Bleu Brut 750ml (1.7%)</c:v>
                </c:pt>
                <c:pt idx="4">
                  <c:v>Champagne Ayala Brut Majeur 750ml (1.7%)</c:v>
                </c:pt>
                <c:pt idx="5">
                  <c:v>Champagne Canard-Duchêne Blanc Cuvée Léonie Brut 750ml (2.6%)</c:v>
                </c:pt>
                <c:pt idx="6">
                  <c:v>Champagne Laurent-Perrier Blanc La Cuvée 750ml (2.7%)</c:v>
                </c:pt>
                <c:pt idx="7">
                  <c:v>Champagne Nicolas Feuillatte Réserve Exclusive Brut 750ml (3.0%)</c:v>
                </c:pt>
                <c:pt idx="8">
                  <c:v>Champagne Deutz Brut Classique 750ml (3.4%)</c:v>
                </c:pt>
                <c:pt idx="9">
                  <c:v>Champagne Château de Bligny 750ml (1.3%)</c:v>
                </c:pt>
              </c:strCache>
            </c:strRef>
          </c:cat>
          <c:val>
            <c:numRef>
              <c:f>Sheet1!$B$2:$B$11</c:f>
              <c:numCache>
                <c:formatCode>General</c:formatCode>
                <c:ptCount val="10"/>
                <c:pt idx="0">
                  <c:v>0.1013649854207149</c:v>
                </c:pt>
                <c:pt idx="1">
                  <c:v>0.07196361017895715</c:v>
                </c:pt>
                <c:pt idx="2">
                  <c:v>0.07004001486003854</c:v>
                </c:pt>
                <c:pt idx="3">
                  <c:v>0.054707038041500906</c:v>
                </c:pt>
                <c:pt idx="4">
                  <c:v>0.04749976988674422</c:v>
                </c:pt>
                <c:pt idx="5">
                  <c:v>0.04566140679323359</c:v>
                </c:pt>
                <c:pt idx="6">
                  <c:v>0.03727110178559139</c:v>
                </c:pt>
                <c:pt idx="7">
                  <c:v>0.03219357534675396</c:v>
                </c:pt>
                <c:pt idx="8">
                  <c:v>0.031194009174983</c:v>
                </c:pt>
                <c:pt idx="9">
                  <c:v>0.0294879782041341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Malard Brut 1er Cru 750ml (4.1%)</c:v>
                </c:pt>
                <c:pt idx="3">
                  <c:v>Prosecco Carlo V Cuvée Del Imperator 750ml (5.4%)</c:v>
                </c:pt>
                <c:pt idx="4">
                  <c:v>Prosecco Bottega 750ml (2.6%)</c:v>
                </c:pt>
                <c:pt idx="5">
                  <c:v>Champagne Besserat de Bellefon Bleu Brut 750ml (1.7%)</c:v>
                </c:pt>
                <c:pt idx="6">
                  <c:v>Champagne Canard-Duchêne Blanc Cuvée Léonie Brut 750ml (2.6%)</c:v>
                </c:pt>
                <c:pt idx="7">
                  <c:v>Champagne Canard-Duchêne Blanc Cuvée Léonie Brut 375ml (0.3%)</c:v>
                </c:pt>
                <c:pt idx="8">
                  <c:v>Champagne Château de Bligny 750ml (1.3%)</c:v>
                </c:pt>
                <c:pt idx="9">
                  <c:v>Prosecco Savian Extra Dry Bio 750ml (2.1%)</c:v>
                </c:pt>
              </c:strCache>
            </c:strRef>
          </c:cat>
          <c:val>
            <c:numRef>
              <c:f>Sheet1!$B$2:$B$11</c:f>
              <c:numCache>
                <c:formatCode>General</c:formatCode>
                <c:ptCount val="10"/>
                <c:pt idx="0">
                  <c:v>0.3025890658522154</c:v>
                </c:pt>
                <c:pt idx="1">
                  <c:v>0.06603813272401697</c:v>
                </c:pt>
                <c:pt idx="2">
                  <c:v>0.06234103872826448</c:v>
                </c:pt>
                <c:pt idx="3">
                  <c:v>0.05766678373640049</c:v>
                </c:pt>
                <c:pt idx="4">
                  <c:v>0.03159765329732342</c:v>
                </c:pt>
                <c:pt idx="5">
                  <c:v>0.02722811803885852</c:v>
                </c:pt>
                <c:pt idx="6">
                  <c:v>0.024872397044255243</c:v>
                </c:pt>
                <c:pt idx="7">
                  <c:v>0.021849610251038022</c:v>
                </c:pt>
                <c:pt idx="8">
                  <c:v>0.02055675638551735</c:v>
                </c:pt>
                <c:pt idx="9">
                  <c:v>0.0195478884442686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uvet Ladubay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Bottega (3.7%)</c:v>
                </c:pt>
                <c:pt idx="4">
                  <c:v>Patriarche (2.6%)</c:v>
                </c:pt>
                <c:pt idx="5">
                  <c:v>Les Grumes  (1.0%)</c:v>
                </c:pt>
                <c:pt idx="6">
                  <c:v>Muré (1.3%)</c:v>
                </c:pt>
                <c:pt idx="7">
                  <c:v>Château Moncontour  (1.5%)</c:v>
                </c:pt>
                <c:pt idx="8">
                  <c:v>Malard (6.0%)</c:v>
                </c:pt>
                <c:pt idx="9">
                  <c:v>Dea Augusta (0.5%)</c:v>
                </c:pt>
              </c:strCache>
            </c:strRef>
          </c:cat>
          <c:val>
            <c:numRef>
              <c:f>Sheet1!$B$2:$B$11</c:f>
              <c:numCache>
                <c:formatCode>General</c:formatCode>
                <c:ptCount val="10"/>
                <c:pt idx="0">
                  <c:v>0.22124575293110788</c:v>
                </c:pt>
                <c:pt idx="1">
                  <c:v>0.12987042288957595</c:v>
                </c:pt>
                <c:pt idx="2">
                  <c:v>0.08234897016727494</c:v>
                </c:pt>
                <c:pt idx="3">
                  <c:v>0.07171452841190433</c:v>
                </c:pt>
                <c:pt idx="4">
                  <c:v>0.06986552018088409</c:v>
                </c:pt>
                <c:pt idx="5">
                  <c:v>0.05772512050554434</c:v>
                </c:pt>
                <c:pt idx="6">
                  <c:v>0.03536809425971161</c:v>
                </c:pt>
                <c:pt idx="7">
                  <c:v>0.033563497918672296</c:v>
                </c:pt>
                <c:pt idx="8">
                  <c:v>0.029980486052822792</c:v>
                </c:pt>
                <c:pt idx="9">
                  <c:v>0.028368339542027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Prosecco Carlo V Cuvée Del Imperator 750ml (5.4%)</c:v>
                </c:pt>
                <c:pt idx="4">
                  <c:v>Champagne Canard-Duchêne Blanc Cuvée Léonie Brut 750ml (2.6%)</c:v>
                </c:pt>
                <c:pt idx="5">
                  <c:v>Champagne Besserat de Bellefon Bleu Brut 750ml (1.7%)</c:v>
                </c:pt>
                <c:pt idx="6">
                  <c:v>Prosecco Bottega 750ml (2.6%)</c:v>
                </c:pt>
                <c:pt idx="7">
                  <c:v>Champagne Château de Bligny 750ml (1.3%)</c:v>
                </c:pt>
                <c:pt idx="8">
                  <c:v>Champagne Nicolas Feuillatte Réserve Exclusive Brut 750ml (3.0%)</c:v>
                </c:pt>
                <c:pt idx="9">
                  <c:v>Champagne Georges Vesselle Grand Cru Brut 750ml (1.0%)</c:v>
                </c:pt>
              </c:strCache>
            </c:strRef>
          </c:cat>
          <c:val>
            <c:numRef>
              <c:f>Sheet1!$B$2:$B$11</c:f>
              <c:numCache>
                <c:formatCode>General</c:formatCode>
                <c:ptCount val="10"/>
                <c:pt idx="0">
                  <c:v>0.24144060313152402</c:v>
                </c:pt>
                <c:pt idx="1">
                  <c:v>0.08125524680037491</c:v>
                </c:pt>
                <c:pt idx="2">
                  <c:v>0.0779088460630132</c:v>
                </c:pt>
                <c:pt idx="3">
                  <c:v>0.04485900726898425</c:v>
                </c:pt>
                <c:pt idx="4">
                  <c:v>0.02963428776724382</c:v>
                </c:pt>
                <c:pt idx="5">
                  <c:v>0.02840287217454464</c:v>
                </c:pt>
                <c:pt idx="6">
                  <c:v>0.025446997447880433</c:v>
                </c:pt>
                <c:pt idx="7">
                  <c:v>0.023553998771059882</c:v>
                </c:pt>
                <c:pt idx="8">
                  <c:v>0.023449686020095454</c:v>
                </c:pt>
                <c:pt idx="9">
                  <c:v>0.01838078536343164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750ml (3.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Ayala Brut Majeur 750ml (1.7%)</c:v>
                </c:pt>
                <c:pt idx="1">
                  <c:v>Champagne Taittinger Prestige Brut 750ml (1.6%)</c:v>
                </c:pt>
                <c:pt idx="2">
                  <c:v>Champagne Laurent-Perrier Blanc La Cuvée 750ml (2.7%)</c:v>
                </c:pt>
                <c:pt idx="3">
                  <c:v>Champagne Heidsieck Monopole Silver Top 750ml (4.2%)</c:v>
                </c:pt>
                <c:pt idx="4">
                  <c:v>Champagne Ruinart Brut 750ml (7.3%)</c:v>
                </c:pt>
                <c:pt idx="5">
                  <c:v>Champagne Besserat de Bellefon Bleu Brut 750ml (1.7%)</c:v>
                </c:pt>
                <c:pt idx="6">
                  <c:v>Champagne Malard Brut 1er Cru 750ml (4.1%)</c:v>
                </c:pt>
                <c:pt idx="7">
                  <c:v>Champagne Veuve Clicquot Réserve Cuvée 750ml (1.7%)</c:v>
                </c:pt>
                <c:pt idx="8">
                  <c:v>Champagne E.Nicolas Brut 750ml (11.6%)</c:v>
                </c:pt>
                <c:pt idx="9">
                  <c:v>Champagne Nicolas Feuillatte Réserve Exclusive Brut 750ml (3.0%)</c:v>
                </c:pt>
              </c:strCache>
            </c:strRef>
          </c:cat>
          <c:val>
            <c:numRef>
              <c:f>Sheet1!$B$2:$B$11</c:f>
              <c:numCache>
                <c:formatCode>General</c:formatCode>
                <c:ptCount val="10"/>
                <c:pt idx="0">
                  <c:v>0.07417660725229018</c:v>
                </c:pt>
                <c:pt idx="1">
                  <c:v>0.07042461199047213</c:v>
                </c:pt>
                <c:pt idx="2">
                  <c:v>0.05743217485362508</c:v>
                </c:pt>
                <c:pt idx="3">
                  <c:v>0.05540740670553494</c:v>
                </c:pt>
                <c:pt idx="4">
                  <c:v>0.05462919190473724</c:v>
                </c:pt>
                <c:pt idx="5">
                  <c:v>0.05121731605668825</c:v>
                </c:pt>
                <c:pt idx="6">
                  <c:v>0.04418076297555521</c:v>
                </c:pt>
                <c:pt idx="7">
                  <c:v>0.03749176020902079</c:v>
                </c:pt>
                <c:pt idx="8">
                  <c:v>0.03701016405766254</c:v>
                </c:pt>
                <c:pt idx="9">
                  <c:v>0.033239841500044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750ml (3.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Taittinger Prestige Brut 750ml (1.6%)</c:v>
                </c:pt>
                <c:pt idx="1">
                  <c:v>Champagne Ayala Brut Majeur 750ml (1.7%)</c:v>
                </c:pt>
                <c:pt idx="2">
                  <c:v>Champagne Ruinart Brut 750ml (7.3%)</c:v>
                </c:pt>
                <c:pt idx="3">
                  <c:v>Champagne Laurent-Perrier Blanc La Cuvée 750ml (2.7%)</c:v>
                </c:pt>
                <c:pt idx="4">
                  <c:v>Champagne Veuve Clicquot Réserve Cuvée 750ml (1.7%)</c:v>
                </c:pt>
                <c:pt idx="5">
                  <c:v>Champagne Perrier-Jouët Blanc Grand Brut 750ml (0.9%)</c:v>
                </c:pt>
                <c:pt idx="6">
                  <c:v>Champagne Moët &amp; Chandon Réserve Impériale 750ml (1.1%)</c:v>
                </c:pt>
                <c:pt idx="7">
                  <c:v>Champagne Besserat de Bellefon Bleu Brut 750ml (1.7%)</c:v>
                </c:pt>
                <c:pt idx="8">
                  <c:v>Champagne Heidsieck Monopole Silver Top 750ml (4.2%)</c:v>
                </c:pt>
                <c:pt idx="9">
                  <c:v>Champagne Bollinger Special Cuvée Brut 750ml (1.2%)</c:v>
                </c:pt>
              </c:strCache>
            </c:strRef>
          </c:cat>
          <c:val>
            <c:numRef>
              <c:f>Sheet1!$B$2:$B$11</c:f>
              <c:numCache>
                <c:formatCode>General</c:formatCode>
                <c:ptCount val="10"/>
                <c:pt idx="0">
                  <c:v>0.13265609294338757</c:v>
                </c:pt>
                <c:pt idx="1">
                  <c:v>0.11687018431358494</c:v>
                </c:pt>
                <c:pt idx="2">
                  <c:v>0.09987935757660922</c:v>
                </c:pt>
                <c:pt idx="3">
                  <c:v>0.05176297228598657</c:v>
                </c:pt>
                <c:pt idx="4">
                  <c:v>0.049947243697904015</c:v>
                </c:pt>
                <c:pt idx="5">
                  <c:v>0.04030066677242859</c:v>
                </c:pt>
                <c:pt idx="6">
                  <c:v>0.03559957485396064</c:v>
                </c:pt>
                <c:pt idx="7">
                  <c:v>0.031129965807426052</c:v>
                </c:pt>
                <c:pt idx="8">
                  <c:v>0.030751506453990163</c:v>
                </c:pt>
                <c:pt idx="9">
                  <c:v>0.0290800601389162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150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Ruinart Brut (étui) 750ml (1.2%)</c:v>
                </c:pt>
                <c:pt idx="4">
                  <c:v>Champagne Ruinart Blanc de Blancs 750ml (2.0%)</c:v>
                </c:pt>
                <c:pt idx="5">
                  <c:v>Champagne Vranken Demoiselle Rosé Prestige 750ml (2.0%)</c:v>
                </c:pt>
                <c:pt idx="6">
                  <c:v>Champagne Laurent-Perrier Blanc La Cuvée 750ml (2.7%)</c:v>
                </c:pt>
                <c:pt idx="7">
                  <c:v>Champagne Bollinger Special Cuvée Brut 750ml (1.2%)</c:v>
                </c:pt>
                <c:pt idx="8">
                  <c:v>Champagne Nicolas Feuillatte Réserve Exclusive Brut 750ml (3.0%)</c:v>
                </c:pt>
                <c:pt idx="9">
                  <c:v>Champagne Malard Brut 1er Cru 750ml (4.1%)</c:v>
                </c:pt>
              </c:strCache>
            </c:strRef>
          </c:cat>
          <c:val>
            <c:numRef>
              <c:f>Sheet1!$B$2:$B$11</c:f>
              <c:numCache>
                <c:formatCode>General</c:formatCode>
                <c:ptCount val="10"/>
                <c:pt idx="0">
                  <c:v>0.12267250172189983</c:v>
                </c:pt>
                <c:pt idx="1">
                  <c:v>0.059535441456521065</c:v>
                </c:pt>
                <c:pt idx="2">
                  <c:v>0.046491766570734054</c:v>
                </c:pt>
                <c:pt idx="3">
                  <c:v>0.03557330611793529</c:v>
                </c:pt>
                <c:pt idx="4">
                  <c:v>0.03535989291138976</c:v>
                </c:pt>
                <c:pt idx="5">
                  <c:v>0.03383814340610556</c:v>
                </c:pt>
                <c:pt idx="6">
                  <c:v>0.029504989266913802</c:v>
                </c:pt>
                <c:pt idx="7">
                  <c:v>0.026272299178610434</c:v>
                </c:pt>
                <c:pt idx="8">
                  <c:v>0.023700416017084218</c:v>
                </c:pt>
                <c:pt idx="9">
                  <c:v>0.0226696083842915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150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Ruinart Blanc de Blancs 750ml (2.0%)</c:v>
                </c:pt>
                <c:pt idx="4">
                  <c:v>Champagne Ruinart Brut (étui) 750ml (1.2%)</c:v>
                </c:pt>
                <c:pt idx="5">
                  <c:v>Champagne Ruinart Blanc de Blancs (étui) 750ml (0.8%)</c:v>
                </c:pt>
                <c:pt idx="6">
                  <c:v>Champagne Ruinart Brut (étui) 1500ml (0.7%)</c:v>
                </c:pt>
                <c:pt idx="7">
                  <c:v>Champagne Laurent-Perrier Blanc La Cuvée 1500ml (0.8%)</c:v>
                </c:pt>
                <c:pt idx="8">
                  <c:v>Champagne Vranken Demoiselle Rosé Prestige 750ml (2.0%)</c:v>
                </c:pt>
                <c:pt idx="9">
                  <c:v>Champagne Laurent-Perrier Blanc La Cuvée 750ml (2.7%)</c:v>
                </c:pt>
              </c:strCache>
            </c:strRef>
          </c:cat>
          <c:val>
            <c:numRef>
              <c:f>Sheet1!$B$2:$B$11</c:f>
              <c:numCache>
                <c:formatCode>General</c:formatCode>
                <c:ptCount val="10"/>
                <c:pt idx="0">
                  <c:v>0.0909908547339889</c:v>
                </c:pt>
                <c:pt idx="1">
                  <c:v>0.05251994803038561</c:v>
                </c:pt>
                <c:pt idx="2">
                  <c:v>0.0522959996306187</c:v>
                </c:pt>
                <c:pt idx="3">
                  <c:v>0.04227728057023075</c:v>
                </c:pt>
                <c:pt idx="4">
                  <c:v>0.03427828548620103</c:v>
                </c:pt>
                <c:pt idx="5">
                  <c:v>0.03379532736094011</c:v>
                </c:pt>
                <c:pt idx="6">
                  <c:v>0.031005072097778648</c:v>
                </c:pt>
                <c:pt idx="7">
                  <c:v>0.02966957953944183</c:v>
                </c:pt>
                <c:pt idx="8">
                  <c:v>0.029298531890026812</c:v>
                </c:pt>
                <c:pt idx="9">
                  <c:v>0.0278023860851465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Bollinger Special Cuvée Brut 750ml (1.2%)</c:v>
                </c:pt>
                <c:pt idx="6">
                  <c:v>Champagne Laurent-Perrier Blanc La Cuvée 750ml (2.7%)</c:v>
                </c:pt>
                <c:pt idx="7">
                  <c:v>Champagne Perrier-Jouët Blanc Grand Brut 750ml (0.9%)</c:v>
                </c:pt>
                <c:pt idx="8">
                  <c:v>Champagne E.Nicolas Brut 750ml (11.6%)</c:v>
                </c:pt>
                <c:pt idx="9">
                  <c:v>Champagne Malard Brut 1er Cru 750ml (4.1%)</c:v>
                </c:pt>
              </c:strCache>
            </c:strRef>
          </c:cat>
          <c:val>
            <c:numRef>
              <c:f>Sheet1!$B$2:$B$11</c:f>
              <c:numCache>
                <c:formatCode>General</c:formatCode>
                <c:ptCount val="10"/>
                <c:pt idx="0">
                  <c:v>0.15599662332320036</c:v>
                </c:pt>
                <c:pt idx="1">
                  <c:v>0.11050969752582082</c:v>
                </c:pt>
                <c:pt idx="2">
                  <c:v>0.061132383865586185</c:v>
                </c:pt>
                <c:pt idx="3">
                  <c:v>0.04463176626717165</c:v>
                </c:pt>
                <c:pt idx="4">
                  <c:v>0.04255241828490865</c:v>
                </c:pt>
                <c:pt idx="5">
                  <c:v>0.03512308103606367</c:v>
                </c:pt>
                <c:pt idx="6">
                  <c:v>0.03200236920941906</c:v>
                </c:pt>
                <c:pt idx="7">
                  <c:v>0.030202230346004166</c:v>
                </c:pt>
                <c:pt idx="8">
                  <c:v>0.029225829722058044</c:v>
                </c:pt>
                <c:pt idx="9">
                  <c:v>0.027356892596964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E.Nicolas Brut 750ml (11.6%)</c:v>
                </c:pt>
                <c:pt idx="4">
                  <c:v>Champagne Malard Brut 1er Cru 750ml (4.1%)</c:v>
                </c:pt>
                <c:pt idx="5">
                  <c:v>Champagne Canard-Duchêne Blanc Cuvée Léonie Brut 750ml (2.6%)</c:v>
                </c:pt>
                <c:pt idx="6">
                  <c:v>Champagne Bollinger Special Cuvée Brut 750ml (1.2%)</c:v>
                </c:pt>
                <c:pt idx="7">
                  <c:v>Champagne Ayala Brut Majeur 750ml (1.7%)</c:v>
                </c:pt>
                <c:pt idx="8">
                  <c:v>Champagne Ruinart Brut (étui) 750ml (1.2%)</c:v>
                </c:pt>
                <c:pt idx="9">
                  <c:v>Champagne Laurent-Perrier Blanc La Cuvée 750ml (2.7%)</c:v>
                </c:pt>
              </c:strCache>
            </c:strRef>
          </c:cat>
          <c:val>
            <c:numRef>
              <c:f>Sheet1!$B$2:$B$11</c:f>
              <c:numCache>
                <c:formatCode>General</c:formatCode>
                <c:ptCount val="10"/>
                <c:pt idx="0">
                  <c:v>0.13176531718957107</c:v>
                </c:pt>
                <c:pt idx="1">
                  <c:v>0.11679885283466016</c:v>
                </c:pt>
                <c:pt idx="2">
                  <c:v>0.05486532469848649</c:v>
                </c:pt>
                <c:pt idx="3">
                  <c:v>0.04213733877494393</c:v>
                </c:pt>
                <c:pt idx="4">
                  <c:v>0.03815957242050662</c:v>
                </c:pt>
                <c:pt idx="5">
                  <c:v>0.0380869647056465</c:v>
                </c:pt>
                <c:pt idx="6">
                  <c:v>0.03667841378703516</c:v>
                </c:pt>
                <c:pt idx="7">
                  <c:v>0.0351943943267934</c:v>
                </c:pt>
                <c:pt idx="8">
                  <c:v>0.028789094121913945</c:v>
                </c:pt>
                <c:pt idx="9">
                  <c:v>0.0262255981956512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Perrier-Jouët Blanc Grand Brut 750ml (0.9%)</c:v>
                </c:pt>
                <c:pt idx="6">
                  <c:v>Champagne E.Nicolas Brut 750ml (11.6%)</c:v>
                </c:pt>
                <c:pt idx="7">
                  <c:v>Champagne Malard Brut 1er Cru 750ml (4.1%)</c:v>
                </c:pt>
                <c:pt idx="8">
                  <c:v>Champagne Bollinger Special Cuvée Brut 750ml (1.2%)</c:v>
                </c:pt>
                <c:pt idx="9">
                  <c:v>Champagne Laurent-Perrier Blanc La Cuvée 750ml (2.7%)</c:v>
                </c:pt>
              </c:strCache>
            </c:strRef>
          </c:cat>
          <c:val>
            <c:numRef>
              <c:f>Sheet1!$B$2:$B$11</c:f>
              <c:numCache>
                <c:formatCode>General</c:formatCode>
                <c:ptCount val="10"/>
                <c:pt idx="0">
                  <c:v>0.1324058489028845</c:v>
                </c:pt>
                <c:pt idx="1">
                  <c:v>0.07137836142608253</c:v>
                </c:pt>
                <c:pt idx="2">
                  <c:v>0.05215810108978708</c:v>
                </c:pt>
                <c:pt idx="3">
                  <c:v>0.051373664761022925</c:v>
                </c:pt>
                <c:pt idx="4">
                  <c:v>0.04245249613450892</c:v>
                </c:pt>
                <c:pt idx="5">
                  <c:v>0.036530531499618914</c:v>
                </c:pt>
                <c:pt idx="6">
                  <c:v>0.03384114644141215</c:v>
                </c:pt>
                <c:pt idx="7">
                  <c:v>0.03368526917905488</c:v>
                </c:pt>
                <c:pt idx="8">
                  <c:v>0.028859771541175392</c:v>
                </c:pt>
                <c:pt idx="9">
                  <c:v>0.0275750579408706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Perrier-Jouët Blanc Grand Brut 750ml (0.9%)</c:v>
                </c:pt>
                <c:pt idx="6">
                  <c:v>Champagne E.Nicolas Brut 750ml (11.6%)</c:v>
                </c:pt>
                <c:pt idx="7">
                  <c:v>Champagne Malard Brut 1er Cru 750ml (4.1%)</c:v>
                </c:pt>
                <c:pt idx="8">
                  <c:v>Champagne Laurent-Perrier Blanc La Cuvée 750ml (2.7%)</c:v>
                </c:pt>
                <c:pt idx="9">
                  <c:v>Champagne Laurent-Perrier Blanc La Cuvée 1500ml (0.8%)</c:v>
                </c:pt>
              </c:strCache>
            </c:strRef>
          </c:cat>
          <c:val>
            <c:numRef>
              <c:f>Sheet1!$B$2:$B$11</c:f>
              <c:numCache>
                <c:formatCode>General</c:formatCode>
                <c:ptCount val="10"/>
                <c:pt idx="0">
                  <c:v>0.1297521156059086</c:v>
                </c:pt>
                <c:pt idx="1">
                  <c:v>0.07589953612028043</c:v>
                </c:pt>
                <c:pt idx="2">
                  <c:v>0.05782265377788305</c:v>
                </c:pt>
                <c:pt idx="3">
                  <c:v>0.055569627921242364</c:v>
                </c:pt>
                <c:pt idx="4">
                  <c:v>0.03766444213188709</c:v>
                </c:pt>
                <c:pt idx="5">
                  <c:v>0.036842813644970836</c:v>
                </c:pt>
                <c:pt idx="6">
                  <c:v>0.033439861515032976</c:v>
                </c:pt>
                <c:pt idx="7">
                  <c:v>0.03290231391444937</c:v>
                </c:pt>
                <c:pt idx="8">
                  <c:v>0.029599916025411444</c:v>
                </c:pt>
                <c:pt idx="9">
                  <c:v>0.0283847634312822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Laurent-Perrier Blanc La Cuvée 750ml (2.7%)</c:v>
                </c:pt>
                <c:pt idx="3">
                  <c:v>Champagne E.Nicolas Brut 750ml (11.6%)</c:v>
                </c:pt>
                <c:pt idx="4">
                  <c:v>Champagne Vranken Demoiselle Rosé Prestige 750ml (2.0%)</c:v>
                </c:pt>
                <c:pt idx="5">
                  <c:v>Champagne Taittinger Prestige Brut 750ml (1.6%)</c:v>
                </c:pt>
                <c:pt idx="6">
                  <c:v>Champagne Heidsieck Monopole Silver Top 750ml (4.2%)</c:v>
                </c:pt>
                <c:pt idx="7">
                  <c:v>Champagne Besserat de Bellefon Bleu Brut 750ml (1.7%)</c:v>
                </c:pt>
                <c:pt idx="8">
                  <c:v>Champagne Nicolas Feuillatte Réserve Exclusive Brut 750ml (3.0%)</c:v>
                </c:pt>
                <c:pt idx="9">
                  <c:v>Champagne Perrier-Jouët Blanc Grand Brut 750ml (0.9%)</c:v>
                </c:pt>
              </c:strCache>
            </c:strRef>
          </c:cat>
          <c:val>
            <c:numRef>
              <c:f>Sheet1!$B$2:$B$11</c:f>
              <c:numCache>
                <c:formatCode>General</c:formatCode>
                <c:ptCount val="10"/>
                <c:pt idx="0">
                  <c:v>0.10810936822867619</c:v>
                </c:pt>
                <c:pt idx="1">
                  <c:v>0.07473439888903119</c:v>
                </c:pt>
                <c:pt idx="2">
                  <c:v>0.05090060636847464</c:v>
                </c:pt>
                <c:pt idx="3">
                  <c:v>0.04413520769108097</c:v>
                </c:pt>
                <c:pt idx="4">
                  <c:v>0.04311925851712147</c:v>
                </c:pt>
                <c:pt idx="5">
                  <c:v>0.031799132583510144</c:v>
                </c:pt>
                <c:pt idx="6">
                  <c:v>0.030545228911491862</c:v>
                </c:pt>
                <c:pt idx="7">
                  <c:v>0.029578003157424114</c:v>
                </c:pt>
                <c:pt idx="8">
                  <c:v>0.029342407273063278</c:v>
                </c:pt>
                <c:pt idx="9">
                  <c:v>0.0287542799134578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uvet Ladubay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Savian (2.1%)</c:v>
                </c:pt>
                <c:pt idx="4">
                  <c:v>Bottega (3.7%)</c:v>
                </c:pt>
                <c:pt idx="5">
                  <c:v>Les Grumes  (1.0%)</c:v>
                </c:pt>
                <c:pt idx="6">
                  <c:v>Château Moncontour  (1.5%)</c:v>
                </c:pt>
                <c:pt idx="7">
                  <c:v>Muré (1.3%)</c:v>
                </c:pt>
                <c:pt idx="8">
                  <c:v>Malard (6.0%)</c:v>
                </c:pt>
                <c:pt idx="9">
                  <c:v>Dea Augusta (0.5%)</c:v>
                </c:pt>
              </c:strCache>
            </c:strRef>
          </c:cat>
          <c:val>
            <c:numRef>
              <c:f>Sheet1!$B$2:$B$11</c:f>
              <c:numCache>
                <c:formatCode>General</c:formatCode>
                <c:ptCount val="10"/>
                <c:pt idx="0">
                  <c:v>0.15903274472388892</c:v>
                </c:pt>
                <c:pt idx="1">
                  <c:v>0.13604473428311162</c:v>
                </c:pt>
                <c:pt idx="2">
                  <c:v>0.09380707677971266</c:v>
                </c:pt>
                <c:pt idx="3">
                  <c:v>0.07250783337279605</c:v>
                </c:pt>
                <c:pt idx="4">
                  <c:v>0.06843858865679882</c:v>
                </c:pt>
                <c:pt idx="5">
                  <c:v>0.05536093964721301</c:v>
                </c:pt>
                <c:pt idx="6">
                  <c:v>0.0550777595577561</c:v>
                </c:pt>
                <c:pt idx="7">
                  <c:v>0.03634168995474527</c:v>
                </c:pt>
                <c:pt idx="8">
                  <c:v>0.03400716137456167</c:v>
                </c:pt>
                <c:pt idx="9">
                  <c:v>0.0327942011117395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Vranken Demoiselle Rosé Prestige 750ml (2.0%)</c:v>
                </c:pt>
                <c:pt idx="3">
                  <c:v>Champagne Laurent-Perrier Blanc La Cuvée 750ml (2.7%)</c:v>
                </c:pt>
                <c:pt idx="4">
                  <c:v>Champagne E.Nicolas Brut 750ml (11.6%)</c:v>
                </c:pt>
                <c:pt idx="5">
                  <c:v>Champagne Perrier-Jouët Blanc Grand Brut 750ml (0.9%)</c:v>
                </c:pt>
                <c:pt idx="6">
                  <c:v>Champagne Taittinger Prestige Brut 750ml (1.6%)</c:v>
                </c:pt>
                <c:pt idx="7">
                  <c:v>Champagne Nicolas Feuillatte Réserve Exclusive Brut 750ml (3.0%)</c:v>
                </c:pt>
                <c:pt idx="8">
                  <c:v>Champagne Besserat de Bellefon Bleu Brut 750ml (1.7%)</c:v>
                </c:pt>
                <c:pt idx="9">
                  <c:v>Champagne Heidsieck Monopole Silver Top 750ml (4.2%)</c:v>
                </c:pt>
              </c:strCache>
            </c:strRef>
          </c:cat>
          <c:val>
            <c:numRef>
              <c:f>Sheet1!$B$2:$B$11</c:f>
              <c:numCache>
                <c:formatCode>General</c:formatCode>
                <c:ptCount val="10"/>
                <c:pt idx="0">
                  <c:v>0.11475685365040364</c:v>
                </c:pt>
                <c:pt idx="1">
                  <c:v>0.07873417624381984</c:v>
                </c:pt>
                <c:pt idx="2">
                  <c:v>0.06080267233531889</c:v>
                </c:pt>
                <c:pt idx="3">
                  <c:v>0.05130223798505281</c:v>
                </c:pt>
                <c:pt idx="4">
                  <c:v>0.03472880887367734</c:v>
                </c:pt>
                <c:pt idx="5">
                  <c:v>0.033692295150275935</c:v>
                </c:pt>
                <c:pt idx="6">
                  <c:v>0.02893269433977836</c:v>
                </c:pt>
                <c:pt idx="7">
                  <c:v>0.02535964086372352</c:v>
                </c:pt>
                <c:pt idx="8">
                  <c:v>0.0246332566159975</c:v>
                </c:pt>
                <c:pt idx="9">
                  <c:v>0.02447102367368207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Gosset Grande Réserve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Heidsieck Monopole Silver Top 750ml (4.2%)</c:v>
                </c:pt>
                <c:pt idx="4">
                  <c:v>Champagne Ruinart Brut 750ml (7.3%)</c:v>
                </c:pt>
                <c:pt idx="5">
                  <c:v>Champagne Laurent-Perrier Blanc La Cuvée 750ml (2.7%)</c:v>
                </c:pt>
                <c:pt idx="6">
                  <c:v>Champagne Vranken Demoiselle Rosé Prestige 750ml (2.0%)</c:v>
                </c:pt>
                <c:pt idx="7">
                  <c:v>Champagne Nicolas Feuillatte Réserve Exclusive Brut 750ml (3.0%)</c:v>
                </c:pt>
                <c:pt idx="8">
                  <c:v>Champagne Taittinger Prestige Brut 750ml (1.6%)</c:v>
                </c:pt>
                <c:pt idx="9">
                  <c:v>Champagne Deutz Brut Classique 750ml (3.4%)</c:v>
                </c:pt>
              </c:strCache>
            </c:strRef>
          </c:cat>
          <c:val>
            <c:numRef>
              <c:f>Sheet1!$B$2:$B$11</c:f>
              <c:numCache>
                <c:formatCode>General</c:formatCode>
                <c:ptCount val="10"/>
                <c:pt idx="0">
                  <c:v>0.07705072900301842</c:v>
                </c:pt>
                <c:pt idx="1">
                  <c:v>0.05644587851119362</c:v>
                </c:pt>
                <c:pt idx="2">
                  <c:v>0.04501196025394306</c:v>
                </c:pt>
                <c:pt idx="3">
                  <c:v>0.04455789928241977</c:v>
                </c:pt>
                <c:pt idx="4">
                  <c:v>0.042806754066796286</c:v>
                </c:pt>
                <c:pt idx="5">
                  <c:v>0.04078208154136725</c:v>
                </c:pt>
                <c:pt idx="6">
                  <c:v>0.03721304990557425</c:v>
                </c:pt>
                <c:pt idx="7">
                  <c:v>0.031052657054096156</c:v>
                </c:pt>
                <c:pt idx="8">
                  <c:v>0.029547124867189054</c:v>
                </c:pt>
                <c:pt idx="9">
                  <c:v>0.0290138039650454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Gosset Grande Réserve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Taittinger Prestige Brut 750ml (1.6%)</c:v>
                </c:pt>
                <c:pt idx="4">
                  <c:v>Champagne Laurent-Perrier Blanc La Cuvée 750ml (2.7%)</c:v>
                </c:pt>
                <c:pt idx="5">
                  <c:v>Champagne Canard-Duchêne Blanc Cuvée Léonie Brut 750ml (2.6%)</c:v>
                </c:pt>
                <c:pt idx="6">
                  <c:v>Champagne Heidsieck Monopole Silver Top 750ml (4.2%)</c:v>
                </c:pt>
                <c:pt idx="7">
                  <c:v>Champagne Malard Brut 1er Cru 750ml (4.1%)</c:v>
                </c:pt>
                <c:pt idx="8">
                  <c:v>Champagne Vranken Demoiselle Rosé Prestige 750ml (2.0%)</c:v>
                </c:pt>
                <c:pt idx="9">
                  <c:v>Champagne Veuve Clicquot Réserve Cuvée 750ml (1.7%)</c:v>
                </c:pt>
              </c:strCache>
            </c:strRef>
          </c:cat>
          <c:val>
            <c:numRef>
              <c:f>Sheet1!$B$2:$B$11</c:f>
              <c:numCache>
                <c:formatCode>General</c:formatCode>
                <c:ptCount val="10"/>
                <c:pt idx="0">
                  <c:v>0.06454405434230202</c:v>
                </c:pt>
                <c:pt idx="1">
                  <c:v>0.05774497377032912</c:v>
                </c:pt>
                <c:pt idx="2">
                  <c:v>0.05553120228230414</c:v>
                </c:pt>
                <c:pt idx="3">
                  <c:v>0.04514649630829501</c:v>
                </c:pt>
                <c:pt idx="4">
                  <c:v>0.04226990928850504</c:v>
                </c:pt>
                <c:pt idx="5">
                  <c:v>0.03865917204115229</c:v>
                </c:pt>
                <c:pt idx="6">
                  <c:v>0.038009872437843054</c:v>
                </c:pt>
                <c:pt idx="7">
                  <c:v>0.03597831317212401</c:v>
                </c:pt>
                <c:pt idx="8">
                  <c:v>0.0327998906448731</c:v>
                </c:pt>
                <c:pt idx="9">
                  <c:v>0.03082414132966444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nriot Brut Souverain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rémant Saumur Bouvet Cuvée Saphir Brut 750ml (1.5%)</c:v>
                </c:pt>
                <c:pt idx="5">
                  <c:v>Champagne Heidsieck Monopole Silver Top 750ml (4.2%)</c:v>
                </c:pt>
                <c:pt idx="6">
                  <c:v>Mousseux Château Moncontour Brut Vouvray 750ml (1.5%)</c:v>
                </c:pt>
                <c:pt idx="7">
                  <c:v>Crémant de Bourgogne Patriarche Brut 750ml (1.8%)</c:v>
                </c:pt>
                <c:pt idx="8">
                  <c:v>Crémant d'Alsace Muré Prestige Bio 750ml (1.3%)</c:v>
                </c:pt>
                <c:pt idx="9">
                  <c:v>Prosecco Bottega 750ml (2.6%)</c:v>
                </c:pt>
              </c:strCache>
            </c:strRef>
          </c:cat>
          <c:val>
            <c:numRef>
              <c:f>Sheet1!$B$2:$B$11</c:f>
              <c:numCache>
                <c:formatCode>General</c:formatCode>
                <c:ptCount val="10"/>
                <c:pt idx="0">
                  <c:v>0.3101712406374114</c:v>
                </c:pt>
                <c:pt idx="1">
                  <c:v>0.07855395760064872</c:v>
                </c:pt>
                <c:pt idx="2">
                  <c:v>0.04800784338135522</c:v>
                </c:pt>
                <c:pt idx="3">
                  <c:v>0.03849195998770244</c:v>
                </c:pt>
                <c:pt idx="4">
                  <c:v>0.028074104464239292</c:v>
                </c:pt>
                <c:pt idx="5">
                  <c:v>0.026462052961466264</c:v>
                </c:pt>
                <c:pt idx="6">
                  <c:v>0.02600559840532651</c:v>
                </c:pt>
                <c:pt idx="7">
                  <c:v>0.02452157898222882</c:v>
                </c:pt>
                <c:pt idx="8">
                  <c:v>0.02120047996772752</c:v>
                </c:pt>
                <c:pt idx="9">
                  <c:v>0.020094241835153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nriot Brut Souverain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Heidsieck Monopole Silver Top 750ml (4.2%)</c:v>
                </c:pt>
                <c:pt idx="5">
                  <c:v>Crémant Saumur Bouvet Cuvée Saphir Brut 750ml (1.5%)</c:v>
                </c:pt>
                <c:pt idx="6">
                  <c:v>Mousseux Château Moncontour Brut Vouvray 750ml (1.5%)</c:v>
                </c:pt>
                <c:pt idx="7">
                  <c:v>Crémant de Bourgogne Patriarche Brut 750ml (1.8%)</c:v>
                </c:pt>
                <c:pt idx="8">
                  <c:v>Prosecco Bottega 750ml (2.6%)</c:v>
                </c:pt>
                <c:pt idx="9">
                  <c:v>Champagne Besserat de Bellefon Bleu Brut 750ml (1.7%)</c:v>
                </c:pt>
              </c:strCache>
            </c:strRef>
          </c:cat>
          <c:val>
            <c:numRef>
              <c:f>Sheet1!$B$2:$B$11</c:f>
              <c:numCache>
                <c:formatCode>General</c:formatCode>
                <c:ptCount val="10"/>
                <c:pt idx="0">
                  <c:v>0.3173675942165873</c:v>
                </c:pt>
                <c:pt idx="1">
                  <c:v>0.07048986748303054</c:v>
                </c:pt>
                <c:pt idx="2">
                  <c:v>0.05892851399003349</c:v>
                </c:pt>
                <c:pt idx="3">
                  <c:v>0.03603168740286904</c:v>
                </c:pt>
                <c:pt idx="4">
                  <c:v>0.027119253990548264</c:v>
                </c:pt>
                <c:pt idx="5">
                  <c:v>0.02613603148335902</c:v>
                </c:pt>
                <c:pt idx="6">
                  <c:v>0.025650752133512044</c:v>
                </c:pt>
                <c:pt idx="7">
                  <c:v>0.02338069573213566</c:v>
                </c:pt>
                <c:pt idx="8">
                  <c:v>0.021950985273118683</c:v>
                </c:pt>
                <c:pt idx="9">
                  <c:v>0.0205434101173789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nriot Brut Souverain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Besserat de Bellefon Bleu Brut 750ml (1.7%)</c:v>
                </c:pt>
                <c:pt idx="4">
                  <c:v>Champagne Nicolas Feuillatte Réserve Exclusive Brut 750ml (3.0%)</c:v>
                </c:pt>
                <c:pt idx="5">
                  <c:v>Champagne Deutz Brut Classique 750ml (3.4%)</c:v>
                </c:pt>
                <c:pt idx="6">
                  <c:v>Champagne Laurent-Perrier Blanc La Cuvée 750ml (2.7%)</c:v>
                </c:pt>
                <c:pt idx="7">
                  <c:v>Champagne Canard-Duchêne Blanc Cuvée Léonie Brut 750ml (2.6%)</c:v>
                </c:pt>
                <c:pt idx="8">
                  <c:v>Champagne Vranken Demoiselle Tête de Cuvée 750ml (1.4%)</c:v>
                </c:pt>
                <c:pt idx="9">
                  <c:v>Champagne Vranken Demoiselle Rosé Prestige 750ml (2.0%)</c:v>
                </c:pt>
              </c:strCache>
            </c:strRef>
          </c:cat>
          <c:val>
            <c:numRef>
              <c:f>Sheet1!$B$2:$B$11</c:f>
              <c:numCache>
                <c:formatCode>General</c:formatCode>
                <c:ptCount val="10"/>
                <c:pt idx="0">
                  <c:v>0.08405957303517207</c:v>
                </c:pt>
                <c:pt idx="1">
                  <c:v>0.08340780464571332</c:v>
                </c:pt>
                <c:pt idx="2">
                  <c:v>0.08098082574912463</c:v>
                </c:pt>
                <c:pt idx="3">
                  <c:v>0.05467324942347208</c:v>
                </c:pt>
                <c:pt idx="4">
                  <c:v>0.051311770393978405</c:v>
                </c:pt>
                <c:pt idx="5">
                  <c:v>0.03856716156501739</c:v>
                </c:pt>
                <c:pt idx="6">
                  <c:v>0.0368292667803206</c:v>
                </c:pt>
                <c:pt idx="7">
                  <c:v>0.031243348785294466</c:v>
                </c:pt>
                <c:pt idx="8">
                  <c:v>0.02658931587790818</c:v>
                </c:pt>
                <c:pt idx="9">
                  <c:v>0.02552777202852184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nriot Brut Souverain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E.Nicolas Brut 750ml (11.6%)</c:v>
                </c:pt>
                <c:pt idx="2">
                  <c:v>Champagne Heidsieck Monopole Silver Top 750ml (4.2%)</c:v>
                </c:pt>
                <c:pt idx="3">
                  <c:v>Champagne Malard Brut 1er Cru 750ml (4.1%)</c:v>
                </c:pt>
                <c:pt idx="4">
                  <c:v>Champagne Besserat de Bellefon Bleu Brut 750ml (1.7%)</c:v>
                </c:pt>
                <c:pt idx="5">
                  <c:v>Champagne Laurent-Perrier Blanc La Cuvée 750ml (2.7%)</c:v>
                </c:pt>
                <c:pt idx="6">
                  <c:v>Champagne Ruinart Brut 750ml (7.3%)</c:v>
                </c:pt>
                <c:pt idx="7">
                  <c:v>Champagne Nicolas Feuillatte Réserve Exclusive Brut 750ml (3.0%)</c:v>
                </c:pt>
                <c:pt idx="8">
                  <c:v>Champagne Taittinger Prestige Brut 750ml (1.6%)</c:v>
                </c:pt>
                <c:pt idx="9">
                  <c:v>Champagne Vranken Demoiselle Rosé Prestige 750ml (2.0%)</c:v>
                </c:pt>
              </c:strCache>
            </c:strRef>
          </c:cat>
          <c:val>
            <c:numRef>
              <c:f>Sheet1!$B$2:$B$11</c:f>
              <c:numCache>
                <c:formatCode>General</c:formatCode>
                <c:ptCount val="10"/>
                <c:pt idx="0">
                  <c:v>0.0745377616638701</c:v>
                </c:pt>
                <c:pt idx="1">
                  <c:v>0.05858795019680745</c:v>
                </c:pt>
                <c:pt idx="2">
                  <c:v>0.05719568071265078</c:v>
                </c:pt>
                <c:pt idx="3">
                  <c:v>0.05196179567725999</c:v>
                </c:pt>
                <c:pt idx="4">
                  <c:v>0.05107538533665394</c:v>
                </c:pt>
                <c:pt idx="5">
                  <c:v>0.049561808101716315</c:v>
                </c:pt>
                <c:pt idx="6">
                  <c:v>0.044394322983400354</c:v>
                </c:pt>
                <c:pt idx="7">
                  <c:v>0.039357784297099276</c:v>
                </c:pt>
                <c:pt idx="8">
                  <c:v>0.03367410145668472</c:v>
                </c:pt>
                <c:pt idx="9">
                  <c:v>0.0283971933799574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La Cuvée 750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E.Nicolas Brut 750ml (11.6%)</c:v>
                </c:pt>
                <c:pt idx="3">
                  <c:v>Champagne Malard Brut 1er Cru 750ml (4.1%)</c:v>
                </c:pt>
                <c:pt idx="4">
                  <c:v>Champagne Canard-Duchêne Blanc Cuvée Léonie Brut 750ml (2.6%)</c:v>
                </c:pt>
                <c:pt idx="5">
                  <c:v>Champagne Vranken Demoiselle Tête de Cuvée 750ml (1.4%)</c:v>
                </c:pt>
                <c:pt idx="6">
                  <c:v>Champagne Besserat de Bellefon Bleu Brut 750ml (1.7%)</c:v>
                </c:pt>
                <c:pt idx="7">
                  <c:v>Champagne Vranken Demoiselle Rosé Prestige 750ml (2.0%)</c:v>
                </c:pt>
                <c:pt idx="8">
                  <c:v>Champagne Deutz Brut Classique 750ml (3.4%)</c:v>
                </c:pt>
                <c:pt idx="9">
                  <c:v>Champagne Ruinart Brut 750ml (7.3%)</c:v>
                </c:pt>
              </c:strCache>
            </c:strRef>
          </c:cat>
          <c:val>
            <c:numRef>
              <c:f>Sheet1!$B$2:$B$11</c:f>
              <c:numCache>
                <c:formatCode>General</c:formatCode>
                <c:ptCount val="10"/>
                <c:pt idx="0">
                  <c:v>0.13249848255155333</c:v>
                </c:pt>
                <c:pt idx="1">
                  <c:v>0.06830914920753015</c:v>
                </c:pt>
                <c:pt idx="2">
                  <c:v>0.06743197413290258</c:v>
                </c:pt>
                <c:pt idx="3">
                  <c:v>0.052337237968325664</c:v>
                </c:pt>
                <c:pt idx="4">
                  <c:v>0.04221689656255755</c:v>
                </c:pt>
                <c:pt idx="5">
                  <c:v>0.03916954786800942</c:v>
                </c:pt>
                <c:pt idx="6">
                  <c:v>0.03636854643799787</c:v>
                </c:pt>
                <c:pt idx="7">
                  <c:v>0.027209813008775726</c:v>
                </c:pt>
                <c:pt idx="8">
                  <c:v>0.026553020081600792</c:v>
                </c:pt>
                <c:pt idx="9">
                  <c:v>0.0264018855722950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La Cuvée 750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E.Nicolas Brut 750ml (11.6%)</c:v>
                </c:pt>
                <c:pt idx="3">
                  <c:v>Champagne Taittinger Prestige Brut 750ml (1.6%)</c:v>
                </c:pt>
                <c:pt idx="4">
                  <c:v>Champagne Vranken Demoiselle Tête de Cuvée 750ml (1.4%)</c:v>
                </c:pt>
                <c:pt idx="5">
                  <c:v>Champagne Malard Brut 1er Cru 750ml (4.1%)</c:v>
                </c:pt>
                <c:pt idx="6">
                  <c:v>Champagne Moët &amp; Chandon Réserve Impériale 750ml (1.1%)</c:v>
                </c:pt>
                <c:pt idx="7">
                  <c:v>Champagne Deutz Brut Classique 750ml (3.4%)</c:v>
                </c:pt>
                <c:pt idx="8">
                  <c:v>Champagne Veuve Clicquot Réserve Cuvée 750ml (1.7%)</c:v>
                </c:pt>
                <c:pt idx="9">
                  <c:v>Champagne Ruinart Brut 750ml (7.3%)</c:v>
                </c:pt>
              </c:strCache>
            </c:strRef>
          </c:cat>
          <c:val>
            <c:numRef>
              <c:f>Sheet1!$B$2:$B$11</c:f>
              <c:numCache>
                <c:formatCode>General</c:formatCode>
                <c:ptCount val="10"/>
                <c:pt idx="0">
                  <c:v>0.10025053190697332</c:v>
                </c:pt>
                <c:pt idx="1">
                  <c:v>0.06145402170843554</c:v>
                </c:pt>
                <c:pt idx="2">
                  <c:v>0.05821965625751024</c:v>
                </c:pt>
                <c:pt idx="3">
                  <c:v>0.038594918865717726</c:v>
                </c:pt>
                <c:pt idx="4">
                  <c:v>0.03789471220514592</c:v>
                </c:pt>
                <c:pt idx="5">
                  <c:v>0.03752494758566166</c:v>
                </c:pt>
                <c:pt idx="6">
                  <c:v>0.03749903914128793</c:v>
                </c:pt>
                <c:pt idx="7">
                  <c:v>0.035346865469878676</c:v>
                </c:pt>
                <c:pt idx="8">
                  <c:v>0.03468827779854772</c:v>
                </c:pt>
                <c:pt idx="9">
                  <c:v>0.0342731080298715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La Cuvée 150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Deutz Brut Classique 750ml (3.4%)</c:v>
                </c:pt>
                <c:pt idx="3">
                  <c:v>Champagne Veuve Clicquot Réserve Cuvée 750ml (1.7%)</c:v>
                </c:pt>
                <c:pt idx="4">
                  <c:v>Champagne Ruinart Blanc de Blancs 750ml (2.0%)</c:v>
                </c:pt>
                <c:pt idx="5">
                  <c:v>Champagne Taittinger Prestige Brut 750ml (1.6%)</c:v>
                </c:pt>
                <c:pt idx="6">
                  <c:v>Champagne Ruinart Brut (étui) 750ml (1.2%)</c:v>
                </c:pt>
                <c:pt idx="7">
                  <c:v>Champagne Taittinger Prestige Brut 1500ml (0.5%)</c:v>
                </c:pt>
                <c:pt idx="8">
                  <c:v>Champagne E.Nicolas Brut 750ml (11.6%)</c:v>
                </c:pt>
                <c:pt idx="9">
                  <c:v>Champagne Moët &amp; Chandon Réserve Impériale 750ml (1.1%)</c:v>
                </c:pt>
              </c:strCache>
            </c:strRef>
          </c:cat>
          <c:val>
            <c:numRef>
              <c:f>Sheet1!$B$2:$B$11</c:f>
              <c:numCache>
                <c:formatCode>General</c:formatCode>
                <c:ptCount val="10"/>
                <c:pt idx="0">
                  <c:v>0.16350813326358538</c:v>
                </c:pt>
                <c:pt idx="1">
                  <c:v>0.0924511973021276</c:v>
                </c:pt>
                <c:pt idx="2">
                  <c:v>0.06040844183277731</c:v>
                </c:pt>
                <c:pt idx="3">
                  <c:v>0.04149712925107797</c:v>
                </c:pt>
                <c:pt idx="4">
                  <c:v>0.03757922616284615</c:v>
                </c:pt>
                <c:pt idx="5">
                  <c:v>0.034109784775240896</c:v>
                </c:pt>
                <c:pt idx="6">
                  <c:v>0.026666457316349937</c:v>
                </c:pt>
                <c:pt idx="7">
                  <c:v>0.025209502229947698</c:v>
                </c:pt>
                <c:pt idx="8">
                  <c:v>0.02481645376086779</c:v>
                </c:pt>
                <c:pt idx="9">
                  <c:v>0.023293325622239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nard-Duchêne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Nicolas Feuillatte (4.5%)</c:v>
                </c:pt>
                <c:pt idx="4">
                  <c:v>Demoiselle (3.5%)</c:v>
                </c:pt>
                <c:pt idx="5">
                  <c:v>Ruinart (12.8%)</c:v>
                </c:pt>
                <c:pt idx="6">
                  <c:v>Carlo V (5.4%)</c:v>
                </c:pt>
                <c:pt idx="7">
                  <c:v>Deutz (4.8%)</c:v>
                </c:pt>
                <c:pt idx="8">
                  <c:v>De Bligny (1.3%)</c:v>
                </c:pt>
                <c:pt idx="9">
                  <c:v>Ayala (1.7%)</c:v>
                </c:pt>
              </c:strCache>
            </c:strRef>
          </c:cat>
          <c:val>
            <c:numRef>
              <c:f>Sheet1!$B$2:$B$11</c:f>
              <c:numCache>
                <c:formatCode>General</c:formatCode>
                <c:ptCount val="10"/>
                <c:pt idx="0">
                  <c:v>0.16210112624687587</c:v>
                </c:pt>
                <c:pt idx="1">
                  <c:v>0.15159192198262336</c:v>
                </c:pt>
                <c:pt idx="2">
                  <c:v>0.13339054968519512</c:v>
                </c:pt>
                <c:pt idx="3">
                  <c:v>0.09246661319672266</c:v>
                </c:pt>
                <c:pt idx="4">
                  <c:v>0.04577851247302734</c:v>
                </c:pt>
                <c:pt idx="5">
                  <c:v>0.03846623044382088</c:v>
                </c:pt>
                <c:pt idx="6">
                  <c:v>0.029994876075742468</c:v>
                </c:pt>
                <c:pt idx="7">
                  <c:v>0.027887946708576108</c:v>
                </c:pt>
                <c:pt idx="8">
                  <c:v>0.024282380233766263</c:v>
                </c:pt>
                <c:pt idx="9">
                  <c:v>0.023863463580320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La Cuvée 150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Deutz Brut Classique 750ml (3.4%)</c:v>
                </c:pt>
                <c:pt idx="3">
                  <c:v>Champagne Ruinart Blanc de Blancs 750ml (2.0%)</c:v>
                </c:pt>
                <c:pt idx="4">
                  <c:v>Champagne Veuve Clicquot Réserve Cuvée 750ml (1.7%)</c:v>
                </c:pt>
                <c:pt idx="5">
                  <c:v>Champagne Taittinger Prestige Brut 750ml (1.6%)</c:v>
                </c:pt>
                <c:pt idx="6">
                  <c:v>Champagne Ruinart Brut (étui) 750ml (1.2%)</c:v>
                </c:pt>
                <c:pt idx="7">
                  <c:v>Champagne Taittinger Prestige Brut 1500ml (0.5%)</c:v>
                </c:pt>
                <c:pt idx="8">
                  <c:v>Champagne Moët &amp; Chandon Réserve Impériale 750ml (1.1%)</c:v>
                </c:pt>
                <c:pt idx="9">
                  <c:v>Champagne Perrier-Jouët Blanc Grand Brut 750ml (0.9%)</c:v>
                </c:pt>
              </c:strCache>
            </c:strRef>
          </c:cat>
          <c:val>
            <c:numRef>
              <c:f>Sheet1!$B$2:$B$11</c:f>
              <c:numCache>
                <c:formatCode>General</c:formatCode>
                <c:ptCount val="10"/>
                <c:pt idx="0">
                  <c:v>0.20884336164424946</c:v>
                </c:pt>
                <c:pt idx="1">
                  <c:v>0.09273070477665034</c:v>
                </c:pt>
                <c:pt idx="2">
                  <c:v>0.05867347380593887</c:v>
                </c:pt>
                <c:pt idx="3">
                  <c:v>0.04900317183223127</c:v>
                </c:pt>
                <c:pt idx="4">
                  <c:v>0.04520299726231331</c:v>
                </c:pt>
                <c:pt idx="5">
                  <c:v>0.03454518564514886</c:v>
                </c:pt>
                <c:pt idx="6">
                  <c:v>0.03229682935681316</c:v>
                </c:pt>
                <c:pt idx="7">
                  <c:v>0.02909986934297505</c:v>
                </c:pt>
                <c:pt idx="8">
                  <c:v>0.02761670704531748</c:v>
                </c:pt>
                <c:pt idx="9">
                  <c:v>0.02216755409632621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Ruinart Brut 750ml (7.3%)</c:v>
                </c:pt>
                <c:pt idx="2">
                  <c:v>Champagne Vranken Demoiselle Rosé Prestige 750ml (2.0%)</c:v>
                </c:pt>
                <c:pt idx="3">
                  <c:v>Champagne Ruinart Blanc de Blancs 750ml (2.0%)</c:v>
                </c:pt>
                <c:pt idx="4">
                  <c:v>Champagne E.Nicolas Brut 750ml (11.6%)</c:v>
                </c:pt>
                <c:pt idx="5">
                  <c:v>Champagne Deutz Brut Classique 750ml (3.4%)</c:v>
                </c:pt>
                <c:pt idx="6">
                  <c:v>Champagne Veuve Clicquot Réserve Cuvée 750ml (1.7%)</c:v>
                </c:pt>
                <c:pt idx="7">
                  <c:v>Champagne Heidsieck Monopole Silver Top 750ml (4.2%)</c:v>
                </c:pt>
                <c:pt idx="8">
                  <c:v>Champagne Vranken Demoiselle Tête de Cuvée 750ml (1.4%)</c:v>
                </c:pt>
                <c:pt idx="9">
                  <c:v>Champagne Nicolas Feuillatte Réserve Exclusive Brut 750ml (3.0%)</c:v>
                </c:pt>
              </c:strCache>
            </c:strRef>
          </c:cat>
          <c:val>
            <c:numRef>
              <c:f>Sheet1!$B$2:$B$11</c:f>
              <c:numCache>
                <c:formatCode>General</c:formatCode>
                <c:ptCount val="10"/>
                <c:pt idx="0">
                  <c:v>0.1032778820157841</c:v>
                </c:pt>
                <c:pt idx="1">
                  <c:v>0.07163986122248624</c:v>
                </c:pt>
                <c:pt idx="2">
                  <c:v>0.05362784972883837</c:v>
                </c:pt>
                <c:pt idx="3">
                  <c:v>0.040380039674797905</c:v>
                </c:pt>
                <c:pt idx="4">
                  <c:v>0.03621371260748135</c:v>
                </c:pt>
                <c:pt idx="5">
                  <c:v>0.034298764070057754</c:v>
                </c:pt>
                <c:pt idx="6">
                  <c:v>0.032977908470280544</c:v>
                </c:pt>
                <c:pt idx="7">
                  <c:v>0.02822706646221956</c:v>
                </c:pt>
                <c:pt idx="8">
                  <c:v>0.027271384981851554</c:v>
                </c:pt>
                <c:pt idx="9">
                  <c:v>0.024116097459929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Ruinart Blanc de Blancs 750ml (2.0%)</c:v>
                </c:pt>
                <c:pt idx="3">
                  <c:v>Champagne Vranken Demoiselle Rosé Prestige 750ml (2.0%)</c:v>
                </c:pt>
                <c:pt idx="4">
                  <c:v>Champagne Deutz Brut Classique 750ml (3.4%)</c:v>
                </c:pt>
                <c:pt idx="5">
                  <c:v>Champagne Veuve Clicquot Réserve Cuvée 750ml (1.7%)</c:v>
                </c:pt>
                <c:pt idx="6">
                  <c:v>Champagne Ruinart Blanc de Blancs (étui) 750ml (0.8%)</c:v>
                </c:pt>
                <c:pt idx="7">
                  <c:v>Champagne Perrier-Jouët Blanc Grand Brut 750ml (0.9%)</c:v>
                </c:pt>
                <c:pt idx="8">
                  <c:v>Champagne Laurent-Perrier Blanc La Cuvée 1500ml (0.8%)</c:v>
                </c:pt>
                <c:pt idx="9">
                  <c:v>Champagne Vranken Demoiselle Tête de Cuvée 750ml (1.4%)</c:v>
                </c:pt>
              </c:strCache>
            </c:strRef>
          </c:cat>
          <c:val>
            <c:numRef>
              <c:f>Sheet1!$B$2:$B$11</c:f>
              <c:numCache>
                <c:formatCode>General</c:formatCode>
                <c:ptCount val="10"/>
                <c:pt idx="0">
                  <c:v>0.11035732293056168</c:v>
                </c:pt>
                <c:pt idx="1">
                  <c:v>0.10296816650267893</c:v>
                </c:pt>
                <c:pt idx="2">
                  <c:v>0.0735690252316641</c:v>
                </c:pt>
                <c:pt idx="3">
                  <c:v>0.053799843283628676</c:v>
                </c:pt>
                <c:pt idx="4">
                  <c:v>0.04087991053826282</c:v>
                </c:pt>
                <c:pt idx="5">
                  <c:v>0.03189374893084108</c:v>
                </c:pt>
                <c:pt idx="6">
                  <c:v>0.029867378453264506</c:v>
                </c:pt>
                <c:pt idx="7">
                  <c:v>0.025789889627929403</c:v>
                </c:pt>
                <c:pt idx="8">
                  <c:v>0.025589503563000653</c:v>
                </c:pt>
                <c:pt idx="9">
                  <c:v>0.021470546526963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hristophe Lefèvre Cuvée Prestige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Georges Vesselle Grand Cru Brut 750ml (1.0%)</c:v>
                </c:pt>
                <c:pt idx="4">
                  <c:v>Champagne Nicolas Feuillatte Réserve Exclusive Brut 750ml (3.0%)</c:v>
                </c:pt>
                <c:pt idx="5">
                  <c:v>Champagne Louis Martin Brut 1er Cru 750ml (0.5%)</c:v>
                </c:pt>
                <c:pt idx="6">
                  <c:v>Champagne Canard-Duchêne Blanc Cuvée Léonie Brut 750ml (2.6%)</c:v>
                </c:pt>
                <c:pt idx="7">
                  <c:v>Champagne Besserat de Bellefon Bleu Brut 750ml (1.7%)</c:v>
                </c:pt>
                <c:pt idx="8">
                  <c:v>Champagne Château de Bligny 750ml (1.3%)</c:v>
                </c:pt>
                <c:pt idx="9">
                  <c:v>Prosecco Carlo V Cuvée Del Imperator 750ml (5.4%)</c:v>
                </c:pt>
              </c:strCache>
            </c:strRef>
          </c:cat>
          <c:val>
            <c:numRef>
              <c:f>Sheet1!$B$2:$B$11</c:f>
              <c:numCache>
                <c:formatCode>General</c:formatCode>
                <c:ptCount val="10"/>
                <c:pt idx="0">
                  <c:v>0.17811301749634983</c:v>
                </c:pt>
                <c:pt idx="1">
                  <c:v>0.16876574792069574</c:v>
                </c:pt>
                <c:pt idx="2">
                  <c:v>0.08109386274245613</c:v>
                </c:pt>
                <c:pt idx="3">
                  <c:v>0.055063384617697164</c:v>
                </c:pt>
                <c:pt idx="4">
                  <c:v>0.05149883633446701</c:v>
                </c:pt>
                <c:pt idx="5">
                  <c:v>0.04053900245932517</c:v>
                </c:pt>
                <c:pt idx="6">
                  <c:v>0.0405111005901707</c:v>
                </c:pt>
                <c:pt idx="7">
                  <c:v>0.028233543607605726</c:v>
                </c:pt>
                <c:pt idx="8">
                  <c:v>0.023697315096115633</c:v>
                </c:pt>
                <c:pt idx="9">
                  <c:v>0.0162031965837595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hristophe Lefèvre Cuvée Prestige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Georges Vesselle Grand Cru Brut 750ml (1.0%)</c:v>
                </c:pt>
                <c:pt idx="4">
                  <c:v>Champagne Canard-Duchêne Blanc Cuvée Léonie Brut 750ml (2.6%)</c:v>
                </c:pt>
                <c:pt idx="5">
                  <c:v>Champagne Nicolas Feuillatte Réserve Exclusive Brut 750ml (3.0%)</c:v>
                </c:pt>
                <c:pt idx="6">
                  <c:v>Champagne Besserat de Bellefon Bleu Brut 750ml (1.7%)</c:v>
                </c:pt>
                <c:pt idx="7">
                  <c:v>Champagne Louis Martin Brut 1er Cru 750ml (0.5%)</c:v>
                </c:pt>
                <c:pt idx="8">
                  <c:v>Champagne Château de Bligny 750ml (1.3%)</c:v>
                </c:pt>
                <c:pt idx="9">
                  <c:v>Champagne Ayala Brut Majeur 750ml (1.7%)</c:v>
                </c:pt>
              </c:strCache>
            </c:strRef>
          </c:cat>
          <c:val>
            <c:numRef>
              <c:f>Sheet1!$B$2:$B$11</c:f>
              <c:numCache>
                <c:formatCode>General</c:formatCode>
                <c:ptCount val="10"/>
                <c:pt idx="0">
                  <c:v>0.13543245646054713</c:v>
                </c:pt>
                <c:pt idx="1">
                  <c:v>0.10838022599002935</c:v>
                </c:pt>
                <c:pt idx="2">
                  <c:v>0.10132746897351001</c:v>
                </c:pt>
                <c:pt idx="3">
                  <c:v>0.06862989100086411</c:v>
                </c:pt>
                <c:pt idx="4">
                  <c:v>0.05962885857598622</c:v>
                </c:pt>
                <c:pt idx="5">
                  <c:v>0.05591577038803386</c:v>
                </c:pt>
                <c:pt idx="6">
                  <c:v>0.04186006148875318</c:v>
                </c:pt>
                <c:pt idx="7">
                  <c:v>0.030788046213684934</c:v>
                </c:pt>
                <c:pt idx="8">
                  <c:v>0.030779184128970342</c:v>
                </c:pt>
                <c:pt idx="9">
                  <c:v>0.021624658631281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Millésime 2015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Canard-Duchêne Blanc Cuvée Léonie Brut 750ml (2.6%)</c:v>
                </c:pt>
                <c:pt idx="4">
                  <c:v>Champagne Besserat de Bellefon Bleu Brut 750ml (1.7%)</c:v>
                </c:pt>
                <c:pt idx="5">
                  <c:v>Champagne Ayala Brut Majeur 750ml (1.7%)</c:v>
                </c:pt>
                <c:pt idx="6">
                  <c:v>Champagne Nicolas Feuillatte Réserve Exclusive Brut 750ml (3.0%)</c:v>
                </c:pt>
                <c:pt idx="7">
                  <c:v>Champagne Deutz Brut Classique 750ml (3.4%)</c:v>
                </c:pt>
                <c:pt idx="8">
                  <c:v>Champagne Château de Bligny 750ml (1.3%)</c:v>
                </c:pt>
                <c:pt idx="9">
                  <c:v>Champagne Vranken Demoiselle Tête de Cuvée 750ml (1.4%)</c:v>
                </c:pt>
              </c:strCache>
            </c:strRef>
          </c:cat>
          <c:val>
            <c:numRef>
              <c:f>Sheet1!$B$2:$B$11</c:f>
              <c:numCache>
                <c:formatCode>General</c:formatCode>
                <c:ptCount val="10"/>
                <c:pt idx="0">
                  <c:v>0.10922545388810345</c:v>
                </c:pt>
                <c:pt idx="1">
                  <c:v>0.0783388470518551</c:v>
                </c:pt>
                <c:pt idx="2">
                  <c:v>0.07691226387588174</c:v>
                </c:pt>
                <c:pt idx="3">
                  <c:v>0.05451719442336635</c:v>
                </c:pt>
                <c:pt idx="4">
                  <c:v>0.05190103187122913</c:v>
                </c:pt>
                <c:pt idx="5">
                  <c:v>0.036284399005874615</c:v>
                </c:pt>
                <c:pt idx="6">
                  <c:v>0.0356262189802465</c:v>
                </c:pt>
                <c:pt idx="7">
                  <c:v>0.031133620557980923</c:v>
                </c:pt>
                <c:pt idx="8">
                  <c:v>0.029658036227795368</c:v>
                </c:pt>
                <c:pt idx="9">
                  <c:v>0.0255675900184353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Millésime 2015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Besserat de Bellefon Bleu Brut 750ml (1.7%)</c:v>
                </c:pt>
                <c:pt idx="3">
                  <c:v>Champagne Heidsieck Monopole Silver Top 750ml (4.2%)</c:v>
                </c:pt>
                <c:pt idx="4">
                  <c:v>Champagne Deutz Brut Classique 750ml (3.4%)</c:v>
                </c:pt>
                <c:pt idx="5">
                  <c:v>Champagne Canard-Duchêne Blanc Cuvée Léonie Brut 750ml (2.6%)</c:v>
                </c:pt>
                <c:pt idx="6">
                  <c:v>Champagne Ayala Brut Majeur 750ml (1.7%)</c:v>
                </c:pt>
                <c:pt idx="7">
                  <c:v>Champagne Laurent-Perrier Blanc La Cuvée 750ml (2.7%)</c:v>
                </c:pt>
                <c:pt idx="8">
                  <c:v>Champagne Nicolas Feuillatte Réserve Exclusive Brut 750ml (3.0%)</c:v>
                </c:pt>
                <c:pt idx="9">
                  <c:v>Champagne Château de Bligny 750ml (1.3%)</c:v>
                </c:pt>
              </c:strCache>
            </c:strRef>
          </c:cat>
          <c:val>
            <c:numRef>
              <c:f>Sheet1!$B$2:$B$11</c:f>
              <c:numCache>
                <c:formatCode>General</c:formatCode>
                <c:ptCount val="10"/>
                <c:pt idx="0">
                  <c:v>0.07062571774658487</c:v>
                </c:pt>
                <c:pt idx="1">
                  <c:v>0.06401833425870505</c:v>
                </c:pt>
                <c:pt idx="2">
                  <c:v>0.05505839371179654</c:v>
                </c:pt>
                <c:pt idx="3">
                  <c:v>0.055039981953359</c:v>
                </c:pt>
                <c:pt idx="4">
                  <c:v>0.04219654122996739</c:v>
                </c:pt>
                <c:pt idx="5">
                  <c:v>0.040841215880430395</c:v>
                </c:pt>
                <c:pt idx="6">
                  <c:v>0.03568059809263931</c:v>
                </c:pt>
                <c:pt idx="7">
                  <c:v>0.03448368048014281</c:v>
                </c:pt>
                <c:pt idx="8">
                  <c:v>0.03388506525134716</c:v>
                </c:pt>
                <c:pt idx="9">
                  <c:v>0.0309646020045724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Grand Cru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Canard-Duchêne Blanc Cuvée Léonie Brut 750ml (2.6%)</c:v>
                </c:pt>
                <c:pt idx="5">
                  <c:v>Champagne Besserat de Bellefon Bleu Brut 750ml (1.7%)</c:v>
                </c:pt>
                <c:pt idx="6">
                  <c:v>Champagne Georges Vesselle Grand Cru Brut 750ml (1.0%)</c:v>
                </c:pt>
                <c:pt idx="7">
                  <c:v>Champagne Château de Bligny 750ml (1.3%)</c:v>
                </c:pt>
                <c:pt idx="8">
                  <c:v>Champagne Vranken Demoiselle Tête de Cuvée 750ml (1.4%)</c:v>
                </c:pt>
                <c:pt idx="9">
                  <c:v>Champagne Louis Martin Brut 1er Cru 750ml (0.5%)</c:v>
                </c:pt>
              </c:strCache>
            </c:strRef>
          </c:cat>
          <c:val>
            <c:numRef>
              <c:f>Sheet1!$B$2:$B$11</c:f>
              <c:numCache>
                <c:formatCode>General</c:formatCode>
                <c:ptCount val="10"/>
                <c:pt idx="0">
                  <c:v>0.17184776680777428</c:v>
                </c:pt>
                <c:pt idx="1">
                  <c:v>0.1189134089238553</c:v>
                </c:pt>
                <c:pt idx="2">
                  <c:v>0.0758661550083851</c:v>
                </c:pt>
                <c:pt idx="3">
                  <c:v>0.06407965547886443</c:v>
                </c:pt>
                <c:pt idx="4">
                  <c:v>0.04294032288538816</c:v>
                </c:pt>
                <c:pt idx="5">
                  <c:v>0.035039113395918406</c:v>
                </c:pt>
                <c:pt idx="6">
                  <c:v>0.03408546918901461</c:v>
                </c:pt>
                <c:pt idx="7">
                  <c:v>0.025147256743358902</c:v>
                </c:pt>
                <c:pt idx="8">
                  <c:v>0.02238662891854732</c:v>
                </c:pt>
                <c:pt idx="9">
                  <c:v>0.0221473816913139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Grand Cru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Besserat de Bellefon Bleu Brut 750ml (1.7%)</c:v>
                </c:pt>
                <c:pt idx="5">
                  <c:v>Champagne Canard-Duchêne Blanc Cuvée Léonie Brut 750ml (2.6%)</c:v>
                </c:pt>
                <c:pt idx="6">
                  <c:v>Champagne Malard Grand Cru Blanc de Noirs 750ml (0.5%)</c:v>
                </c:pt>
                <c:pt idx="7">
                  <c:v>Champagne Georges Vesselle Grand Cru Brut 750ml (1.0%)</c:v>
                </c:pt>
                <c:pt idx="8">
                  <c:v>Champagne Château de Bligny 750ml (1.3%)</c:v>
                </c:pt>
                <c:pt idx="9">
                  <c:v>Champagne Laurent-Perrier Blanc La Cuvée 750ml (2.7%)</c:v>
                </c:pt>
              </c:strCache>
            </c:strRef>
          </c:cat>
          <c:val>
            <c:numRef>
              <c:f>Sheet1!$B$2:$B$11</c:f>
              <c:numCache>
                <c:formatCode>General</c:formatCode>
                <c:ptCount val="10"/>
                <c:pt idx="0">
                  <c:v>0.1237246842882154</c:v>
                </c:pt>
                <c:pt idx="1">
                  <c:v>0.07971452756245019</c:v>
                </c:pt>
                <c:pt idx="2">
                  <c:v>0.07589384359097828</c:v>
                </c:pt>
                <c:pt idx="3">
                  <c:v>0.06352684701203659</c:v>
                </c:pt>
                <c:pt idx="4">
                  <c:v>0.05171658141806096</c:v>
                </c:pt>
                <c:pt idx="5">
                  <c:v>0.043840104305832406</c:v>
                </c:pt>
                <c:pt idx="6">
                  <c:v>0.03662976876294903</c:v>
                </c:pt>
                <c:pt idx="7">
                  <c:v>0.030294836245850606</c:v>
                </c:pt>
                <c:pt idx="8">
                  <c:v>0.02962265042676948</c:v>
                </c:pt>
                <c:pt idx="9">
                  <c:v>0.02901672548938669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Grand Cru Blanc de Noirs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Canard-Duchêne Blanc Cuvée Léonie Brut 750ml (2.6%)</c:v>
                </c:pt>
                <c:pt idx="5">
                  <c:v>Champagne Georges Vesselle Grand Cru Brut 750ml (1.0%)</c:v>
                </c:pt>
                <c:pt idx="6">
                  <c:v>Champagne Louis Martin Brut 1er Cru 750ml (0.5%)</c:v>
                </c:pt>
                <c:pt idx="7">
                  <c:v>Champagne Besserat de Bellefon Bleu Brut 750ml (1.7%)</c:v>
                </c:pt>
                <c:pt idx="8">
                  <c:v>Champagne Malard Grand Cru Blanc de Blancs 750ml (0.8%)</c:v>
                </c:pt>
                <c:pt idx="9">
                  <c:v>Champagne Château de Bligny 750ml (1.3%)</c:v>
                </c:pt>
              </c:strCache>
            </c:strRef>
          </c:cat>
          <c:val>
            <c:numRef>
              <c:f>Sheet1!$B$2:$B$11</c:f>
              <c:numCache>
                <c:formatCode>General</c:formatCode>
                <c:ptCount val="10"/>
                <c:pt idx="0">
                  <c:v>0.17658469851756228</c:v>
                </c:pt>
                <c:pt idx="1">
                  <c:v>0.1301744815982516</c:v>
                </c:pt>
                <c:pt idx="2">
                  <c:v>0.0796303870225134</c:v>
                </c:pt>
                <c:pt idx="3">
                  <c:v>0.07140932492287075</c:v>
                </c:pt>
                <c:pt idx="4">
                  <c:v>0.0444846592313483</c:v>
                </c:pt>
                <c:pt idx="5">
                  <c:v>0.036512725991237734</c:v>
                </c:pt>
                <c:pt idx="6">
                  <c:v>0.03432195710740602</c:v>
                </c:pt>
                <c:pt idx="7">
                  <c:v>0.03374982761750179</c:v>
                </c:pt>
                <c:pt idx="8">
                  <c:v>0.02857295053238415</c:v>
                </c:pt>
                <c:pt idx="9">
                  <c:v>0.0263220728801970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nard-Duchêne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Malard (6.0%)</c:v>
                </c:pt>
                <c:pt idx="2">
                  <c:v>Nicolas Feuillatte (4.5%)</c:v>
                </c:pt>
                <c:pt idx="3">
                  <c:v>Nicolas (14.4%)</c:v>
                </c:pt>
                <c:pt idx="4">
                  <c:v>Demoiselle (3.5%)</c:v>
                </c:pt>
                <c:pt idx="5">
                  <c:v>Ruinart (12.8%)</c:v>
                </c:pt>
                <c:pt idx="6">
                  <c:v>Deutz (4.8%)</c:v>
                </c:pt>
                <c:pt idx="7">
                  <c:v>Ayala (1.7%)</c:v>
                </c:pt>
                <c:pt idx="8">
                  <c:v>De Bligny (1.3%)</c:v>
                </c:pt>
                <c:pt idx="9">
                  <c:v>Laurent Perrier (3.9%)</c:v>
                </c:pt>
              </c:strCache>
            </c:strRef>
          </c:cat>
          <c:val>
            <c:numRef>
              <c:f>Sheet1!$B$2:$B$11</c:f>
              <c:numCache>
                <c:formatCode>General</c:formatCode>
                <c:ptCount val="10"/>
                <c:pt idx="0">
                  <c:v>0.16151541394058308</c:v>
                </c:pt>
                <c:pt idx="1">
                  <c:v>0.15421777405278594</c:v>
                </c:pt>
                <c:pt idx="2">
                  <c:v>0.10446594729370248</c:v>
                </c:pt>
                <c:pt idx="3">
                  <c:v>0.1036001240179905</c:v>
                </c:pt>
                <c:pt idx="4">
                  <c:v>0.053948232334387676</c:v>
                </c:pt>
                <c:pt idx="5">
                  <c:v>0.04144001353554293</c:v>
                </c:pt>
                <c:pt idx="6">
                  <c:v>0.03368688220507122</c:v>
                </c:pt>
                <c:pt idx="7">
                  <c:v>0.03117434926891071</c:v>
                </c:pt>
                <c:pt idx="8">
                  <c:v>0.027957087818707982</c:v>
                </c:pt>
                <c:pt idx="9">
                  <c:v>0.0235277156734003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Grand Cru Blanc de Noirs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Malard Grand Cru Blanc de Blancs 750ml (0.8%)</c:v>
                </c:pt>
                <c:pt idx="5">
                  <c:v>Champagne Besserat de Bellefon Bleu Brut 750ml (1.7%)</c:v>
                </c:pt>
                <c:pt idx="6">
                  <c:v>Champagne Canard-Duchêne Blanc Cuvée Léonie Brut 750ml (2.6%)</c:v>
                </c:pt>
                <c:pt idx="7">
                  <c:v>Champagne Château de Bligny 750ml (1.3%)</c:v>
                </c:pt>
                <c:pt idx="8">
                  <c:v>Champagne Georges Vesselle Grand Cru Brut 750ml (1.0%)</c:v>
                </c:pt>
                <c:pt idx="9">
                  <c:v>Champagne Vranken Demoiselle Tête de Cuvée 750ml (1.4%)</c:v>
                </c:pt>
              </c:strCache>
            </c:strRef>
          </c:cat>
          <c:val>
            <c:numRef>
              <c:f>Sheet1!$B$2:$B$11</c:f>
              <c:numCache>
                <c:formatCode>General</c:formatCode>
                <c:ptCount val="10"/>
                <c:pt idx="0">
                  <c:v>0.12593252064739321</c:v>
                </c:pt>
                <c:pt idx="1">
                  <c:v>0.08498899419268474</c:v>
                </c:pt>
                <c:pt idx="2">
                  <c:v>0.07984170060683368</c:v>
                </c:pt>
                <c:pt idx="3">
                  <c:v>0.07042702354353385</c:v>
                </c:pt>
                <c:pt idx="4">
                  <c:v>0.050021049494043575</c:v>
                </c:pt>
                <c:pt idx="5">
                  <c:v>0.04847489640892666</c:v>
                </c:pt>
                <c:pt idx="6">
                  <c:v>0.04385810782723429</c:v>
                </c:pt>
                <c:pt idx="7">
                  <c:v>0.03198524894904867</c:v>
                </c:pt>
                <c:pt idx="8">
                  <c:v>0.03089971896726704</c:v>
                </c:pt>
                <c:pt idx="9">
                  <c:v>0.0258069193735026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750ml (4.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Prosecco Carlo V Cuvée Del Imperator 750ml (5.4%)</c:v>
                </c:pt>
                <c:pt idx="3">
                  <c:v>Champagne Canard-Duchêne Blanc Cuvée Léonie Brut 750ml (2.6%)</c:v>
                </c:pt>
                <c:pt idx="4">
                  <c:v>Champagne Nicolas Feuillatte Réserve Exclusive Brut 750ml (3.0%)</c:v>
                </c:pt>
                <c:pt idx="5">
                  <c:v>Champagne Louis Martin Brut 1er Cru 750ml (0.5%)</c:v>
                </c:pt>
                <c:pt idx="6">
                  <c:v>Crémant de Bourgogne Patriarche Brut 750ml (1.8%)</c:v>
                </c:pt>
                <c:pt idx="7">
                  <c:v>Champagne Besserat de Bellefon Bleu Brut 750ml (1.7%)</c:v>
                </c:pt>
                <c:pt idx="8">
                  <c:v>Champagne Château de Bligny 750ml (1.3%)</c:v>
                </c:pt>
                <c:pt idx="9">
                  <c:v>Champagne Georges Vesselle Grand Cru Brut 750ml (1.0%)</c:v>
                </c:pt>
              </c:strCache>
            </c:strRef>
          </c:cat>
          <c:val>
            <c:numRef>
              <c:f>Sheet1!$B$2:$B$11</c:f>
              <c:numCache>
                <c:formatCode>General</c:formatCode>
                <c:ptCount val="10"/>
                <c:pt idx="0">
                  <c:v>0.34355652124978736</c:v>
                </c:pt>
                <c:pt idx="1">
                  <c:v>0.04653107277757506</c:v>
                </c:pt>
                <c:pt idx="2">
                  <c:v>0.04427993969480391</c:v>
                </c:pt>
                <c:pt idx="3">
                  <c:v>0.03722430876831757</c:v>
                </c:pt>
                <c:pt idx="4">
                  <c:v>0.03655875609766316</c:v>
                </c:pt>
                <c:pt idx="5">
                  <c:v>0.02284054907078971</c:v>
                </c:pt>
                <c:pt idx="6">
                  <c:v>0.02274291903745557</c:v>
                </c:pt>
                <c:pt idx="7">
                  <c:v>0.021154909050786312</c:v>
                </c:pt>
                <c:pt idx="8">
                  <c:v>0.02095604358300521</c:v>
                </c:pt>
                <c:pt idx="9">
                  <c:v>0.0208219109429872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750ml (4.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Nicolas Feuillatte Réserve Exclusive Brut 750ml (3.0%)</c:v>
                </c:pt>
                <c:pt idx="2">
                  <c:v>Champagne Heidsieck Monopole Silver Top 750ml (4.2%)</c:v>
                </c:pt>
                <c:pt idx="3">
                  <c:v>Champagne Canard-Duchêne Blanc Cuvée Léonie Brut 750ml (2.6%)</c:v>
                </c:pt>
                <c:pt idx="4">
                  <c:v>Champagne Louis Martin Brut 1er Cru 750ml (0.5%)</c:v>
                </c:pt>
                <c:pt idx="5">
                  <c:v>Champagne Georges Vesselle Grand Cru Brut 750ml (1.0%)</c:v>
                </c:pt>
                <c:pt idx="6">
                  <c:v>Prosecco Carlo V Cuvée Del Imperator 750ml (5.4%)</c:v>
                </c:pt>
                <c:pt idx="7">
                  <c:v>Champagne Besserat de Bellefon Bleu Brut 750ml (1.7%)</c:v>
                </c:pt>
                <c:pt idx="8">
                  <c:v>Champagne Château de Bligny 750ml (1.3%)</c:v>
                </c:pt>
                <c:pt idx="9">
                  <c:v>Champagne E.Nicolas Rosé 750ml (0.9%)</c:v>
                </c:pt>
              </c:strCache>
            </c:strRef>
          </c:cat>
          <c:val>
            <c:numRef>
              <c:f>Sheet1!$B$2:$B$11</c:f>
              <c:numCache>
                <c:formatCode>General</c:formatCode>
                <c:ptCount val="10"/>
                <c:pt idx="0">
                  <c:v>0.29468049462828405</c:v>
                </c:pt>
                <c:pt idx="1">
                  <c:v>0.0644177964791199</c:v>
                </c:pt>
                <c:pt idx="2">
                  <c:v>0.06169174360498045</c:v>
                </c:pt>
                <c:pt idx="3">
                  <c:v>0.042725924626458786</c:v>
                </c:pt>
                <c:pt idx="4">
                  <c:v>0.03872710711065816</c:v>
                </c:pt>
                <c:pt idx="5">
                  <c:v>0.035404679611051565</c:v>
                </c:pt>
                <c:pt idx="6">
                  <c:v>0.03088854530998586</c:v>
                </c:pt>
                <c:pt idx="7">
                  <c:v>0.022341733824278814</c:v>
                </c:pt>
                <c:pt idx="8">
                  <c:v>0.02221214116708121</c:v>
                </c:pt>
                <c:pt idx="9">
                  <c:v>0.0190495255677279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Laurent-Perrier Blanc La Cuvée 750ml (2.7%)</c:v>
                </c:pt>
                <c:pt idx="3">
                  <c:v>Champagne Canard-Duchêne Blanc Cuvée Léonie Brut 750ml (2.6%)</c:v>
                </c:pt>
                <c:pt idx="4">
                  <c:v>Champagne Heidsieck Monopole Silver Top 750ml (4.2%)</c:v>
                </c:pt>
                <c:pt idx="5">
                  <c:v>Champagne Nicolas Feuillatte Réserve Exclusive Brut 750ml (3.0%)</c:v>
                </c:pt>
                <c:pt idx="6">
                  <c:v>Champagne Vranken Demoiselle Tête de Cuvée 750ml (1.4%)</c:v>
                </c:pt>
                <c:pt idx="7">
                  <c:v>Champagne Besserat de Bellefon Bleu Brut 750ml (1.7%)</c:v>
                </c:pt>
                <c:pt idx="8">
                  <c:v>Champagne Taittinger Prestige Brut 750ml (1.6%)</c:v>
                </c:pt>
                <c:pt idx="9">
                  <c:v>Champagne Château de Bligny 750ml (1.3%)</c:v>
                </c:pt>
              </c:strCache>
            </c:strRef>
          </c:cat>
          <c:val>
            <c:numRef>
              <c:f>Sheet1!$B$2:$B$11</c:f>
              <c:numCache>
                <c:formatCode>General</c:formatCode>
                <c:ptCount val="10"/>
                <c:pt idx="0">
                  <c:v>0.11523069461503996</c:v>
                </c:pt>
                <c:pt idx="1">
                  <c:v>0.10621578570399404</c:v>
                </c:pt>
                <c:pt idx="2">
                  <c:v>0.058034409561748435</c:v>
                </c:pt>
                <c:pt idx="3">
                  <c:v>0.04978384642546524</c:v>
                </c:pt>
                <c:pt idx="4">
                  <c:v>0.0467975372871959</c:v>
                </c:pt>
                <c:pt idx="5">
                  <c:v>0.046100050841870716</c:v>
                </c:pt>
                <c:pt idx="6">
                  <c:v>0.026886515735991472</c:v>
                </c:pt>
                <c:pt idx="7">
                  <c:v>0.026745476641730218</c:v>
                </c:pt>
                <c:pt idx="8">
                  <c:v>0.024756709440362606</c:v>
                </c:pt>
                <c:pt idx="9">
                  <c:v>0.024689617445777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Laurent-Perrier Blanc La Cuvée 750ml (2.7%)</c:v>
                </c:pt>
                <c:pt idx="3">
                  <c:v>Champagne Canard-Duchêne Blanc Cuvée Léonie Brut 750ml (2.6%)</c:v>
                </c:pt>
                <c:pt idx="4">
                  <c:v>Champagne Deutz Brut Classique 750ml (3.4%)</c:v>
                </c:pt>
                <c:pt idx="5">
                  <c:v>Champagne Nicolas Feuillatte Réserve Exclusive Brut 750ml (3.0%)</c:v>
                </c:pt>
                <c:pt idx="6">
                  <c:v>Champagne Ruinart Brut 750ml (7.3%)</c:v>
                </c:pt>
                <c:pt idx="7">
                  <c:v>Champagne Taittinger Prestige Brut 750ml (1.6%)</c:v>
                </c:pt>
                <c:pt idx="8">
                  <c:v>Champagne Heidsieck Monopole Silver Top 750ml (4.2%)</c:v>
                </c:pt>
                <c:pt idx="9">
                  <c:v>Champagne Ayala Brut Majeur 750ml (1.7%)</c:v>
                </c:pt>
              </c:strCache>
            </c:strRef>
          </c:cat>
          <c:val>
            <c:numRef>
              <c:f>Sheet1!$B$2:$B$11</c:f>
              <c:numCache>
                <c:formatCode>General</c:formatCode>
                <c:ptCount val="10"/>
                <c:pt idx="0">
                  <c:v>0.09128738960442223</c:v>
                </c:pt>
                <c:pt idx="1">
                  <c:v>0.08884052105763213</c:v>
                </c:pt>
                <c:pt idx="2">
                  <c:v>0.08116537132797345</c:v>
                </c:pt>
                <c:pt idx="3">
                  <c:v>0.04672962520032411</c:v>
                </c:pt>
                <c:pt idx="4">
                  <c:v>0.041467217466374696</c:v>
                </c:pt>
                <c:pt idx="5">
                  <c:v>0.041126508884375364</c:v>
                </c:pt>
                <c:pt idx="6">
                  <c:v>0.04057128157355827</c:v>
                </c:pt>
                <c:pt idx="7">
                  <c:v>0.040349375585358234</c:v>
                </c:pt>
                <c:pt idx="8">
                  <c:v>0.03856001355468008</c:v>
                </c:pt>
                <c:pt idx="9">
                  <c:v>0.028868501843931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Ruinart Brut 750ml (7.3%)</c:v>
                </c:pt>
                <c:pt idx="4">
                  <c:v>Champagne Heidsieck Monopole Silver Top 750ml (4.2%)</c:v>
                </c:pt>
                <c:pt idx="5">
                  <c:v>Champagne Nicolas Feuillatte Réserve Exclusive Brut 750ml (3.0%)</c:v>
                </c:pt>
                <c:pt idx="6">
                  <c:v>Champagne Laurent-Perrier Blanc La Cuvée 750ml (2.7%)</c:v>
                </c:pt>
                <c:pt idx="7">
                  <c:v>Champagne Deutz Brut Classique 750ml (3.4%)</c:v>
                </c:pt>
                <c:pt idx="8">
                  <c:v>Champagne Ayala Brut Majeur 750ml (1.7%)</c:v>
                </c:pt>
                <c:pt idx="9">
                  <c:v>Champagne Vranken Demoiselle Rosé Prestige 750ml (2.0%)</c:v>
                </c:pt>
              </c:strCache>
            </c:strRef>
          </c:cat>
          <c:val>
            <c:numRef>
              <c:f>Sheet1!$B$2:$B$11</c:f>
              <c:numCache>
                <c:formatCode>General</c:formatCode>
                <c:ptCount val="10"/>
                <c:pt idx="0">
                  <c:v>0.11559139147672284</c:v>
                </c:pt>
                <c:pt idx="1">
                  <c:v>0.0811024790146354</c:v>
                </c:pt>
                <c:pt idx="2">
                  <c:v>0.05899138582773749</c:v>
                </c:pt>
                <c:pt idx="3">
                  <c:v>0.044971817891846726</c:v>
                </c:pt>
                <c:pt idx="4">
                  <c:v>0.033252428415038275</c:v>
                </c:pt>
                <c:pt idx="5">
                  <c:v>0.032483560553654256</c:v>
                </c:pt>
                <c:pt idx="6">
                  <c:v>0.03243955008860149</c:v>
                </c:pt>
                <c:pt idx="7">
                  <c:v>0.02687543500429087</c:v>
                </c:pt>
                <c:pt idx="8">
                  <c:v>0.02635288406153621</c:v>
                </c:pt>
                <c:pt idx="9">
                  <c:v>0.0253956308119047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Ruinart Brut 750ml (7.3%)</c:v>
                </c:pt>
                <c:pt idx="3">
                  <c:v>Champagne Canard-Duchêne Blanc Cuvée Léonie Brut 750ml (2.6%)</c:v>
                </c:pt>
                <c:pt idx="4">
                  <c:v>Champagne Nicolas Feuillatte Réserve Exclusive Brut 750ml (3.0%)</c:v>
                </c:pt>
                <c:pt idx="5">
                  <c:v>Champagne Laurent-Perrier Blanc La Cuvée 750ml (2.7%)</c:v>
                </c:pt>
                <c:pt idx="6">
                  <c:v>Champagne Vranken Demoiselle Rosé Prestige 750ml (2.0%)</c:v>
                </c:pt>
                <c:pt idx="7">
                  <c:v>Champagne Deutz Brut Classique 750ml (3.4%)</c:v>
                </c:pt>
                <c:pt idx="8">
                  <c:v>Champagne Bollinger Special Cuvée Brut 750ml (1.2%)</c:v>
                </c:pt>
                <c:pt idx="9">
                  <c:v>Champagne Heidsieck Monopole Silver Top 750ml (4.2%)</c:v>
                </c:pt>
              </c:strCache>
            </c:strRef>
          </c:cat>
          <c:val>
            <c:numRef>
              <c:f>Sheet1!$B$2:$B$11</c:f>
              <c:numCache>
                <c:formatCode>General</c:formatCode>
                <c:ptCount val="10"/>
                <c:pt idx="0">
                  <c:v>0.11292729155747538</c:v>
                </c:pt>
                <c:pt idx="1">
                  <c:v>0.07276036146059696</c:v>
                </c:pt>
                <c:pt idx="2">
                  <c:v>0.0708898887302221</c:v>
                </c:pt>
                <c:pt idx="3">
                  <c:v>0.06593474645770968</c:v>
                </c:pt>
                <c:pt idx="4">
                  <c:v>0.037821073169270324</c:v>
                </c:pt>
                <c:pt idx="5">
                  <c:v>0.03420806430466806</c:v>
                </c:pt>
                <c:pt idx="6">
                  <c:v>0.03025357975343468</c:v>
                </c:pt>
                <c:pt idx="7">
                  <c:v>0.027979487457998543</c:v>
                </c:pt>
                <c:pt idx="8">
                  <c:v>0.02644234398348119</c:v>
                </c:pt>
                <c:pt idx="9">
                  <c:v>0.0264234958129689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1er Cru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Vranken Demoiselle Rosé Prestige 750ml (2.0%)</c:v>
                </c:pt>
                <c:pt idx="3">
                  <c:v>Champagne Nicolas Feuillatte Réserve Exclusive Brut 750ml (3.0%)</c:v>
                </c:pt>
                <c:pt idx="4">
                  <c:v>Champagne Heidsieck Monopole Silver Top 750ml (4.2%)</c:v>
                </c:pt>
                <c:pt idx="5">
                  <c:v>Prosecco Carlo V Cuvée Del Imperator 750ml (5.4%)</c:v>
                </c:pt>
                <c:pt idx="6">
                  <c:v>Champagne Vranken Demoiselle Tête de Cuvée 750ml (1.4%)</c:v>
                </c:pt>
                <c:pt idx="7">
                  <c:v>Crémant d'Alsace Muré Prestige Bio 750ml (1.3%)</c:v>
                </c:pt>
                <c:pt idx="8">
                  <c:v>Champagne E.Nicolas Rosé 750ml (0.9%)</c:v>
                </c:pt>
                <c:pt idx="9">
                  <c:v>Champagne Laurent-Perrier Blanc La Cuvée 750ml (2.7%)</c:v>
                </c:pt>
              </c:strCache>
            </c:strRef>
          </c:cat>
          <c:val>
            <c:numRef>
              <c:f>Sheet1!$B$2:$B$11</c:f>
              <c:numCache>
                <c:formatCode>General</c:formatCode>
                <c:ptCount val="10"/>
                <c:pt idx="0">
                  <c:v>0.13061577875950686</c:v>
                </c:pt>
                <c:pt idx="1">
                  <c:v>0.0791341891185808</c:v>
                </c:pt>
                <c:pt idx="2">
                  <c:v>0.05150631891747798</c:v>
                </c:pt>
                <c:pt idx="3">
                  <c:v>0.04234881982967495</c:v>
                </c:pt>
                <c:pt idx="4">
                  <c:v>0.035077146478731495</c:v>
                </c:pt>
                <c:pt idx="5">
                  <c:v>0.030241872038335834</c:v>
                </c:pt>
                <c:pt idx="6">
                  <c:v>0.026239173939417017</c:v>
                </c:pt>
                <c:pt idx="7">
                  <c:v>0.024291044988211826</c:v>
                </c:pt>
                <c:pt idx="8">
                  <c:v>0.02420781678727586</c:v>
                </c:pt>
                <c:pt idx="9">
                  <c:v>0.0235249716919694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1er Cru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Champagne Malard Brut 1er Cru 750ml (4.1%)</c:v>
                </c:pt>
                <c:pt idx="3">
                  <c:v>Champagne Nicolas Feuillatte Réserve Exclusive Brut 750ml (3.0%)</c:v>
                </c:pt>
                <c:pt idx="4">
                  <c:v>Champagne Heidsieck Monopole Silver Top 750ml (4.2%)</c:v>
                </c:pt>
                <c:pt idx="5">
                  <c:v>Champagne Laurent-Perrier Blanc La Cuvée 750ml (2.7%)</c:v>
                </c:pt>
                <c:pt idx="6">
                  <c:v>Champagne Vranken Demoiselle Tête de Cuvée 750ml (1.4%)</c:v>
                </c:pt>
                <c:pt idx="7">
                  <c:v>Prosecco Carlo V Cuvée Del Imperator 750ml (5.4%)</c:v>
                </c:pt>
                <c:pt idx="8">
                  <c:v>Champagne Ruinart Brut 750ml (7.3%)</c:v>
                </c:pt>
                <c:pt idx="9">
                  <c:v>Champagne Canard-Duchêne Blanc Cuvée Léonie Brut 750ml (2.6%)</c:v>
                </c:pt>
              </c:strCache>
            </c:strRef>
          </c:cat>
          <c:val>
            <c:numRef>
              <c:f>Sheet1!$B$2:$B$11</c:f>
              <c:numCache>
                <c:formatCode>General</c:formatCode>
                <c:ptCount val="10"/>
                <c:pt idx="0">
                  <c:v>0.09496096729839174</c:v>
                </c:pt>
                <c:pt idx="1">
                  <c:v>0.06438340909033174</c:v>
                </c:pt>
                <c:pt idx="2">
                  <c:v>0.05581481787431247</c:v>
                </c:pt>
                <c:pt idx="3">
                  <c:v>0.04568994516202082</c:v>
                </c:pt>
                <c:pt idx="4">
                  <c:v>0.033685417011087064</c:v>
                </c:pt>
                <c:pt idx="5">
                  <c:v>0.031690824490459235</c:v>
                </c:pt>
                <c:pt idx="6">
                  <c:v>0.030906076938146385</c:v>
                </c:pt>
                <c:pt idx="7">
                  <c:v>0.025975669008805713</c:v>
                </c:pt>
                <c:pt idx="8">
                  <c:v>0.02441726111309715</c:v>
                </c:pt>
                <c:pt idx="9">
                  <c:v>0.023020231904263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Vranken Demoiselle Rosé Prestige 750ml (2.0%)</c:v>
                </c:pt>
                <c:pt idx="3">
                  <c:v>Champagne Ruinart Brut 750ml (7.3%)</c:v>
                </c:pt>
                <c:pt idx="4">
                  <c:v>Champagne Laurent-Perrier Blanc La Cuvée 750ml (2.7%)</c:v>
                </c:pt>
                <c:pt idx="5">
                  <c:v>Champagne Canard-Duchêne Blanc Cuvée Léonie Brut 750ml (2.6%)</c:v>
                </c:pt>
                <c:pt idx="6">
                  <c:v>Champagne Heidsieck Monopole Silver Top 750ml (4.2%)</c:v>
                </c:pt>
                <c:pt idx="7">
                  <c:v>Champagne Nicolas Feuillatte Réserve Exclusive Brut 750ml (3.0%)</c:v>
                </c:pt>
                <c:pt idx="8">
                  <c:v>Champagne Vranken Demoiselle Tête de Cuvée 750ml (1.4%)</c:v>
                </c:pt>
                <c:pt idx="9">
                  <c:v>Champagne Taittinger Prestige Brut 750ml (1.6%)</c:v>
                </c:pt>
              </c:strCache>
            </c:strRef>
          </c:cat>
          <c:val>
            <c:numRef>
              <c:f>Sheet1!$B$2:$B$11</c:f>
              <c:numCache>
                <c:formatCode>General</c:formatCode>
                <c:ptCount val="10"/>
                <c:pt idx="0">
                  <c:v>0.08621866381914549</c:v>
                </c:pt>
                <c:pt idx="1">
                  <c:v>0.0766380537324353</c:v>
                </c:pt>
                <c:pt idx="2">
                  <c:v>0.04489507850854059</c:v>
                </c:pt>
                <c:pt idx="3">
                  <c:v>0.04042720760845907</c:v>
                </c:pt>
                <c:pt idx="4">
                  <c:v>0.03941943415679891</c:v>
                </c:pt>
                <c:pt idx="5">
                  <c:v>0.03506831674417245</c:v>
                </c:pt>
                <c:pt idx="6">
                  <c:v>0.03450498481222296</c:v>
                </c:pt>
                <c:pt idx="7">
                  <c:v>0.03448896660445743</c:v>
                </c:pt>
                <c:pt idx="8">
                  <c:v>0.03046584549370151</c:v>
                </c:pt>
                <c:pt idx="9">
                  <c:v>0.0247489187037973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lo V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Savian (2.1%)</c:v>
                </c:pt>
                <c:pt idx="2">
                  <c:v>Bottega (3.7%)</c:v>
                </c:pt>
                <c:pt idx="3">
                  <c:v>Patriarche (2.6%)</c:v>
                </c:pt>
                <c:pt idx="4">
                  <c:v>Bouvet Ladubay (1.5%)</c:v>
                </c:pt>
                <c:pt idx="5">
                  <c:v>Muré (1.3%)</c:v>
                </c:pt>
                <c:pt idx="6">
                  <c:v>Malard (6.0%)</c:v>
                </c:pt>
                <c:pt idx="7">
                  <c:v>Les Grumes  (1.0%)</c:v>
                </c:pt>
                <c:pt idx="8">
                  <c:v>Heidsieck &amp; C° Monopole (4.2%)</c:v>
                </c:pt>
                <c:pt idx="9">
                  <c:v>Nicolas Feuillatte (4.5%)</c:v>
                </c:pt>
              </c:strCache>
            </c:strRef>
          </c:cat>
          <c:val>
            <c:numRef>
              <c:f>Sheet1!$B$2:$B$11</c:f>
              <c:numCache>
                <c:formatCode>General</c:formatCode>
                <c:ptCount val="10"/>
                <c:pt idx="0">
                  <c:v>0.17005163017753272</c:v>
                </c:pt>
                <c:pt idx="1">
                  <c:v>0.13009483015341286</c:v>
                </c:pt>
                <c:pt idx="2">
                  <c:v>0.10782933056277894</c:v>
                </c:pt>
                <c:pt idx="3">
                  <c:v>0.050598255158411466</c:v>
                </c:pt>
                <c:pt idx="4">
                  <c:v>0.04603626773119459</c:v>
                </c:pt>
                <c:pt idx="5">
                  <c:v>0.044979604844290005</c:v>
                </c:pt>
                <c:pt idx="6">
                  <c:v>0.04062731809783767</c:v>
                </c:pt>
                <c:pt idx="7">
                  <c:v>0.04008550917812808</c:v>
                </c:pt>
                <c:pt idx="8">
                  <c:v>0.03619170755575186</c:v>
                </c:pt>
                <c:pt idx="9">
                  <c:v>0.02925713636098472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Ruinart Brut 750ml (7.3%)</c:v>
                </c:pt>
                <c:pt idx="4">
                  <c:v>Champagne Laurent-Perrier Blanc La Cuvée 750ml (2.7%)</c:v>
                </c:pt>
                <c:pt idx="5">
                  <c:v>Champagne Vranken Demoiselle Rosé Prestige 750ml (2.0%)</c:v>
                </c:pt>
                <c:pt idx="6">
                  <c:v>Champagne Nicolas Feuillatte Réserve Exclusive Brut 750ml (3.0%)</c:v>
                </c:pt>
                <c:pt idx="7">
                  <c:v>Champagne Heidsieck Monopole Silver Top 750ml (4.2%)</c:v>
                </c:pt>
                <c:pt idx="8">
                  <c:v>Champagne Vranken Demoiselle Tête de Cuvée 750ml (1.4%)</c:v>
                </c:pt>
                <c:pt idx="9">
                  <c:v>Prosecco Carlo V Cuvée Del Imperator 750ml (5.4%)</c:v>
                </c:pt>
              </c:strCache>
            </c:strRef>
          </c:cat>
          <c:val>
            <c:numRef>
              <c:f>Sheet1!$B$2:$B$11</c:f>
              <c:numCache>
                <c:formatCode>General</c:formatCode>
                <c:ptCount val="10"/>
                <c:pt idx="0">
                  <c:v>0.10498545835714833</c:v>
                </c:pt>
                <c:pt idx="1">
                  <c:v>0.07767799932195907</c:v>
                </c:pt>
                <c:pt idx="2">
                  <c:v>0.03962754944593448</c:v>
                </c:pt>
                <c:pt idx="3">
                  <c:v>0.03861959323607898</c:v>
                </c:pt>
                <c:pt idx="4">
                  <c:v>0.037758085487301946</c:v>
                </c:pt>
                <c:pt idx="5">
                  <c:v>0.037622236976367594</c:v>
                </c:pt>
                <c:pt idx="6">
                  <c:v>0.030037460780169712</c:v>
                </c:pt>
                <c:pt idx="7">
                  <c:v>0.0281020533531545</c:v>
                </c:pt>
                <c:pt idx="8">
                  <c:v>0.027131556976788294</c:v>
                </c:pt>
                <c:pt idx="9">
                  <c:v>0.023822045427148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hâteau de Bligny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Besserat de Bellefon Bleu Brut 750ml (1.7%)</c:v>
                </c:pt>
                <c:pt idx="5">
                  <c:v>Champagne Canard-Duchêne Blanc Cuvée Léonie Brut 750ml (2.6%)</c:v>
                </c:pt>
                <c:pt idx="6">
                  <c:v>Prosecco Carlo V Cuvée Del Imperator 750ml (5.4%)</c:v>
                </c:pt>
                <c:pt idx="7">
                  <c:v>Champagne Georges Vesselle Grand Cru Brut 750ml (1.0%)</c:v>
                </c:pt>
                <c:pt idx="8">
                  <c:v>Crémant de Bourgogne Patriarche Brut 750ml (1.8%)</c:v>
                </c:pt>
                <c:pt idx="9">
                  <c:v>Champagne Laurent-Perrier Blanc La Cuvée 750ml (2.7%)</c:v>
                </c:pt>
              </c:strCache>
            </c:strRef>
          </c:cat>
          <c:val>
            <c:numRef>
              <c:f>Sheet1!$B$2:$B$11</c:f>
              <c:numCache>
                <c:formatCode>General</c:formatCode>
                <c:ptCount val="10"/>
                <c:pt idx="0">
                  <c:v>0.21954890721375211</c:v>
                </c:pt>
                <c:pt idx="1">
                  <c:v>0.10711506575480104</c:v>
                </c:pt>
                <c:pt idx="2">
                  <c:v>0.05668613653815981</c:v>
                </c:pt>
                <c:pt idx="3">
                  <c:v>0.03839803009174605</c:v>
                </c:pt>
                <c:pt idx="4">
                  <c:v>0.03131153608513328</c:v>
                </c:pt>
                <c:pt idx="5">
                  <c:v>0.03107709597791323</c:v>
                </c:pt>
                <c:pt idx="6">
                  <c:v>0.027620528804744277</c:v>
                </c:pt>
                <c:pt idx="7">
                  <c:v>0.023683226337330804</c:v>
                </c:pt>
                <c:pt idx="8">
                  <c:v>0.021956261138920744</c:v>
                </c:pt>
                <c:pt idx="9">
                  <c:v>0.018176875724820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hâteau de Bligny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Champagne Besserat de Bellefon Bleu Brut 750ml (1.7%)</c:v>
                </c:pt>
                <c:pt idx="5">
                  <c:v>Champagne Nicolas Feuillatte Réserve Exclusive Brut 750ml (3.0%)</c:v>
                </c:pt>
                <c:pt idx="6">
                  <c:v>Champagne Georges Vesselle Grand Cru Brut 750ml (1.0%)</c:v>
                </c:pt>
                <c:pt idx="7">
                  <c:v>Champagne Laurent-Perrier Blanc La Cuvée 750ml (2.7%)</c:v>
                </c:pt>
                <c:pt idx="8">
                  <c:v>Champagne Vranken Demoiselle Tête de Cuvée 750ml (1.4%)</c:v>
                </c:pt>
                <c:pt idx="9">
                  <c:v>Champagne De Saint-Gall Tradition 1er Cru 750ml (0.8%)</c:v>
                </c:pt>
              </c:strCache>
            </c:strRef>
          </c:cat>
          <c:val>
            <c:numRef>
              <c:f>Sheet1!$B$2:$B$11</c:f>
              <c:numCache>
                <c:formatCode>General</c:formatCode>
                <c:ptCount val="10"/>
                <c:pt idx="0">
                  <c:v>0.13955431690021047</c:v>
                </c:pt>
                <c:pt idx="1">
                  <c:v>0.09672523114055225</c:v>
                </c:pt>
                <c:pt idx="2">
                  <c:v>0.08362904890956166</c:v>
                </c:pt>
                <c:pt idx="3">
                  <c:v>0.05222832848794748</c:v>
                </c:pt>
                <c:pt idx="4">
                  <c:v>0.04636388854307026</c:v>
                </c:pt>
                <c:pt idx="5">
                  <c:v>0.045092180524836975</c:v>
                </c:pt>
                <c:pt idx="6">
                  <c:v>0.026336771768437996</c:v>
                </c:pt>
                <c:pt idx="7">
                  <c:v>0.022763767708489535</c:v>
                </c:pt>
                <c:pt idx="8">
                  <c:v>0.021848641973514833</c:v>
                </c:pt>
                <c:pt idx="9">
                  <c:v>0.0199526343952373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ouis Martin Brut 1er Cru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Georges Vesselle Grand Cru Brut 750ml (1.0%)</c:v>
                </c:pt>
                <c:pt idx="4">
                  <c:v>Champagne Heidsieck Monopole Silver Top 750ml (4.2%)</c:v>
                </c:pt>
                <c:pt idx="5">
                  <c:v>Crémant de Bourgogne Patriarche Brut 750ml (1.8%)</c:v>
                </c:pt>
                <c:pt idx="6">
                  <c:v>Champagne Besserat de Bellefon Bleu Brut 750ml (1.7%)</c:v>
                </c:pt>
                <c:pt idx="7">
                  <c:v>Champagne E.Nicolas Rosé 750ml (0.9%)</c:v>
                </c:pt>
                <c:pt idx="8">
                  <c:v>Prosecco Carlo V Cuvée Del Imperator 750ml (5.4%)</c:v>
                </c:pt>
                <c:pt idx="9">
                  <c:v>Mousseux Château Moncontour Brut Vouvray 750ml (1.5%)</c:v>
                </c:pt>
              </c:strCache>
            </c:strRef>
          </c:cat>
          <c:val>
            <c:numRef>
              <c:f>Sheet1!$B$2:$B$11</c:f>
              <c:numCache>
                <c:formatCode>General</c:formatCode>
                <c:ptCount val="10"/>
                <c:pt idx="0">
                  <c:v>0.3172671491639931</c:v>
                </c:pt>
                <c:pt idx="1">
                  <c:v>0.23588537846632698</c:v>
                </c:pt>
                <c:pt idx="2">
                  <c:v>0.0508582505169624</c:v>
                </c:pt>
                <c:pt idx="3">
                  <c:v>0.04468734456023848</c:v>
                </c:pt>
                <c:pt idx="4">
                  <c:v>0.044407520197443186</c:v>
                </c:pt>
                <c:pt idx="5">
                  <c:v>0.01981955548479218</c:v>
                </c:pt>
                <c:pt idx="6">
                  <c:v>0.019494696320002287</c:v>
                </c:pt>
                <c:pt idx="7">
                  <c:v>0.015422789763201853</c:v>
                </c:pt>
                <c:pt idx="8">
                  <c:v>0.015339318534331549</c:v>
                </c:pt>
                <c:pt idx="9">
                  <c:v>0.01525311190223593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ouis Martin Brut 1er Cru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Nicolas Feuillatte Réserve Exclusive Brut 750ml (3.0%)</c:v>
                </c:pt>
                <c:pt idx="3">
                  <c:v>Champagne Heidsieck Monopole Silver Top 750ml (4.2%)</c:v>
                </c:pt>
                <c:pt idx="4">
                  <c:v>Champagne Georges Vesselle Grand Cru Brut 750ml (1.0%)</c:v>
                </c:pt>
                <c:pt idx="5">
                  <c:v>Champagne Besserat de Bellefon Bleu Brut 750ml (1.7%)</c:v>
                </c:pt>
                <c:pt idx="6">
                  <c:v>Champagne Christophe Lefèvre Cuvée Prestige 750ml (0.4%)</c:v>
                </c:pt>
                <c:pt idx="7">
                  <c:v>Champagne Canard-Duchêne Blanc Cuvée Léonie Brut 750ml (2.6%)</c:v>
                </c:pt>
                <c:pt idx="8">
                  <c:v>Champagne Château de Bligny 750ml (1.3%)</c:v>
                </c:pt>
                <c:pt idx="9">
                  <c:v>Champagne Malard Grand Cru Blanc de Noirs 750ml (0.5%)</c:v>
                </c:pt>
              </c:strCache>
            </c:strRef>
          </c:cat>
          <c:val>
            <c:numRef>
              <c:f>Sheet1!$B$2:$B$11</c:f>
              <c:numCache>
                <c:formatCode>General</c:formatCode>
                <c:ptCount val="10"/>
                <c:pt idx="0">
                  <c:v>0.2813664819325849</c:v>
                </c:pt>
                <c:pt idx="1">
                  <c:v>0.20977185313358293</c:v>
                </c:pt>
                <c:pt idx="2">
                  <c:v>0.06834412008362492</c:v>
                </c:pt>
                <c:pt idx="3">
                  <c:v>0.061326161403715884</c:v>
                </c:pt>
                <c:pt idx="4">
                  <c:v>0.05819444169220519</c:v>
                </c:pt>
                <c:pt idx="5">
                  <c:v>0.03318927067024214</c:v>
                </c:pt>
                <c:pt idx="6">
                  <c:v>0.022714682212352708</c:v>
                </c:pt>
                <c:pt idx="7">
                  <c:v>0.01850606913423864</c:v>
                </c:pt>
                <c:pt idx="8">
                  <c:v>0.017778606449191017</c:v>
                </c:pt>
                <c:pt idx="9">
                  <c:v>0.016944189536406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E.Nicolas Brut 750ml (11.6%)</c:v>
                </c:pt>
                <c:pt idx="2">
                  <c:v>Champagne Malard Brut 1er Cru 750ml (4.1%)</c:v>
                </c:pt>
                <c:pt idx="3">
                  <c:v>Champagne Ruinart Brut 750ml (7.3%)</c:v>
                </c:pt>
                <c:pt idx="4">
                  <c:v>Champagne Nicolas Feuillatte Réserve Exclusive Brut 750ml (3.0%)</c:v>
                </c:pt>
                <c:pt idx="5">
                  <c:v>Champagne Canard-Duchêne Blanc Cuvée Léonie Brut 750ml (2.6%)</c:v>
                </c:pt>
                <c:pt idx="6">
                  <c:v>Champagne Laurent-Perrier Blanc La Cuvée 750ml (2.7%)</c:v>
                </c:pt>
                <c:pt idx="7">
                  <c:v>Champagne Vranken Demoiselle Rosé Prestige 750ml (2.0%)</c:v>
                </c:pt>
                <c:pt idx="8">
                  <c:v>Champagne Vranken Demoiselle Tête de Cuvée 750ml (1.4%)</c:v>
                </c:pt>
                <c:pt idx="9">
                  <c:v>Prosecco Carlo V Cuvée Del Imperator 750ml (5.4%)</c:v>
                </c:pt>
              </c:strCache>
            </c:strRef>
          </c:cat>
          <c:val>
            <c:numRef>
              <c:f>Sheet1!$B$2:$B$11</c:f>
              <c:numCache>
                <c:formatCode>General</c:formatCode>
                <c:ptCount val="10"/>
                <c:pt idx="0">
                  <c:v>0.1494242357554277</c:v>
                </c:pt>
                <c:pt idx="1">
                  <c:v>0.0832583991430882</c:v>
                </c:pt>
                <c:pt idx="2">
                  <c:v>0.06015242458206897</c:v>
                </c:pt>
                <c:pt idx="3">
                  <c:v>0.042953813075781645</c:v>
                </c:pt>
                <c:pt idx="4">
                  <c:v>0.03387111909926762</c:v>
                </c:pt>
                <c:pt idx="5">
                  <c:v>0.03152237658974828</c:v>
                </c:pt>
                <c:pt idx="6">
                  <c:v>0.03118013010490378</c:v>
                </c:pt>
                <c:pt idx="7">
                  <c:v>0.02918268668164811</c:v>
                </c:pt>
                <c:pt idx="8">
                  <c:v>0.02908507566279043</c:v>
                </c:pt>
                <c:pt idx="9">
                  <c:v>0.028497351607727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Canard-Duchêne Blanc Cuvée Léonie Brut 750ml (2.6%)</c:v>
                </c:pt>
                <c:pt idx="4">
                  <c:v>Champagne Laurent-Perrier Blanc La Cuvée 750ml (2.7%)</c:v>
                </c:pt>
                <c:pt idx="5">
                  <c:v>Champagne Besserat de Bellefon Bleu Brut 750ml (1.7%)</c:v>
                </c:pt>
                <c:pt idx="6">
                  <c:v>Champagne Ruinart Brut 750ml (7.3%)</c:v>
                </c:pt>
                <c:pt idx="7">
                  <c:v>Champagne Ayala Brut Majeur 750ml (1.7%)</c:v>
                </c:pt>
                <c:pt idx="8">
                  <c:v>Champagne Vranken Demoiselle Tête de Cuvée 750ml (1.4%)</c:v>
                </c:pt>
                <c:pt idx="9">
                  <c:v>Champagne Château de Bligny 750ml (1.3%)</c:v>
                </c:pt>
              </c:strCache>
            </c:strRef>
          </c:cat>
          <c:val>
            <c:numRef>
              <c:f>Sheet1!$B$2:$B$11</c:f>
              <c:numCache>
                <c:formatCode>General</c:formatCode>
                <c:ptCount val="10"/>
                <c:pt idx="0">
                  <c:v>0.27187512654457285</c:v>
                </c:pt>
                <c:pt idx="1">
                  <c:v>0.04832482262854896</c:v>
                </c:pt>
                <c:pt idx="2">
                  <c:v>0.046933354129509164</c:v>
                </c:pt>
                <c:pt idx="3">
                  <c:v>0.037668910734048745</c:v>
                </c:pt>
                <c:pt idx="4">
                  <c:v>0.036079674107786355</c:v>
                </c:pt>
                <c:pt idx="5">
                  <c:v>0.035355985211169415</c:v>
                </c:pt>
                <c:pt idx="6">
                  <c:v>0.03332819932755056</c:v>
                </c:pt>
                <c:pt idx="7">
                  <c:v>0.030173610086455315</c:v>
                </c:pt>
                <c:pt idx="8">
                  <c:v>0.02792826315845427</c:v>
                </c:pt>
                <c:pt idx="9">
                  <c:v>0.0269044600835732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750ml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Veuve Clicquot Réserve Cuvée 750ml (1.7%)</c:v>
                </c:pt>
                <c:pt idx="2">
                  <c:v>Champagne Taittinger Prestige Brut 750ml (1.6%)</c:v>
                </c:pt>
                <c:pt idx="3">
                  <c:v>Champagne Ruinart Brut (étui) 750ml (1.2%)</c:v>
                </c:pt>
                <c:pt idx="4">
                  <c:v>Champagne Ayala Brut Majeur 750ml (1.7%)</c:v>
                </c:pt>
                <c:pt idx="5">
                  <c:v>Champagne Laurent-Perrier Blanc La Cuvée 750ml (2.7%)</c:v>
                </c:pt>
                <c:pt idx="6">
                  <c:v>Champagne Nicolas Feuillatte Réserve Exclusive Brut 750ml (3.0%)</c:v>
                </c:pt>
                <c:pt idx="7">
                  <c:v>Champagne Heidsieck Monopole Silver Top 750ml (4.2%)</c:v>
                </c:pt>
                <c:pt idx="8">
                  <c:v>Champagne E.Nicolas Brut 750ml (11.6%)</c:v>
                </c:pt>
                <c:pt idx="9">
                  <c:v>Champagne Bollinger Special Cuvée Brut 750ml (1.2%)</c:v>
                </c:pt>
              </c:strCache>
            </c:strRef>
          </c:cat>
          <c:val>
            <c:numRef>
              <c:f>Sheet1!$B$2:$B$11</c:f>
              <c:numCache>
                <c:formatCode>General</c:formatCode>
                <c:ptCount val="10"/>
                <c:pt idx="0">
                  <c:v>0.12341633082496387</c:v>
                </c:pt>
                <c:pt idx="1">
                  <c:v>0.06131314237045982</c:v>
                </c:pt>
                <c:pt idx="2">
                  <c:v>0.054713323143673824</c:v>
                </c:pt>
                <c:pt idx="3">
                  <c:v>0.05323997283741567</c:v>
                </c:pt>
                <c:pt idx="4">
                  <c:v>0.04967611219259169</c:v>
                </c:pt>
                <c:pt idx="5">
                  <c:v>0.04523660811026934</c:v>
                </c:pt>
                <c:pt idx="6">
                  <c:v>0.03650002183764971</c:v>
                </c:pt>
                <c:pt idx="7">
                  <c:v>0.03302146633424704</c:v>
                </c:pt>
                <c:pt idx="8">
                  <c:v>0.03169198232760088</c:v>
                </c:pt>
                <c:pt idx="9">
                  <c:v>0.02930862551346287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750ml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étui) 750ml (1.2%)</c:v>
                </c:pt>
                <c:pt idx="1">
                  <c:v>Champagne Deutz Brut Classique 750ml (3.4%)</c:v>
                </c:pt>
                <c:pt idx="2">
                  <c:v>Champagne Ruinart Blanc de Blancs 750ml (2.0%)</c:v>
                </c:pt>
                <c:pt idx="3">
                  <c:v>Champagne Veuve Clicquot Réserve Cuvée 750ml (1.7%)</c:v>
                </c:pt>
                <c:pt idx="4">
                  <c:v>Champagne Bollinger Special Cuvée Brut 750ml (1.2%)</c:v>
                </c:pt>
                <c:pt idx="5">
                  <c:v>Champagne Taittinger Prestige Brut 750ml (1.6%)</c:v>
                </c:pt>
                <c:pt idx="6">
                  <c:v>Champagne Vranken Demoiselle Rosé Prestige 750ml (2.0%)</c:v>
                </c:pt>
                <c:pt idx="7">
                  <c:v>Champagne Laurent-Perrier Blanc La Cuvée 750ml (2.7%)</c:v>
                </c:pt>
                <c:pt idx="8">
                  <c:v>Champagne Moët &amp; Chandon Réserve Impériale 750ml (1.1%)</c:v>
                </c:pt>
                <c:pt idx="9">
                  <c:v>Champagne Nicolas Feuillatte Réserve Exclusive Brut 750ml (3.0%)</c:v>
                </c:pt>
              </c:strCache>
            </c:strRef>
          </c:cat>
          <c:val>
            <c:numRef>
              <c:f>Sheet1!$B$2:$B$11</c:f>
              <c:numCache>
                <c:formatCode>General</c:formatCode>
                <c:ptCount val="10"/>
                <c:pt idx="0">
                  <c:v>0.11399303139466599</c:v>
                </c:pt>
                <c:pt idx="1">
                  <c:v>0.09619385850938646</c:v>
                </c:pt>
                <c:pt idx="2">
                  <c:v>0.05595920509937271</c:v>
                </c:pt>
                <c:pt idx="3">
                  <c:v>0.05531050195688451</c:v>
                </c:pt>
                <c:pt idx="4">
                  <c:v>0.04318204993885675</c:v>
                </c:pt>
                <c:pt idx="5">
                  <c:v>0.04281927108661714</c:v>
                </c:pt>
                <c:pt idx="6">
                  <c:v>0.03619200055477463</c:v>
                </c:pt>
                <c:pt idx="7">
                  <c:v>0.03349116276487939</c:v>
                </c:pt>
                <c:pt idx="8">
                  <c:v>0.03334002199722652</c:v>
                </c:pt>
                <c:pt idx="9">
                  <c:v>0.0274252533690867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étui)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Ayala Brut Majeur 750ml (1.7%)</c:v>
                </c:pt>
                <c:pt idx="3">
                  <c:v>Champagne Ruinart Blanc de Blancs 750ml (2.0%)</c:v>
                </c:pt>
                <c:pt idx="4">
                  <c:v>Champagne Bollinger Special Cuvée Brut 750ml (1.2%)</c:v>
                </c:pt>
                <c:pt idx="5">
                  <c:v>Champagne Veuve Clicquot Réserve Cuvée 750ml (1.7%)</c:v>
                </c:pt>
                <c:pt idx="6">
                  <c:v>Champagne Taittinger Prestige Brut 750ml (1.6%)</c:v>
                </c:pt>
                <c:pt idx="7">
                  <c:v>Champagne E.Nicolas Brut 750ml (11.6%)</c:v>
                </c:pt>
                <c:pt idx="8">
                  <c:v>Champagne Vranken Demoiselle Rosé Prestige 750ml (2.0%)</c:v>
                </c:pt>
                <c:pt idx="9">
                  <c:v>Champagne Perrier-Jouët Blanc Grand Brut 750ml (0.9%)</c:v>
                </c:pt>
              </c:strCache>
            </c:strRef>
          </c:cat>
          <c:val>
            <c:numRef>
              <c:f>Sheet1!$B$2:$B$11</c:f>
              <c:numCache>
                <c:formatCode>General</c:formatCode>
                <c:ptCount val="10"/>
                <c:pt idx="0">
                  <c:v>0.3934640525109193</c:v>
                </c:pt>
                <c:pt idx="1">
                  <c:v>0.07903797062830821</c:v>
                </c:pt>
                <c:pt idx="2">
                  <c:v>0.03534931182722138</c:v>
                </c:pt>
                <c:pt idx="3">
                  <c:v>0.031268974402775714</c:v>
                </c:pt>
                <c:pt idx="4">
                  <c:v>0.027040996886749248</c:v>
                </c:pt>
                <c:pt idx="5">
                  <c:v>0.02462105888656354</c:v>
                </c:pt>
                <c:pt idx="6">
                  <c:v>0.02361472673769336</c:v>
                </c:pt>
                <c:pt idx="7">
                  <c:v>0.023576611491625814</c:v>
                </c:pt>
                <c:pt idx="8">
                  <c:v>0.018969941126533107</c:v>
                </c:pt>
                <c:pt idx="9">
                  <c:v>0.0182094961190602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Nicola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sserat De Bellef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Aya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olling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Canard-Duchên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Lall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Deutz</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Henrio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aurent Perr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Lefèv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Malar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De Blig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ouis Mart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Ruinar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Moët &amp; Chand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Veuve Clicquo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Perrier-Jouë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t>Piper-Heidsieck</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t>Pol Roger</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dLbl>
              <c:idx val="19"/>
              <c:tx>
                <c:rich>
                  <a:bodyPr/>
                  <a:lstStyle/>
                  <a:p>
                    <a:r>
                      <a:t>Roederer</a:t>
                    </a:r>
                  </a:p>
                </c:rich>
              </c:tx>
              <c:showLegendKey val="0"/>
              <c:showVal val="1"/>
              <c:showCatName val="0"/>
              <c:showSerName val="0"/>
              <c:showPercent val="0"/>
              <c:showBubbleSize val="0"/>
            </c:dLbl>
            <c:dLbl>
              <c:idx val="20"/>
              <c:tx>
                <c:rich>
                  <a:bodyPr/>
                  <a:lstStyle/>
                  <a:p>
                    <a:r>
                      <a:t>Taittinger</a:t>
                    </a:r>
                  </a:p>
                </c:rich>
              </c:tx>
              <c:showLegendKey val="0"/>
              <c:showVal val="1"/>
              <c:showCatName val="0"/>
              <c:showSerName val="0"/>
              <c:showPercent val="0"/>
              <c:showBubbleSize val="0"/>
            </c:dLbl>
            <c:dLbl>
              <c:idx val="21"/>
              <c:tx>
                <c:rich>
                  <a:bodyPr/>
                  <a:lstStyle/>
                  <a:p>
                    <a:r>
                      <a:t>Nicolas Feuillatte</a:t>
                    </a:r>
                  </a:p>
                </c:rich>
              </c:tx>
              <c:showLegendKey val="0"/>
              <c:showVal val="1"/>
              <c:showCatName val="0"/>
              <c:showSerName val="0"/>
              <c:showPercent val="0"/>
              <c:showBubbleSize val="0"/>
            </c:dLbl>
            <c:dLbl>
              <c:idx val="22"/>
              <c:tx>
                <c:rich>
                  <a:bodyPr/>
                  <a:lstStyle/>
                  <a:p>
                    <a:r>
                      <a:t>De Saint-Gall</a:t>
                    </a:r>
                  </a:p>
                </c:rich>
              </c:tx>
              <c:showLegendKey val="0"/>
              <c:showVal val="1"/>
              <c:showCatName val="0"/>
              <c:showSerName val="0"/>
              <c:showPercent val="0"/>
              <c:showBubbleSize val="0"/>
            </c:dLbl>
            <c:dLbl>
              <c:idx val="23"/>
              <c:tx>
                <c:rich>
                  <a:bodyPr/>
                  <a:lstStyle/>
                  <a:p>
                    <a:r>
                      <a:t>De Venoge</a:t>
                    </a:r>
                  </a:p>
                </c:rich>
              </c:tx>
              <c:showLegendKey val="0"/>
              <c:showVal val="1"/>
              <c:showCatName val="0"/>
              <c:showSerName val="0"/>
              <c:showPercent val="0"/>
              <c:showBubbleSize val="0"/>
            </c:dLbl>
            <c:dLbl>
              <c:idx val="24"/>
              <c:tx>
                <c:rich>
                  <a:bodyPr/>
                  <a:lstStyle/>
                  <a:p>
                    <a:r>
                      <a:t>Vesselle</a:t>
                    </a:r>
                  </a:p>
                </c:rich>
              </c:tx>
              <c:showLegendKey val="0"/>
              <c:showVal val="1"/>
              <c:showCatName val="0"/>
              <c:showSerName val="0"/>
              <c:showPercent val="0"/>
              <c:showBubbleSize val="0"/>
            </c:dLbl>
            <c:dLbl>
              <c:idx val="25"/>
              <c:tx>
                <c:rich>
                  <a:bodyPr/>
                  <a:lstStyle/>
                  <a:p>
                    <a:r>
                      <a:t>Demoiselle</a:t>
                    </a:r>
                  </a:p>
                </c:rich>
              </c:tx>
              <c:showLegendKey val="0"/>
              <c:showVal val="1"/>
              <c:showCatName val="0"/>
              <c:showSerName val="0"/>
              <c:showPercent val="0"/>
              <c:showBubbleSize val="0"/>
            </c:dLbl>
            <c:dLbl>
              <c:idx val="26"/>
              <c:tx>
                <c:rich>
                  <a:bodyPr/>
                  <a:lstStyle/>
                  <a:p>
                    <a:r>
                      <a:t>Heidsieck &amp; C° Monopole</a:t>
                    </a:r>
                  </a:p>
                </c:rich>
              </c:tx>
              <c:showLegendKey val="0"/>
              <c:showVal val="1"/>
              <c:showCatName val="0"/>
              <c:showSerName val="0"/>
              <c:showPercent val="0"/>
              <c:showBubbleSize val="0"/>
            </c:dLbl>
            <c:dLbl>
              <c:idx val="27"/>
              <c:tx>
                <c:rich>
                  <a:bodyPr/>
                  <a:lstStyle/>
                  <a:p>
                    <a:r>
                      <a:t>Pommery</a:t>
                    </a:r>
                  </a:p>
                </c:rich>
              </c:tx>
              <c:showLegendKey val="0"/>
              <c:showVal val="1"/>
              <c:showCatName val="0"/>
              <c:showSerName val="0"/>
              <c:showPercent val="0"/>
              <c:showBubbleSize val="0"/>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9</c:f>
              <c:numCache>
                <c:formatCode>General</c:formatCode>
                <c:ptCount val="28"/>
                <c:pt idx="0">
                  <c:v>-0.871898599501861</c:v>
                </c:pt>
                <c:pt idx="1">
                  <c:v>-3.7298890498633677</c:v>
                </c:pt>
                <c:pt idx="2">
                  <c:v>-2.758476531353604</c:v>
                </c:pt>
                <c:pt idx="3">
                  <c:v>-2.766440751841997</c:v>
                </c:pt>
                <c:pt idx="4">
                  <c:v>-2.8804199789518066</c:v>
                </c:pt>
                <c:pt idx="5">
                  <c:v>-4.403283338429581</c:v>
                </c:pt>
                <c:pt idx="6">
                  <c:v>-2.065916697908571</c:v>
                </c:pt>
                <c:pt idx="7">
                  <c:v>-5.994585927907643</c:v>
                </c:pt>
                <c:pt idx="8">
                  <c:v>-3.7648441801541597</c:v>
                </c:pt>
                <c:pt idx="9">
                  <c:v>-5.856754954470285</c:v>
                </c:pt>
                <c:pt idx="10">
                  <c:v>-3.1406353091950896</c:v>
                </c:pt>
                <c:pt idx="11">
                  <c:v>-4.551955305650122</c:v>
                </c:pt>
                <c:pt idx="12">
                  <c:v>-8.762076955971382</c:v>
                </c:pt>
                <c:pt idx="13">
                  <c:v>-1.650835724726462</c:v>
                </c:pt>
                <c:pt idx="14">
                  <c:v>-4.507062957616163</c:v>
                </c:pt>
                <c:pt idx="15">
                  <c:v>-2.97235746062147</c:v>
                </c:pt>
                <c:pt idx="16">
                  <c:v>-1.675772966700996</c:v>
                </c:pt>
                <c:pt idx="17">
                  <c:v>-6.173211779784301</c:v>
                </c:pt>
                <c:pt idx="18">
                  <c:v>-3.0626521630707773</c:v>
                </c:pt>
                <c:pt idx="19">
                  <c:v>-2.266545221923299</c:v>
                </c:pt>
                <c:pt idx="20">
                  <c:v>-2.9509799493615105</c:v>
                </c:pt>
                <c:pt idx="21">
                  <c:v>-3.6204906874426697</c:v>
                </c:pt>
                <c:pt idx="22">
                  <c:v>-4.120413983364908</c:v>
                </c:pt>
                <c:pt idx="23">
                  <c:v>-3.3663864540191355</c:v>
                </c:pt>
                <c:pt idx="24">
                  <c:v>-6.1704837588986186</c:v>
                </c:pt>
                <c:pt idx="25">
                  <c:v>-2.7238985624634298</c:v>
                </c:pt>
                <c:pt idx="26">
                  <c:v>-2.8875399437414626</c:v>
                </c:pt>
                <c:pt idx="27">
                  <c:v>-7.201653123439341</c:v>
                </c:pt>
              </c:numCache>
            </c:numRef>
          </c:xVal>
          <c:yVal>
            <c:numRef>
              <c:f>Sheet1!$B$2:$B$29</c:f>
              <c:numCache>
                <c:formatCode>General</c:formatCode>
                <c:ptCount val="28"/>
                <c:pt idx="0">
                  <c:v>-0.8873149515287486</c:v>
                </c:pt>
                <c:pt idx="1">
                  <c:v>-3.243735076789094</c:v>
                </c:pt>
                <c:pt idx="2">
                  <c:v>-2.356653572711453</c:v>
                </c:pt>
                <c:pt idx="3">
                  <c:v>-2.397428869253031</c:v>
                </c:pt>
                <c:pt idx="4">
                  <c:v>-2.411536221560478</c:v>
                </c:pt>
                <c:pt idx="5">
                  <c:v>-3.2642033214260078</c:v>
                </c:pt>
                <c:pt idx="6">
                  <c:v>-2.4742652533139773</c:v>
                </c:pt>
                <c:pt idx="7">
                  <c:v>-2.380024088037659</c:v>
                </c:pt>
                <c:pt idx="8">
                  <c:v>-1.8795349271952344</c:v>
                </c:pt>
                <c:pt idx="9">
                  <c:v>-3.3985356133279576</c:v>
                </c:pt>
                <c:pt idx="10">
                  <c:v>-2.7421514668878872</c:v>
                </c:pt>
                <c:pt idx="11">
                  <c:v>-2.260964354396626</c:v>
                </c:pt>
                <c:pt idx="12">
                  <c:v>-4.173133587660915</c:v>
                </c:pt>
                <c:pt idx="13">
                  <c:v>-1.117295663616622</c:v>
                </c:pt>
                <c:pt idx="14">
                  <c:v>-2.2978464718797746</c:v>
                </c:pt>
                <c:pt idx="15">
                  <c:v>-2.693371256181121</c:v>
                </c:pt>
                <c:pt idx="16">
                  <c:v>-2.0803962690225446</c:v>
                </c:pt>
                <c:pt idx="17">
                  <c:v>-3.9244942739374</c:v>
                </c:pt>
                <c:pt idx="18">
                  <c:v>-1.8841690828780906</c:v>
                </c:pt>
                <c:pt idx="19">
                  <c:v>-1.820627503000053</c:v>
                </c:pt>
                <c:pt idx="20">
                  <c:v>-2.426358722490728</c:v>
                </c:pt>
                <c:pt idx="21">
                  <c:v>-2.1600671041770534</c:v>
                </c:pt>
                <c:pt idx="22">
                  <c:v>-2.0252634584695266</c:v>
                </c:pt>
                <c:pt idx="23">
                  <c:v>-2.0111415520263574</c:v>
                </c:pt>
                <c:pt idx="24">
                  <c:v>-2.8923657392763924</c:v>
                </c:pt>
                <c:pt idx="25">
                  <c:v>-2.9169172156273317</c:v>
                </c:pt>
                <c:pt idx="26">
                  <c:v>-2.723473401724752</c:v>
                </c:pt>
                <c:pt idx="27">
                  <c:v>-2.5169816577217103</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9.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5.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lo V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avian (2.1%)</c:v>
                </c:pt>
                <c:pt idx="1">
                  <c:v>Bottega (3.7%)</c:v>
                </c:pt>
                <c:pt idx="2">
                  <c:v>Nicolas (14.4%)</c:v>
                </c:pt>
                <c:pt idx="3">
                  <c:v>Les Grumes  (1.0%)</c:v>
                </c:pt>
                <c:pt idx="4">
                  <c:v>Patriarche (2.6%)</c:v>
                </c:pt>
                <c:pt idx="5">
                  <c:v>Bouvet Ladubay (1.5%)</c:v>
                </c:pt>
                <c:pt idx="6">
                  <c:v>Muré (1.3%)</c:v>
                </c:pt>
                <c:pt idx="7">
                  <c:v>Heidsieck &amp; C° Monopole (4.2%)</c:v>
                </c:pt>
                <c:pt idx="8">
                  <c:v>Dea Augusta (0.5%)</c:v>
                </c:pt>
                <c:pt idx="9">
                  <c:v>Malard (6.0%)</c:v>
                </c:pt>
              </c:strCache>
            </c:strRef>
          </c:cat>
          <c:val>
            <c:numRef>
              <c:f>Sheet1!$B$2:$B$11</c:f>
              <c:numCache>
                <c:formatCode>General</c:formatCode>
                <c:ptCount val="10"/>
                <c:pt idx="0">
                  <c:v>0.2802691343644723</c:v>
                </c:pt>
                <c:pt idx="1">
                  <c:v>0.1386308442413894</c:v>
                </c:pt>
                <c:pt idx="2">
                  <c:v>0.08057139539517948</c:v>
                </c:pt>
                <c:pt idx="3">
                  <c:v>0.07308837868800262</c:v>
                </c:pt>
                <c:pt idx="4">
                  <c:v>0.055584648968756034</c:v>
                </c:pt>
                <c:pt idx="5">
                  <c:v>0.04511342843615549</c:v>
                </c:pt>
                <c:pt idx="6">
                  <c:v>0.04105445977054148</c:v>
                </c:pt>
                <c:pt idx="7">
                  <c:v>0.029551727246056977</c:v>
                </c:pt>
                <c:pt idx="8">
                  <c:v>0.025802887187803592</c:v>
                </c:pt>
                <c:pt idx="9">
                  <c:v>0.025063376768382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étui)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Bollinger Special Cuvée Brut 750ml (1.2%)</c:v>
                </c:pt>
                <c:pt idx="4">
                  <c:v>Champagne Vranken Demoiselle Rosé Prestige 750ml (2.0%)</c:v>
                </c:pt>
                <c:pt idx="5">
                  <c:v>Champagne Ayala Brut Majeur 750ml (1.7%)</c:v>
                </c:pt>
                <c:pt idx="6">
                  <c:v>Champagne Perrier-Jouët Blanc Grand Brut 750ml (0.9%)</c:v>
                </c:pt>
                <c:pt idx="7">
                  <c:v>Champagne Taittinger Prestige Brut 750ml (1.6%)</c:v>
                </c:pt>
                <c:pt idx="8">
                  <c:v>Champagne Veuve Clicquot Réserve Cuvée 750ml (1.7%)</c:v>
                </c:pt>
                <c:pt idx="9">
                  <c:v>Champagne E.Nicolas Brut 750ml (11.6%)</c:v>
                </c:pt>
              </c:strCache>
            </c:strRef>
          </c:cat>
          <c:val>
            <c:numRef>
              <c:f>Sheet1!$B$2:$B$11</c:f>
              <c:numCache>
                <c:formatCode>General</c:formatCode>
                <c:ptCount val="10"/>
                <c:pt idx="0">
                  <c:v>0.3860808574217809</c:v>
                </c:pt>
                <c:pt idx="1">
                  <c:v>0.08215782314731343</c:v>
                </c:pt>
                <c:pt idx="2">
                  <c:v>0.04301998502640926</c:v>
                </c:pt>
                <c:pt idx="3">
                  <c:v>0.03275853127472054</c:v>
                </c:pt>
                <c:pt idx="4">
                  <c:v>0.02521067535489215</c:v>
                </c:pt>
                <c:pt idx="5">
                  <c:v>0.023866697355924137</c:v>
                </c:pt>
                <c:pt idx="6">
                  <c:v>0.021973790246551363</c:v>
                </c:pt>
                <c:pt idx="7">
                  <c:v>0.02088808206103821</c:v>
                </c:pt>
                <c:pt idx="8">
                  <c:v>0.02010570670920519</c:v>
                </c:pt>
                <c:pt idx="9">
                  <c:v>0.0186985936580073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étui) 150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Ruinart Brut (étui) 750ml (1.2%)</c:v>
                </c:pt>
                <c:pt idx="4">
                  <c:v>Champagne Bollinger Special Cuvée Brut 750ml (1.2%)</c:v>
                </c:pt>
                <c:pt idx="5">
                  <c:v>Champagne Ayala Brut Majeur 750ml (1.7%)</c:v>
                </c:pt>
                <c:pt idx="6">
                  <c:v>Champagne Ruinart Blanc de Blancs (étui) 750ml (0.8%)</c:v>
                </c:pt>
                <c:pt idx="7">
                  <c:v>Champagne Perrier-Jouët Blanc Grand Brut 750ml (0.9%)</c:v>
                </c:pt>
                <c:pt idx="8">
                  <c:v>Champagne Deutz Brut Classique 1500ml (0.6%)</c:v>
                </c:pt>
                <c:pt idx="9">
                  <c:v>Champagne E.Nicolas Brut 750ml (11.6%)</c:v>
                </c:pt>
              </c:strCache>
            </c:strRef>
          </c:cat>
          <c:val>
            <c:numRef>
              <c:f>Sheet1!$B$2:$B$11</c:f>
              <c:numCache>
                <c:formatCode>General</c:formatCode>
                <c:ptCount val="10"/>
                <c:pt idx="0">
                  <c:v>0.11528572274869822</c:v>
                </c:pt>
                <c:pt idx="1">
                  <c:v>0.06424133030652791</c:v>
                </c:pt>
                <c:pt idx="2">
                  <c:v>0.05062435506770956</c:v>
                </c:pt>
                <c:pt idx="3">
                  <c:v>0.047598386278016554</c:v>
                </c:pt>
                <c:pt idx="4">
                  <c:v>0.043331998702782155</c:v>
                </c:pt>
                <c:pt idx="5">
                  <c:v>0.04085702748912521</c:v>
                </c:pt>
                <c:pt idx="6">
                  <c:v>0.03607540302158662</c:v>
                </c:pt>
                <c:pt idx="7">
                  <c:v>0.03482804945252331</c:v>
                </c:pt>
                <c:pt idx="8">
                  <c:v>0.03406161955569522</c:v>
                </c:pt>
                <c:pt idx="9">
                  <c:v>0.0303256233583112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étui) 150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Ruinart Blanc de Blancs 750ml (2.0%)</c:v>
                </c:pt>
                <c:pt idx="4">
                  <c:v>Champagne Bollinger Special Cuvée Brut 750ml (1.2%)</c:v>
                </c:pt>
                <c:pt idx="5">
                  <c:v>Champagne Ayala Brut Majeur 750ml (1.7%)</c:v>
                </c:pt>
                <c:pt idx="6">
                  <c:v>Champagne Taittinger Prestige Brut 1500ml (0.5%)</c:v>
                </c:pt>
                <c:pt idx="7">
                  <c:v>Champagne Ruinart Blanc de Blancs (étui) 750ml (0.8%)</c:v>
                </c:pt>
                <c:pt idx="8">
                  <c:v>Champagne Deutz Brut Classique 1500ml (0.6%)</c:v>
                </c:pt>
                <c:pt idx="9">
                  <c:v>Champagne Laurent-Perrier Blanc La Cuvée 1500ml (0.8%)</c:v>
                </c:pt>
              </c:strCache>
            </c:strRef>
          </c:cat>
          <c:val>
            <c:numRef>
              <c:f>Sheet1!$B$2:$B$11</c:f>
              <c:numCache>
                <c:formatCode>General</c:formatCode>
                <c:ptCount val="10"/>
                <c:pt idx="0">
                  <c:v>0.13393464639438724</c:v>
                </c:pt>
                <c:pt idx="1">
                  <c:v>0.058928925408825474</c:v>
                </c:pt>
                <c:pt idx="2">
                  <c:v>0.053346702969790785</c:v>
                </c:pt>
                <c:pt idx="3">
                  <c:v>0.05267640114537576</c:v>
                </c:pt>
                <c:pt idx="4">
                  <c:v>0.039044929057378275</c:v>
                </c:pt>
                <c:pt idx="5">
                  <c:v>0.03802440228568972</c:v>
                </c:pt>
                <c:pt idx="6">
                  <c:v>0.03655626638636195</c:v>
                </c:pt>
                <c:pt idx="7">
                  <c:v>0.036251477962510055</c:v>
                </c:pt>
                <c:pt idx="8">
                  <c:v>0.03499943036601921</c:v>
                </c:pt>
                <c:pt idx="9">
                  <c:v>0.03451992240762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Canard-Duchêne Blanc Cuvée Léonie Brut 750ml (2.6%)</c:v>
                </c:pt>
                <c:pt idx="4">
                  <c:v>Champagne Taittinger Prestige Brut 750ml (1.6%)</c:v>
                </c:pt>
                <c:pt idx="5">
                  <c:v>Champagne Ruinart Brut (étui) 750ml (1.2%)</c:v>
                </c:pt>
                <c:pt idx="6">
                  <c:v>Champagne Laurent-Perrier Blanc La Cuvée 750ml (2.7%)</c:v>
                </c:pt>
                <c:pt idx="7">
                  <c:v>Champagne Malard Brut 1er Cru 750ml (4.1%)</c:v>
                </c:pt>
                <c:pt idx="8">
                  <c:v>Champagne Veuve Clicquot Réserve Cuvée 750ml (1.7%)</c:v>
                </c:pt>
                <c:pt idx="9">
                  <c:v>Champagne Ayala Brut Majeur 750ml (1.7%)</c:v>
                </c:pt>
              </c:strCache>
            </c:strRef>
          </c:cat>
          <c:val>
            <c:numRef>
              <c:f>Sheet1!$B$2:$B$11</c:f>
              <c:numCache>
                <c:formatCode>General</c:formatCode>
                <c:ptCount val="10"/>
                <c:pt idx="0">
                  <c:v>0.17015631100170228</c:v>
                </c:pt>
                <c:pt idx="1">
                  <c:v>0.06589613337268688</c:v>
                </c:pt>
                <c:pt idx="2">
                  <c:v>0.05220208780572421</c:v>
                </c:pt>
                <c:pt idx="3">
                  <c:v>0.041172581313871574</c:v>
                </c:pt>
                <c:pt idx="4">
                  <c:v>0.035671278656972394</c:v>
                </c:pt>
                <c:pt idx="5">
                  <c:v>0.03469987991037152</c:v>
                </c:pt>
                <c:pt idx="6">
                  <c:v>0.03058737184610168</c:v>
                </c:pt>
                <c:pt idx="7">
                  <c:v>0.029695970299707823</c:v>
                </c:pt>
                <c:pt idx="8">
                  <c:v>0.02839980607524531</c:v>
                </c:pt>
                <c:pt idx="9">
                  <c:v>0.027750162963333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Ruinart Blanc de Blancs 750ml (2.0%)</c:v>
                </c:pt>
                <c:pt idx="4">
                  <c:v>Champagne E.Nicolas Brut 750ml (11.6%)</c:v>
                </c:pt>
                <c:pt idx="5">
                  <c:v>Champagne Laurent-Perrier Blanc La Cuvée 1500ml (0.8%)</c:v>
                </c:pt>
                <c:pt idx="6">
                  <c:v>Champagne Taittinger Prestige Brut 750ml (1.6%)</c:v>
                </c:pt>
                <c:pt idx="7">
                  <c:v>Champagne Canard-Duchêne Blanc Cuvée Léonie Brut 750ml (2.6%)</c:v>
                </c:pt>
                <c:pt idx="8">
                  <c:v>Champagne Ruinart Brut (étui) 1500ml (0.7%)</c:v>
                </c:pt>
                <c:pt idx="9">
                  <c:v>Champagne Veuve Clicquot Réserve Cuvée 750ml (1.7%)</c:v>
                </c:pt>
              </c:strCache>
            </c:strRef>
          </c:cat>
          <c:val>
            <c:numRef>
              <c:f>Sheet1!$B$2:$B$11</c:f>
              <c:numCache>
                <c:formatCode>General</c:formatCode>
                <c:ptCount val="10"/>
                <c:pt idx="0">
                  <c:v>0.23421762099112825</c:v>
                </c:pt>
                <c:pt idx="1">
                  <c:v>0.04937964517458044</c:v>
                </c:pt>
                <c:pt idx="2">
                  <c:v>0.041405184108210404</c:v>
                </c:pt>
                <c:pt idx="3">
                  <c:v>0.03994259575107521</c:v>
                </c:pt>
                <c:pt idx="4">
                  <c:v>0.03891862264345915</c:v>
                </c:pt>
                <c:pt idx="5">
                  <c:v>0.033893413310349084</c:v>
                </c:pt>
                <c:pt idx="6">
                  <c:v>0.02973999994539497</c:v>
                </c:pt>
                <c:pt idx="7">
                  <c:v>0.0289853862791693</c:v>
                </c:pt>
                <c:pt idx="8">
                  <c:v>0.028411481102383035</c:v>
                </c:pt>
                <c:pt idx="9">
                  <c:v>0.0281049643095764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Prosecco Carlo V Cuvée Del Imperator 750ml (5.4%)</c:v>
                </c:pt>
                <c:pt idx="4">
                  <c:v>Champagne Laurent-Perrier Blanc La Cuvée 750ml (2.7%)</c:v>
                </c:pt>
                <c:pt idx="5">
                  <c:v>Champagne Vranken Demoiselle Rosé Prestige 750ml (2.0%)</c:v>
                </c:pt>
                <c:pt idx="6">
                  <c:v>Champagne Veuve Clicquot Réserve Cuvée 750ml (1.7%)</c:v>
                </c:pt>
                <c:pt idx="7">
                  <c:v>Champagne Ayala Brut Majeur 750ml (1.7%)</c:v>
                </c:pt>
                <c:pt idx="8">
                  <c:v>Champagne Bollinger Special Cuvée Brut 750ml (1.2%)</c:v>
                </c:pt>
                <c:pt idx="9">
                  <c:v>Champagne Malard Brut 1er Cru 750ml (4.1%)</c:v>
                </c:pt>
              </c:strCache>
            </c:strRef>
          </c:cat>
          <c:val>
            <c:numRef>
              <c:f>Sheet1!$B$2:$B$11</c:f>
              <c:numCache>
                <c:formatCode>General</c:formatCode>
                <c:ptCount val="10"/>
                <c:pt idx="0">
                  <c:v>0.08745770353532945</c:v>
                </c:pt>
                <c:pt idx="1">
                  <c:v>0.057030350551866976</c:v>
                </c:pt>
                <c:pt idx="2">
                  <c:v>0.04284197892731708</c:v>
                </c:pt>
                <c:pt idx="3">
                  <c:v>0.03912869574496376</c:v>
                </c:pt>
                <c:pt idx="4">
                  <c:v>0.035251698314332475</c:v>
                </c:pt>
                <c:pt idx="5">
                  <c:v>0.03322999494655181</c:v>
                </c:pt>
                <c:pt idx="6">
                  <c:v>0.03105801730738537</c:v>
                </c:pt>
                <c:pt idx="7">
                  <c:v>0.02795620755217686</c:v>
                </c:pt>
                <c:pt idx="8">
                  <c:v>0.026987625725356564</c:v>
                </c:pt>
                <c:pt idx="9">
                  <c:v>0.0268796590949015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Ruinart Blanc de Blancs 750ml (2.0%)</c:v>
                </c:pt>
                <c:pt idx="3">
                  <c:v>Champagne Vranken Demoiselle Rosé Prestige 750ml (2.0%)</c:v>
                </c:pt>
                <c:pt idx="4">
                  <c:v>Champagne Deutz Brut Classique 750ml (3.4%)</c:v>
                </c:pt>
                <c:pt idx="5">
                  <c:v>Champagne Bollinger Special Cuvée Brut 750ml (1.2%)</c:v>
                </c:pt>
                <c:pt idx="6">
                  <c:v>Prosecco Carlo V Cuvée Del Imperator 750ml (5.4%)</c:v>
                </c:pt>
                <c:pt idx="7">
                  <c:v>Champagne Laurent-Perrier Blanc La Cuvée 750ml (2.7%)</c:v>
                </c:pt>
                <c:pt idx="8">
                  <c:v>Champagne Veuve Clicquot Réserve Cuvée 750ml (1.7%)</c:v>
                </c:pt>
                <c:pt idx="9">
                  <c:v>Champagne Malard Brut 1er Cru 750ml (4.1%)</c:v>
                </c:pt>
              </c:strCache>
            </c:strRef>
          </c:cat>
          <c:val>
            <c:numRef>
              <c:f>Sheet1!$B$2:$B$11</c:f>
              <c:numCache>
                <c:formatCode>General</c:formatCode>
                <c:ptCount val="10"/>
                <c:pt idx="0">
                  <c:v>0.10655480177736701</c:v>
                </c:pt>
                <c:pt idx="1">
                  <c:v>0.04859308854458088</c:v>
                </c:pt>
                <c:pt idx="2">
                  <c:v>0.045359389017027366</c:v>
                </c:pt>
                <c:pt idx="3">
                  <c:v>0.04096242349548156</c:v>
                </c:pt>
                <c:pt idx="4">
                  <c:v>0.03396623726353277</c:v>
                </c:pt>
                <c:pt idx="5">
                  <c:v>0.03351745555883434</c:v>
                </c:pt>
                <c:pt idx="6">
                  <c:v>0.033229465116547334</c:v>
                </c:pt>
                <c:pt idx="7">
                  <c:v>0.027573136380168974</c:v>
                </c:pt>
                <c:pt idx="8">
                  <c:v>0.026313503419851326</c:v>
                </c:pt>
                <c:pt idx="9">
                  <c:v>0.02194019115488895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rut (étui) 750ml (1.2%)</c:v>
                </c:pt>
                <c:pt idx="2">
                  <c:v>Champagne Ruinart Blanc de Blancs (étui) 750ml (0.8%)</c:v>
                </c:pt>
                <c:pt idx="3">
                  <c:v>Champagne Vranken Demoiselle Rosé Prestige 750ml (2.0%)</c:v>
                </c:pt>
                <c:pt idx="4">
                  <c:v>Champagne Ruinart Rosé 750ml (0.5%)</c:v>
                </c:pt>
                <c:pt idx="5">
                  <c:v>Champagne Bollinger Special Cuvée Brut 750ml (1.2%)</c:v>
                </c:pt>
                <c:pt idx="6">
                  <c:v>Champagne Deutz Brut Classique 750ml (3.4%)</c:v>
                </c:pt>
                <c:pt idx="7">
                  <c:v>Mousseux French Bloom Blanc Bio Sans Alcool 750ml (0.7%)</c:v>
                </c:pt>
                <c:pt idx="8">
                  <c:v>Champagne Laurent-Perrier Blanc La Cuvée 750ml (2.7%)</c:v>
                </c:pt>
                <c:pt idx="9">
                  <c:v>Champagne E.Nicolas Brut 750ml (11.6%)</c:v>
                </c:pt>
              </c:strCache>
            </c:strRef>
          </c:cat>
          <c:val>
            <c:numRef>
              <c:f>Sheet1!$B$2:$B$11</c:f>
              <c:numCache>
                <c:formatCode>General</c:formatCode>
                <c:ptCount val="10"/>
                <c:pt idx="0">
                  <c:v>0.3638516358569171</c:v>
                </c:pt>
                <c:pt idx="1">
                  <c:v>0.05769196882854334</c:v>
                </c:pt>
                <c:pt idx="2">
                  <c:v>0.04259665158920635</c:v>
                </c:pt>
                <c:pt idx="3">
                  <c:v>0.034365940085654356</c:v>
                </c:pt>
                <c:pt idx="4">
                  <c:v>0.033496463920284686</c:v>
                </c:pt>
                <c:pt idx="5">
                  <c:v>0.03189422040855322</c:v>
                </c:pt>
                <c:pt idx="6">
                  <c:v>0.028597450310831867</c:v>
                </c:pt>
                <c:pt idx="7">
                  <c:v>0.02408664423365464</c:v>
                </c:pt>
                <c:pt idx="8">
                  <c:v>0.023338024660770958</c:v>
                </c:pt>
                <c:pt idx="9">
                  <c:v>0.0213290360987828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étui) 750ml (0.8%)</c:v>
                </c:pt>
                <c:pt idx="2">
                  <c:v>Champagne Ruinart Brut (étui) 750ml (1.2%)</c:v>
                </c:pt>
                <c:pt idx="3">
                  <c:v>Champagne Ruinart Rosé 750ml (0.5%)</c:v>
                </c:pt>
                <c:pt idx="4">
                  <c:v>Mousseux French Bloom Blanc Bio Sans Alcool 750ml (0.7%)</c:v>
                </c:pt>
                <c:pt idx="5">
                  <c:v>Champagne Bollinger Special Cuvée Brut 750ml (1.2%)</c:v>
                </c:pt>
                <c:pt idx="6">
                  <c:v>Champagne Vranken Demoiselle Rosé Prestige 750ml (2.0%)</c:v>
                </c:pt>
                <c:pt idx="7">
                  <c:v>Champagne E.Nicolas Brut 750ml (11.6%)</c:v>
                </c:pt>
                <c:pt idx="8">
                  <c:v>Champagne Deutz Brut Classique 750ml (3.4%)</c:v>
                </c:pt>
                <c:pt idx="9">
                  <c:v>Champagne Laurent-Perrier Blanc La Cuvée 750ml (2.7%)</c:v>
                </c:pt>
              </c:strCache>
            </c:strRef>
          </c:cat>
          <c:val>
            <c:numRef>
              <c:f>Sheet1!$B$2:$B$11</c:f>
              <c:numCache>
                <c:formatCode>General</c:formatCode>
                <c:ptCount val="10"/>
                <c:pt idx="0">
                  <c:v>0.34108137538671435</c:v>
                </c:pt>
                <c:pt idx="1">
                  <c:v>0.06474244030283913</c:v>
                </c:pt>
                <c:pt idx="2">
                  <c:v>0.05423761286005456</c:v>
                </c:pt>
                <c:pt idx="3">
                  <c:v>0.046390477777297344</c:v>
                </c:pt>
                <c:pt idx="4">
                  <c:v>0.04184035302040837</c:v>
                </c:pt>
                <c:pt idx="5">
                  <c:v>0.033456923420458376</c:v>
                </c:pt>
                <c:pt idx="6">
                  <c:v>0.03148946400326231</c:v>
                </c:pt>
                <c:pt idx="7">
                  <c:v>0.023813940075453233</c:v>
                </c:pt>
                <c:pt idx="8">
                  <c:v>0.020368251772682734</c:v>
                </c:pt>
                <c:pt idx="9">
                  <c:v>0.0176190255064469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étui)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Ruinart Brut (étui) 750ml (1.2%)</c:v>
                </c:pt>
                <c:pt idx="3">
                  <c:v>Champagne Deutz Brut Classique 750ml (3.4%)</c:v>
                </c:pt>
                <c:pt idx="4">
                  <c:v>Champagne Vranken Demoiselle Rosé Prestige 750ml (2.0%)</c:v>
                </c:pt>
                <c:pt idx="5">
                  <c:v>Champagne Ruinart Rosé 750ml (0.5%)</c:v>
                </c:pt>
                <c:pt idx="6">
                  <c:v>Champagne Bollinger Special Cuvée Brut 750ml (1.2%)</c:v>
                </c:pt>
                <c:pt idx="7">
                  <c:v>Champagne E.Nicolas Brut 750ml (11.6%)</c:v>
                </c:pt>
                <c:pt idx="8">
                  <c:v>Mousseux French Bloom Blanc Bio Sans Alcool 750ml (0.7%)</c:v>
                </c:pt>
                <c:pt idx="9">
                  <c:v>Champagne Laurent-Perrier Blanc La Cuvée 750ml (2.7%)</c:v>
                </c:pt>
              </c:strCache>
            </c:strRef>
          </c:cat>
          <c:val>
            <c:numRef>
              <c:f>Sheet1!$B$2:$B$11</c:f>
              <c:numCache>
                <c:formatCode>General</c:formatCode>
                <c:ptCount val="10"/>
                <c:pt idx="0">
                  <c:v>0.20981247968013872</c:v>
                </c:pt>
                <c:pt idx="1">
                  <c:v>0.14468171652981476</c:v>
                </c:pt>
                <c:pt idx="2">
                  <c:v>0.04378639472030894</c:v>
                </c:pt>
                <c:pt idx="3">
                  <c:v>0.03612265140695871</c:v>
                </c:pt>
                <c:pt idx="4">
                  <c:v>0.035690402397743425</c:v>
                </c:pt>
                <c:pt idx="5">
                  <c:v>0.030702458419383946</c:v>
                </c:pt>
                <c:pt idx="6">
                  <c:v>0.029493832240643458</c:v>
                </c:pt>
                <c:pt idx="7">
                  <c:v>0.025796324335954225</c:v>
                </c:pt>
                <c:pt idx="8">
                  <c:v>0.023671525854338408</c:v>
                </c:pt>
                <c:pt idx="9">
                  <c:v>0.0221286670230129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hâteau Moncontour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Patriarche (2.6%)</c:v>
                </c:pt>
                <c:pt idx="4">
                  <c:v>Bottega (3.7%)</c:v>
                </c:pt>
                <c:pt idx="5">
                  <c:v>Bouvet Ladubay (1.5%)</c:v>
                </c:pt>
                <c:pt idx="6">
                  <c:v>Les Grumes  (1.0%)</c:v>
                </c:pt>
                <c:pt idx="7">
                  <c:v>Lyre's (1.0%)</c:v>
                </c:pt>
                <c:pt idx="8">
                  <c:v>Malard (6.0%)</c:v>
                </c:pt>
                <c:pt idx="9">
                  <c:v>Muré (1.3%)</c:v>
                </c:pt>
              </c:strCache>
            </c:strRef>
          </c:cat>
          <c:val>
            <c:numRef>
              <c:f>Sheet1!$B$2:$B$11</c:f>
              <c:numCache>
                <c:formatCode>General</c:formatCode>
                <c:ptCount val="10"/>
                <c:pt idx="0">
                  <c:v>0.16874778580647515</c:v>
                </c:pt>
                <c:pt idx="1">
                  <c:v>0.1135656175913927</c:v>
                </c:pt>
                <c:pt idx="2">
                  <c:v>0.08611792321153425</c:v>
                </c:pt>
                <c:pt idx="3">
                  <c:v>0.07867331576991433</c:v>
                </c:pt>
                <c:pt idx="4">
                  <c:v>0.06843666819670056</c:v>
                </c:pt>
                <c:pt idx="5">
                  <c:v>0.05815284459473704</c:v>
                </c:pt>
                <c:pt idx="6">
                  <c:v>0.04230042412790816</c:v>
                </c:pt>
                <c:pt idx="7">
                  <c:v>0.03623687706957535</c:v>
                </c:pt>
                <c:pt idx="8">
                  <c:v>0.03600760375281318</c:v>
                </c:pt>
                <c:pt idx="9">
                  <c:v>0.0311989407452831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étui)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Ruinart Rosé 750ml (0.5%)</c:v>
                </c:pt>
                <c:pt idx="3">
                  <c:v>Champagne Vranken Demoiselle Rosé Prestige 750ml (2.0%)</c:v>
                </c:pt>
                <c:pt idx="4">
                  <c:v>Mousseux French Bloom Blanc Bio Sans Alcool 750ml (0.7%)</c:v>
                </c:pt>
                <c:pt idx="5">
                  <c:v>Champagne Ruinart Brut (étui) 750ml (1.2%)</c:v>
                </c:pt>
                <c:pt idx="6">
                  <c:v>Champagne Deutz Brut Classique 750ml (3.4%)</c:v>
                </c:pt>
                <c:pt idx="7">
                  <c:v>Champagne Bollinger Special Cuvée Brut 750ml (1.2%)</c:v>
                </c:pt>
                <c:pt idx="8">
                  <c:v>Champagne E.Nicolas Brut 750ml (11.6%)</c:v>
                </c:pt>
                <c:pt idx="9">
                  <c:v>Champagne Laurent-Perrier Blanc La Cuvée 1500ml (0.8%)</c:v>
                </c:pt>
              </c:strCache>
            </c:strRef>
          </c:cat>
          <c:val>
            <c:numRef>
              <c:f>Sheet1!$B$2:$B$11</c:f>
              <c:numCache>
                <c:formatCode>General</c:formatCode>
                <c:ptCount val="10"/>
                <c:pt idx="0">
                  <c:v>0.17533347625249868</c:v>
                </c:pt>
                <c:pt idx="1">
                  <c:v>0.1449254117742079</c:v>
                </c:pt>
                <c:pt idx="2">
                  <c:v>0.03537213940665671</c:v>
                </c:pt>
                <c:pt idx="3">
                  <c:v>0.03516594113780646</c:v>
                </c:pt>
                <c:pt idx="4">
                  <c:v>0.03497404801402568</c:v>
                </c:pt>
                <c:pt idx="5">
                  <c:v>0.03425416931417255</c:v>
                </c:pt>
                <c:pt idx="6">
                  <c:v>0.034219757472323815</c:v>
                </c:pt>
                <c:pt idx="7">
                  <c:v>0.030729152522006656</c:v>
                </c:pt>
                <c:pt idx="8">
                  <c:v>0.023835204482159773</c:v>
                </c:pt>
                <c:pt idx="9">
                  <c:v>0.0235166728072323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Vranken Demoiselle Rosé Prestige 750ml (2.0%)</c:v>
                </c:pt>
                <c:pt idx="3">
                  <c:v>Champagne Ruinart Brut (étui) 750ml (1.2%)</c:v>
                </c:pt>
                <c:pt idx="4">
                  <c:v>Champagne Bollinger Special Cuvée Brut 750ml (1.2%)</c:v>
                </c:pt>
                <c:pt idx="5">
                  <c:v>Champagne Ruinart Blanc de Blancs (étui) 750ml (0.8%)</c:v>
                </c:pt>
                <c:pt idx="6">
                  <c:v>Champagne Deutz Brut Classique 750ml (3.4%)</c:v>
                </c:pt>
                <c:pt idx="7">
                  <c:v>Champagne Laurent-Perrier Blanc La Cuvée 750ml (2.7%)</c:v>
                </c:pt>
                <c:pt idx="8">
                  <c:v>Champagne E.Nicolas Brut 750ml (11.6%)</c:v>
                </c:pt>
                <c:pt idx="9">
                  <c:v>Champagne Veuve Clicquot Réserve Cuvée 750ml (1.7%)</c:v>
                </c:pt>
              </c:strCache>
            </c:strRef>
          </c:cat>
          <c:val>
            <c:numRef>
              <c:f>Sheet1!$B$2:$B$11</c:f>
              <c:numCache>
                <c:formatCode>General</c:formatCode>
                <c:ptCount val="10"/>
                <c:pt idx="0">
                  <c:v>0.2892711177309081</c:v>
                </c:pt>
                <c:pt idx="1">
                  <c:v>0.10567104144527982</c:v>
                </c:pt>
                <c:pt idx="2">
                  <c:v>0.05120704450579806</c:v>
                </c:pt>
                <c:pt idx="3">
                  <c:v>0.0494540285965389</c:v>
                </c:pt>
                <c:pt idx="4">
                  <c:v>0.033871265966031856</c:v>
                </c:pt>
                <c:pt idx="5">
                  <c:v>0.030521984299757676</c:v>
                </c:pt>
                <c:pt idx="6">
                  <c:v>0.029849251970470496</c:v>
                </c:pt>
                <c:pt idx="7">
                  <c:v>0.020075771245793378</c:v>
                </c:pt>
                <c:pt idx="8">
                  <c:v>0.019937467634724967</c:v>
                </c:pt>
                <c:pt idx="9">
                  <c:v>0.01957335089037014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Vranken Demoiselle Rosé Prestige 750ml (2.0%)</c:v>
                </c:pt>
                <c:pt idx="3">
                  <c:v>Champagne Ruinart Brut (étui) 750ml (1.2%)</c:v>
                </c:pt>
                <c:pt idx="4">
                  <c:v>Champagne Ruinart Blanc de Blancs (étui) 750ml (0.8%)</c:v>
                </c:pt>
                <c:pt idx="5">
                  <c:v>Champagne Bollinger Special Cuvée Brut 750ml (1.2%)</c:v>
                </c:pt>
                <c:pt idx="6">
                  <c:v>Champagne E.Nicolas Brut 750ml (11.6%)</c:v>
                </c:pt>
                <c:pt idx="7">
                  <c:v>Champagne Deutz Brut Classique 750ml (3.4%)</c:v>
                </c:pt>
                <c:pt idx="8">
                  <c:v>Mousseux French Bloom Blanc Bio Sans Alcool 750ml (0.7%)</c:v>
                </c:pt>
                <c:pt idx="9">
                  <c:v>Champagne Veuve Clicquot Réserve Cuvée 750ml (1.7%)</c:v>
                </c:pt>
              </c:strCache>
            </c:strRef>
          </c:cat>
          <c:val>
            <c:numRef>
              <c:f>Sheet1!$B$2:$B$11</c:f>
              <c:numCache>
                <c:formatCode>General</c:formatCode>
                <c:ptCount val="10"/>
                <c:pt idx="0">
                  <c:v>0.2798111500709952</c:v>
                </c:pt>
                <c:pt idx="1">
                  <c:v>0.12389312852154169</c:v>
                </c:pt>
                <c:pt idx="2">
                  <c:v>0.0509684762462809</c:v>
                </c:pt>
                <c:pt idx="3">
                  <c:v>0.050638195762141354</c:v>
                </c:pt>
                <c:pt idx="4">
                  <c:v>0.03697455071250553</c:v>
                </c:pt>
                <c:pt idx="5">
                  <c:v>0.03161182852146165</c:v>
                </c:pt>
                <c:pt idx="6">
                  <c:v>0.03141303825052622</c:v>
                </c:pt>
                <c:pt idx="7">
                  <c:v>0.023005269633774104</c:v>
                </c:pt>
                <c:pt idx="8">
                  <c:v>0.02289360542819343</c:v>
                </c:pt>
                <c:pt idx="9">
                  <c:v>0.016486156736946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E.Nicolas Brut 750ml (11.6%)</c:v>
                </c:pt>
                <c:pt idx="4">
                  <c:v>Champagne Bollinger Special Cuvée Brut 750ml (1.2%)</c:v>
                </c:pt>
                <c:pt idx="5">
                  <c:v>Champagne Laurent-Perrier Blanc La Cuvée 750ml (2.7%)</c:v>
                </c:pt>
                <c:pt idx="6">
                  <c:v>Champagne Vranken Demoiselle Rosé Prestige 750ml (2.0%)</c:v>
                </c:pt>
                <c:pt idx="7">
                  <c:v>Champagne Ayala Brut Majeur 750ml (1.7%)</c:v>
                </c:pt>
                <c:pt idx="8">
                  <c:v>Champagne Canard-Duchêne Blanc Cuvée Léonie Brut 750ml (2.6%)</c:v>
                </c:pt>
                <c:pt idx="9">
                  <c:v>Champagne Ruinart Brut (étui) 750ml (1.2%)</c:v>
                </c:pt>
              </c:strCache>
            </c:strRef>
          </c:cat>
          <c:val>
            <c:numRef>
              <c:f>Sheet1!$B$2:$B$11</c:f>
              <c:numCache>
                <c:formatCode>General</c:formatCode>
                <c:ptCount val="10"/>
                <c:pt idx="0">
                  <c:v>0.12290037725364976</c:v>
                </c:pt>
                <c:pt idx="1">
                  <c:v>0.05562021256258844</c:v>
                </c:pt>
                <c:pt idx="2">
                  <c:v>0.04371234755218173</c:v>
                </c:pt>
                <c:pt idx="3">
                  <c:v>0.04291138233671962</c:v>
                </c:pt>
                <c:pt idx="4">
                  <c:v>0.033768507209366826</c:v>
                </c:pt>
                <c:pt idx="5">
                  <c:v>0.0315321204975301</c:v>
                </c:pt>
                <c:pt idx="6">
                  <c:v>0.03108354500607256</c:v>
                </c:pt>
                <c:pt idx="7">
                  <c:v>0.0300471170410682</c:v>
                </c:pt>
                <c:pt idx="8">
                  <c:v>0.02838498091957726</c:v>
                </c:pt>
                <c:pt idx="9">
                  <c:v>0.026514745352803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E.Nicolas Brut 750ml (11.6%)</c:v>
                </c:pt>
                <c:pt idx="4">
                  <c:v>Champagne Laurent-Perrier Blanc La Cuvée 750ml (2.7%)</c:v>
                </c:pt>
                <c:pt idx="5">
                  <c:v>Champagne Ruinart Brut (étui) 750ml (1.2%)</c:v>
                </c:pt>
                <c:pt idx="6">
                  <c:v>Champagne Bollinger Special Cuvée Brut 750ml (1.2%)</c:v>
                </c:pt>
                <c:pt idx="7">
                  <c:v>Champagne Laurent-Perrier Blanc La Cuvée 1500ml (0.8%)</c:v>
                </c:pt>
                <c:pt idx="8">
                  <c:v>Champagne Canard-Duchêne Blanc Cuvée Léonie Brut 750ml (2.6%)</c:v>
                </c:pt>
                <c:pt idx="9">
                  <c:v>Champagne Ayala Brut Majeur 750ml (1.7%)</c:v>
                </c:pt>
              </c:strCache>
            </c:strRef>
          </c:cat>
          <c:val>
            <c:numRef>
              <c:f>Sheet1!$B$2:$B$11</c:f>
              <c:numCache>
                <c:formatCode>General</c:formatCode>
                <c:ptCount val="10"/>
                <c:pt idx="0">
                  <c:v>0.15276271314369455</c:v>
                </c:pt>
                <c:pt idx="1">
                  <c:v>0.05268385733586324</c:v>
                </c:pt>
                <c:pt idx="2">
                  <c:v>0.04443323246548225</c:v>
                </c:pt>
                <c:pt idx="3">
                  <c:v>0.0375990300253209</c:v>
                </c:pt>
                <c:pt idx="4">
                  <c:v>0.033301185123448596</c:v>
                </c:pt>
                <c:pt idx="5">
                  <c:v>0.03179110486537658</c:v>
                </c:pt>
                <c:pt idx="6">
                  <c:v>0.03120849675074557</c:v>
                </c:pt>
                <c:pt idx="7">
                  <c:v>0.03117707450602852</c:v>
                </c:pt>
                <c:pt idx="8">
                  <c:v>0.030394924316365098</c:v>
                </c:pt>
                <c:pt idx="9">
                  <c:v>0.029859165252801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oët &amp; Chandon Réserve Impériale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Laurent-Perrier Blanc La Cuvée 750ml (2.7%)</c:v>
                </c:pt>
                <c:pt idx="4">
                  <c:v>Champagne E.Nicolas Brut 750ml (11.6%)</c:v>
                </c:pt>
                <c:pt idx="5">
                  <c:v>Champagne Malard Brut 1er Cru 750ml (4.1%)</c:v>
                </c:pt>
                <c:pt idx="6">
                  <c:v>Champagne Ruinart Brut 750ml (7.3%)</c:v>
                </c:pt>
                <c:pt idx="7">
                  <c:v>Champagne Deutz Brut Classique 750ml (3.4%)</c:v>
                </c:pt>
                <c:pt idx="8">
                  <c:v>Champagne Vranken Demoiselle Tête de Cuvée 750ml (1.4%)</c:v>
                </c:pt>
                <c:pt idx="9">
                  <c:v>Champagne Veuve Clicquot Réserve Cuvée 750ml (1.7%)</c:v>
                </c:pt>
              </c:strCache>
            </c:strRef>
          </c:cat>
          <c:val>
            <c:numRef>
              <c:f>Sheet1!$B$2:$B$11</c:f>
              <c:numCache>
                <c:formatCode>General</c:formatCode>
                <c:ptCount val="10"/>
                <c:pt idx="0">
                  <c:v>0.07911151645085153</c:v>
                </c:pt>
                <c:pt idx="1">
                  <c:v>0.07683182182930302</c:v>
                </c:pt>
                <c:pt idx="2">
                  <c:v>0.06658539342601852</c:v>
                </c:pt>
                <c:pt idx="3">
                  <c:v>0.0655107365429825</c:v>
                </c:pt>
                <c:pt idx="4">
                  <c:v>0.057239348147755616</c:v>
                </c:pt>
                <c:pt idx="5">
                  <c:v>0.047624297404516826</c:v>
                </c:pt>
                <c:pt idx="6">
                  <c:v>0.042397143355108614</c:v>
                </c:pt>
                <c:pt idx="7">
                  <c:v>0.03855528138652586</c:v>
                </c:pt>
                <c:pt idx="8">
                  <c:v>0.035414014736934986</c:v>
                </c:pt>
                <c:pt idx="9">
                  <c:v>0.0315213813543161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oët &amp; Chandon Réserve Impériale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Nicolas Feuillatte Réserve Exclusive Brut 750ml (3.0%)</c:v>
                </c:pt>
                <c:pt idx="2">
                  <c:v>Champagne Ruinart Brut 750ml (7.3%)</c:v>
                </c:pt>
                <c:pt idx="3">
                  <c:v>Champagne Heidsieck Monopole Silver Top 750ml (4.2%)</c:v>
                </c:pt>
                <c:pt idx="4">
                  <c:v>Champagne Canard-Duchêne Blanc Cuvée Léonie Brut 750ml (2.6%)</c:v>
                </c:pt>
                <c:pt idx="5">
                  <c:v>Champagne Veuve Clicquot Réserve Cuvée 750ml (1.7%)</c:v>
                </c:pt>
                <c:pt idx="6">
                  <c:v>Champagne E.Nicolas Brut 750ml (11.6%)</c:v>
                </c:pt>
                <c:pt idx="7">
                  <c:v>Champagne Deutz Brut Classique 750ml (3.4%)</c:v>
                </c:pt>
                <c:pt idx="8">
                  <c:v>Champagne Malard Brut 1er Cru 750ml (4.1%)</c:v>
                </c:pt>
                <c:pt idx="9">
                  <c:v>Champagne Vranken Demoiselle Tête de Cuvée 750ml (1.4%)</c:v>
                </c:pt>
              </c:strCache>
            </c:strRef>
          </c:cat>
          <c:val>
            <c:numRef>
              <c:f>Sheet1!$B$2:$B$11</c:f>
              <c:numCache>
                <c:formatCode>General</c:formatCode>
                <c:ptCount val="10"/>
                <c:pt idx="0">
                  <c:v>0.08900937674881769</c:v>
                </c:pt>
                <c:pt idx="1">
                  <c:v>0.06761605512950056</c:v>
                </c:pt>
                <c:pt idx="2">
                  <c:v>0.06291718223812318</c:v>
                </c:pt>
                <c:pt idx="3">
                  <c:v>0.053139912798210946</c:v>
                </c:pt>
                <c:pt idx="4">
                  <c:v>0.0525268064227281</c:v>
                </c:pt>
                <c:pt idx="5">
                  <c:v>0.0480968593803997</c:v>
                </c:pt>
                <c:pt idx="6">
                  <c:v>0.045571213037772194</c:v>
                </c:pt>
                <c:pt idx="7">
                  <c:v>0.04501607783196338</c:v>
                </c:pt>
                <c:pt idx="8">
                  <c:v>0.032978687417934784</c:v>
                </c:pt>
                <c:pt idx="9">
                  <c:v>0.0318221294837432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euve Clicquot Réserve Cuvée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Heidsieck Monopole Silver Top 750ml (4.2%)</c:v>
                </c:pt>
                <c:pt idx="2">
                  <c:v>Champagne Ruinart Brut 750ml (7.3%)</c:v>
                </c:pt>
                <c:pt idx="3">
                  <c:v>Champagne Taittinger Prestige Brut 750ml (1.6%)</c:v>
                </c:pt>
                <c:pt idx="4">
                  <c:v>Champagne E.Nicolas Brut 750ml (11.6%)</c:v>
                </c:pt>
                <c:pt idx="5">
                  <c:v>Champagne Nicolas Feuillatte Réserve Exclusive Brut 750ml (3.0%)</c:v>
                </c:pt>
                <c:pt idx="6">
                  <c:v>Champagne Deutz Brut Classique 750ml (3.4%)</c:v>
                </c:pt>
                <c:pt idx="7">
                  <c:v>Prosecco Carlo V Cuvée Del Imperator 750ml (5.4%)</c:v>
                </c:pt>
                <c:pt idx="8">
                  <c:v>Champagne Moët &amp; Chandon Réserve Impériale 750ml (1.1%)</c:v>
                </c:pt>
                <c:pt idx="9">
                  <c:v>Champagne Malard Brut 1er Cru 750ml (4.1%)</c:v>
                </c:pt>
              </c:strCache>
            </c:strRef>
          </c:cat>
          <c:val>
            <c:numRef>
              <c:f>Sheet1!$B$2:$B$11</c:f>
              <c:numCache>
                <c:formatCode>General</c:formatCode>
                <c:ptCount val="10"/>
                <c:pt idx="0">
                  <c:v>0.06672955767922743</c:v>
                </c:pt>
                <c:pt idx="1">
                  <c:v>0.056292530497565885</c:v>
                </c:pt>
                <c:pt idx="2">
                  <c:v>0.05428765468144922</c:v>
                </c:pt>
                <c:pt idx="3">
                  <c:v>0.05227124442993072</c:v>
                </c:pt>
                <c:pt idx="4">
                  <c:v>0.050360174633138084</c:v>
                </c:pt>
                <c:pt idx="5">
                  <c:v>0.045607787397624625</c:v>
                </c:pt>
                <c:pt idx="6">
                  <c:v>0.041723156228595064</c:v>
                </c:pt>
                <c:pt idx="7">
                  <c:v>0.04040245263235875</c:v>
                </c:pt>
                <c:pt idx="8">
                  <c:v>0.03765033852712898</c:v>
                </c:pt>
                <c:pt idx="9">
                  <c:v>0.0337360546320492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euve Clicquot Réserve Cuvée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Taittinger Prestige Brut 750ml (1.6%)</c:v>
                </c:pt>
                <c:pt idx="2">
                  <c:v>Champagne Deutz Brut Classique 750ml (3.4%)</c:v>
                </c:pt>
                <c:pt idx="3">
                  <c:v>Champagne Laurent-Perrier Blanc La Cuvée 750ml (2.7%)</c:v>
                </c:pt>
                <c:pt idx="4">
                  <c:v>Champagne Moët &amp; Chandon Réserve Impériale 750ml (1.1%)</c:v>
                </c:pt>
                <c:pt idx="5">
                  <c:v>Champagne Heidsieck Monopole Silver Top 750ml (4.2%)</c:v>
                </c:pt>
                <c:pt idx="6">
                  <c:v>Champagne Nicolas Feuillatte Réserve Exclusive Brut 750ml (3.0%)</c:v>
                </c:pt>
                <c:pt idx="7">
                  <c:v>Champagne E.Nicolas Brut 750ml (11.6%)</c:v>
                </c:pt>
                <c:pt idx="8">
                  <c:v>Prosecco Carlo V Cuvée Del Imperator 750ml (5.4%)</c:v>
                </c:pt>
                <c:pt idx="9">
                  <c:v>Champagne Pommery Brut Silver 750ml (0.8%)</c:v>
                </c:pt>
              </c:strCache>
            </c:strRef>
          </c:cat>
          <c:val>
            <c:numRef>
              <c:f>Sheet1!$B$2:$B$11</c:f>
              <c:numCache>
                <c:formatCode>General</c:formatCode>
                <c:ptCount val="10"/>
                <c:pt idx="0">
                  <c:v>0.1058501240773434</c:v>
                </c:pt>
                <c:pt idx="1">
                  <c:v>0.0846468589695174</c:v>
                </c:pt>
                <c:pt idx="2">
                  <c:v>0.08266706094639575</c:v>
                </c:pt>
                <c:pt idx="3">
                  <c:v>0.07095424230729201</c:v>
                </c:pt>
                <c:pt idx="4">
                  <c:v>0.0390711056236384</c:v>
                </c:pt>
                <c:pt idx="5">
                  <c:v>0.03869685977161881</c:v>
                </c:pt>
                <c:pt idx="6">
                  <c:v>0.03782023705384928</c:v>
                </c:pt>
                <c:pt idx="7">
                  <c:v>0.034178895082025554</c:v>
                </c:pt>
                <c:pt idx="8">
                  <c:v>0.027299198626917293</c:v>
                </c:pt>
                <c:pt idx="9">
                  <c:v>0.0270122805800010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errier-Jouët Blanc Grand Brut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Heidsieck Monopole Silver Top 750ml (4.2%)</c:v>
                </c:pt>
                <c:pt idx="3">
                  <c:v>Champagne Ruinart Brut 750ml (7.3%)</c:v>
                </c:pt>
                <c:pt idx="4">
                  <c:v>Champagne Taittinger Prestige Brut 750ml (1.6%)</c:v>
                </c:pt>
                <c:pt idx="5">
                  <c:v>Champagne E.Nicolas Brut 750ml (11.6%)</c:v>
                </c:pt>
                <c:pt idx="6">
                  <c:v>Champagne Vranken Demoiselle Rosé Prestige 750ml (2.0%)</c:v>
                </c:pt>
                <c:pt idx="7">
                  <c:v>Champagne Malard Brut 1er Cru 750ml (4.1%)</c:v>
                </c:pt>
                <c:pt idx="8">
                  <c:v>Champagne Besserat de Bellefon Bleu Brut 750ml (1.7%)</c:v>
                </c:pt>
                <c:pt idx="9">
                  <c:v>Champagne Nicolas Feuillatte Réserve Exclusive Brut 750ml (3.0%)</c:v>
                </c:pt>
              </c:strCache>
            </c:strRef>
          </c:cat>
          <c:val>
            <c:numRef>
              <c:f>Sheet1!$B$2:$B$11</c:f>
              <c:numCache>
                <c:formatCode>General</c:formatCode>
                <c:ptCount val="10"/>
                <c:pt idx="0">
                  <c:v>0.07494244118245444</c:v>
                </c:pt>
                <c:pt idx="1">
                  <c:v>0.061224019493836254</c:v>
                </c:pt>
                <c:pt idx="2">
                  <c:v>0.05609865587806915</c:v>
                </c:pt>
                <c:pt idx="3">
                  <c:v>0.045916087927760266</c:v>
                </c:pt>
                <c:pt idx="4">
                  <c:v>0.04476866947783326</c:v>
                </c:pt>
                <c:pt idx="5">
                  <c:v>0.041011167451713015</c:v>
                </c:pt>
                <c:pt idx="6">
                  <c:v>0.03827052467210761</c:v>
                </c:pt>
                <c:pt idx="7">
                  <c:v>0.036237249327291395</c:v>
                </c:pt>
                <c:pt idx="8">
                  <c:v>0.035426414724943955</c:v>
                </c:pt>
                <c:pt idx="9">
                  <c:v>0.0300728790769599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hâteau Moncontour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Savian (2.1%)</c:v>
                </c:pt>
                <c:pt idx="4">
                  <c:v>Bouvet Ladubay (1.5%)</c:v>
                </c:pt>
                <c:pt idx="5">
                  <c:v>Bottega (3.7%)</c:v>
                </c:pt>
                <c:pt idx="6">
                  <c:v>Lyre's (1.0%)</c:v>
                </c:pt>
                <c:pt idx="7">
                  <c:v>Les Grumes  (1.0%)</c:v>
                </c:pt>
                <c:pt idx="8">
                  <c:v>Malard (6.0%)</c:v>
                </c:pt>
                <c:pt idx="9">
                  <c:v>Dea Augusta (0.5%)</c:v>
                </c:pt>
              </c:strCache>
            </c:strRef>
          </c:cat>
          <c:val>
            <c:numRef>
              <c:f>Sheet1!$B$2:$B$11</c:f>
              <c:numCache>
                <c:formatCode>General</c:formatCode>
                <c:ptCount val="10"/>
                <c:pt idx="0">
                  <c:v>0.11873989438423259</c:v>
                </c:pt>
                <c:pt idx="1">
                  <c:v>0.11837412258486227</c:v>
                </c:pt>
                <c:pt idx="2">
                  <c:v>0.10028851337633746</c:v>
                </c:pt>
                <c:pt idx="3">
                  <c:v>0.07261603558500844</c:v>
                </c:pt>
                <c:pt idx="4">
                  <c:v>0.06888025148472897</c:v>
                </c:pt>
                <c:pt idx="5">
                  <c:v>0.06194863727247553</c:v>
                </c:pt>
                <c:pt idx="6">
                  <c:v>0.047548401211606875</c:v>
                </c:pt>
                <c:pt idx="7">
                  <c:v>0.041114742059858364</c:v>
                </c:pt>
                <c:pt idx="8">
                  <c:v>0.038980953992916095</c:v>
                </c:pt>
                <c:pt idx="9">
                  <c:v>0.0356923783354784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errier-Jouët Blanc Grand Brut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Laurent-Perrier Blanc La Cuvée 750ml (2.7%)</c:v>
                </c:pt>
                <c:pt idx="4">
                  <c:v>Champagne Heidsieck Monopole Silver Top 750ml (4.2%)</c:v>
                </c:pt>
                <c:pt idx="5">
                  <c:v>Champagne Ayala Brut Majeur 750ml (1.7%)</c:v>
                </c:pt>
                <c:pt idx="6">
                  <c:v>Champagne Veuve Clicquot Réserve Cuvée 750ml (1.7%)</c:v>
                </c:pt>
                <c:pt idx="7">
                  <c:v>Champagne Vranken Demoiselle Rosé Prestige 750ml (2.0%)</c:v>
                </c:pt>
                <c:pt idx="8">
                  <c:v>Champagne Bollinger Special Cuvée Brut 750ml (1.2%)</c:v>
                </c:pt>
                <c:pt idx="9">
                  <c:v>Champagne Besserat de Bellefon Bleu Brut 750ml (1.7%)</c:v>
                </c:pt>
              </c:strCache>
            </c:strRef>
          </c:cat>
          <c:val>
            <c:numRef>
              <c:f>Sheet1!$B$2:$B$11</c:f>
              <c:numCache>
                <c:formatCode>General</c:formatCode>
                <c:ptCount val="10"/>
                <c:pt idx="0">
                  <c:v>0.1618233666729799</c:v>
                </c:pt>
                <c:pt idx="1">
                  <c:v>0.07952781009965817</c:v>
                </c:pt>
                <c:pt idx="2">
                  <c:v>0.07496324055431619</c:v>
                </c:pt>
                <c:pt idx="3">
                  <c:v>0.06314068014341921</c:v>
                </c:pt>
                <c:pt idx="4">
                  <c:v>0.044359807010527726</c:v>
                </c:pt>
                <c:pt idx="5">
                  <c:v>0.036070568487191534</c:v>
                </c:pt>
                <c:pt idx="6">
                  <c:v>0.03190403189817453</c:v>
                </c:pt>
                <c:pt idx="7">
                  <c:v>0.0291510371965137</c:v>
                </c:pt>
                <c:pt idx="8">
                  <c:v>0.028908908541699353</c:v>
                </c:pt>
                <c:pt idx="9">
                  <c:v>0.0237651213447222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iper-Heidsieck Essential by Nicolas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Malard Brut 1er Cru 750ml (4.1%)</c:v>
                </c:pt>
                <c:pt idx="4">
                  <c:v>Champagne E.Nicolas Brut 750ml (11.6%)</c:v>
                </c:pt>
                <c:pt idx="5">
                  <c:v>Champagne Besserat de Bellefon Bleu Brut 750ml (1.7%)</c:v>
                </c:pt>
                <c:pt idx="6">
                  <c:v>Prosecco Carlo V Cuvée Del Imperator 750ml (5.4%)</c:v>
                </c:pt>
                <c:pt idx="7">
                  <c:v>Champagne Vranken Demoiselle Tête de Cuvée 750ml (1.4%)</c:v>
                </c:pt>
                <c:pt idx="8">
                  <c:v>Prosecco Bottega 750ml (2.6%)</c:v>
                </c:pt>
                <c:pt idx="9">
                  <c:v>Champagne Laurent-Perrier Blanc La Cuvée 750ml (2.7%)</c:v>
                </c:pt>
              </c:strCache>
            </c:strRef>
          </c:cat>
          <c:val>
            <c:numRef>
              <c:f>Sheet1!$B$2:$B$11</c:f>
              <c:numCache>
                <c:formatCode>General</c:formatCode>
                <c:ptCount val="10"/>
                <c:pt idx="0">
                  <c:v>0.38787718451765346</c:v>
                </c:pt>
                <c:pt idx="1">
                  <c:v>0.07122877864778446</c:v>
                </c:pt>
                <c:pt idx="2">
                  <c:v>0.06385815117992098</c:v>
                </c:pt>
                <c:pt idx="3">
                  <c:v>0.03689947663227003</c:v>
                </c:pt>
                <c:pt idx="4">
                  <c:v>0.03387569581096164</c:v>
                </c:pt>
                <c:pt idx="5">
                  <c:v>0.03291880807102901</c:v>
                </c:pt>
                <c:pt idx="6">
                  <c:v>0.030742418473036107</c:v>
                </c:pt>
                <c:pt idx="7">
                  <c:v>0.021525422863574385</c:v>
                </c:pt>
                <c:pt idx="8">
                  <c:v>0.020662852651675584</c:v>
                </c:pt>
                <c:pt idx="9">
                  <c:v>0.0200361519484744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iper-Heidsieck Essential by Nicolas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Laurent-Perrier Blanc La Cuvée 750ml (2.7%)</c:v>
                </c:pt>
                <c:pt idx="4">
                  <c:v>Champagne Besserat de Bellefon Bleu Brut 750ml (1.7%)</c:v>
                </c:pt>
                <c:pt idx="5">
                  <c:v>Champagne E.Nicolas Brut 750ml (11.6%)</c:v>
                </c:pt>
                <c:pt idx="6">
                  <c:v>Champagne Vranken Demoiselle Tête de Cuvée 750ml (1.4%)</c:v>
                </c:pt>
                <c:pt idx="7">
                  <c:v>Champagne Malard Brut 1er Cru 750ml (4.1%)</c:v>
                </c:pt>
                <c:pt idx="8">
                  <c:v>Prosecco Carlo V Cuvée Del Imperator 750ml (5.4%)</c:v>
                </c:pt>
                <c:pt idx="9">
                  <c:v>Champagne Deutz Brut Classique 750ml (3.4%)</c:v>
                </c:pt>
              </c:strCache>
            </c:strRef>
          </c:cat>
          <c:val>
            <c:numRef>
              <c:f>Sheet1!$B$2:$B$11</c:f>
              <c:numCache>
                <c:formatCode>General</c:formatCode>
                <c:ptCount val="10"/>
                <c:pt idx="0">
                  <c:v>0.2813307069717131</c:v>
                </c:pt>
                <c:pt idx="1">
                  <c:v>0.0630138344228161</c:v>
                </c:pt>
                <c:pt idx="2">
                  <c:v>0.052251320138986534</c:v>
                </c:pt>
                <c:pt idx="3">
                  <c:v>0.044685573795833246</c:v>
                </c:pt>
                <c:pt idx="4">
                  <c:v>0.04096308007619801</c:v>
                </c:pt>
                <c:pt idx="5">
                  <c:v>0.032609557458006505</c:v>
                </c:pt>
                <c:pt idx="6">
                  <c:v>0.028432330218780503</c:v>
                </c:pt>
                <c:pt idx="7">
                  <c:v>0.027346801039963606</c:v>
                </c:pt>
                <c:pt idx="8">
                  <c:v>0.026664556899127934</c:v>
                </c:pt>
                <c:pt idx="9">
                  <c:v>0.02143308864508309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ol Roger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Besserat de Bellefon Bleu Brut 750ml (1.7%)</c:v>
                </c:pt>
                <c:pt idx="4">
                  <c:v>Champagne Laurent-Perrier Blanc La Cuvée 750ml (2.7%)</c:v>
                </c:pt>
                <c:pt idx="5">
                  <c:v>Champagne Deutz Brut Classique 750ml (3.4%)</c:v>
                </c:pt>
                <c:pt idx="6">
                  <c:v>Champagne Vranken Demoiselle Rosé Prestige 750ml (2.0%)</c:v>
                </c:pt>
                <c:pt idx="7">
                  <c:v>Champagne Nicolas Feuillatte Réserve Exclusive Brut 750ml (3.0%)</c:v>
                </c:pt>
                <c:pt idx="8">
                  <c:v>Champagne Taittinger Prestige Brut 750ml (1.6%)</c:v>
                </c:pt>
                <c:pt idx="9">
                  <c:v>Champagne Ruinart Brut 750ml (7.3%)</c:v>
                </c:pt>
              </c:strCache>
            </c:strRef>
          </c:cat>
          <c:val>
            <c:numRef>
              <c:f>Sheet1!$B$2:$B$11</c:f>
              <c:numCache>
                <c:formatCode>General</c:formatCode>
                <c:ptCount val="10"/>
                <c:pt idx="0">
                  <c:v>0.062333303005590306</c:v>
                </c:pt>
                <c:pt idx="1">
                  <c:v>0.06009367398111858</c:v>
                </c:pt>
                <c:pt idx="2">
                  <c:v>0.05509213997308</c:v>
                </c:pt>
                <c:pt idx="3">
                  <c:v>0.05475909512210588</c:v>
                </c:pt>
                <c:pt idx="4">
                  <c:v>0.049603198709191554</c:v>
                </c:pt>
                <c:pt idx="5">
                  <c:v>0.03586179397331647</c:v>
                </c:pt>
                <c:pt idx="6">
                  <c:v>0.03197656564024075</c:v>
                </c:pt>
                <c:pt idx="7">
                  <c:v>0.03116365235357327</c:v>
                </c:pt>
                <c:pt idx="8">
                  <c:v>0.029333849188828875</c:v>
                </c:pt>
                <c:pt idx="9">
                  <c:v>0.02780238467114926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ol Roger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E.Nicolas Brut 750ml (11.6%)</c:v>
                </c:pt>
                <c:pt idx="3">
                  <c:v>Champagne Malard Brut 1er Cru 750ml (4.1%)</c:v>
                </c:pt>
                <c:pt idx="4">
                  <c:v>Champagne Taittinger Prestige Brut 750ml (1.6%)</c:v>
                </c:pt>
                <c:pt idx="5">
                  <c:v>Champagne Besserat de Bellefon Bleu Brut 750ml (1.7%)</c:v>
                </c:pt>
                <c:pt idx="6">
                  <c:v>Champagne Ruinart Brut 750ml (7.3%)</c:v>
                </c:pt>
                <c:pt idx="7">
                  <c:v>Champagne Heidsieck Monopole Silver Top 750ml (4.2%)</c:v>
                </c:pt>
                <c:pt idx="8">
                  <c:v>Champagne Vranken Demoiselle Rosé Prestige 750ml (2.0%)</c:v>
                </c:pt>
                <c:pt idx="9">
                  <c:v>Champagne Ayala Brut Majeur 750ml (1.7%)</c:v>
                </c:pt>
              </c:strCache>
            </c:strRef>
          </c:cat>
          <c:val>
            <c:numRef>
              <c:f>Sheet1!$B$2:$B$11</c:f>
              <c:numCache>
                <c:formatCode>General</c:formatCode>
                <c:ptCount val="10"/>
                <c:pt idx="0">
                  <c:v>0.06943865356594457</c:v>
                </c:pt>
                <c:pt idx="1">
                  <c:v>0.054288852824692785</c:v>
                </c:pt>
                <c:pt idx="2">
                  <c:v>0.04700900405163601</c:v>
                </c:pt>
                <c:pt idx="3">
                  <c:v>0.043975918910613865</c:v>
                </c:pt>
                <c:pt idx="4">
                  <c:v>0.04350975399841136</c:v>
                </c:pt>
                <c:pt idx="5">
                  <c:v>0.0425247825772059</c:v>
                </c:pt>
                <c:pt idx="6">
                  <c:v>0.04165136743522006</c:v>
                </c:pt>
                <c:pt idx="7">
                  <c:v>0.04093004695026352</c:v>
                </c:pt>
                <c:pt idx="8">
                  <c:v>0.030140523453030914</c:v>
                </c:pt>
                <c:pt idx="9">
                  <c:v>0.026252119681681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ouis Roederer Brut Collection 245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Taittinger Prestige Brut 750ml (1.6%)</c:v>
                </c:pt>
                <c:pt idx="4">
                  <c:v>Champagne Veuve Clicquot Réserve Cuvée 750ml (1.7%)</c:v>
                </c:pt>
                <c:pt idx="5">
                  <c:v>Champagne Ruinart Brut (étui) 750ml (1.2%)</c:v>
                </c:pt>
                <c:pt idx="6">
                  <c:v>Champagne Laurent-Perrier Blanc La Cuvée 750ml (2.7%)</c:v>
                </c:pt>
                <c:pt idx="7">
                  <c:v>Champagne Malard Brut 1er Cru 750ml (4.1%)</c:v>
                </c:pt>
                <c:pt idx="8">
                  <c:v>Champagne Ayala Brut Majeur 750ml (1.7%)</c:v>
                </c:pt>
                <c:pt idx="9">
                  <c:v>Champagne Bollinger Special Cuvée Brut 750ml (1.2%)</c:v>
                </c:pt>
              </c:strCache>
            </c:strRef>
          </c:cat>
          <c:val>
            <c:numRef>
              <c:f>Sheet1!$B$2:$B$11</c:f>
              <c:numCache>
                <c:formatCode>General</c:formatCode>
                <c:ptCount val="10"/>
                <c:pt idx="0">
                  <c:v>0.1908583704830204</c:v>
                </c:pt>
                <c:pt idx="1">
                  <c:v>0.11697436604563943</c:v>
                </c:pt>
                <c:pt idx="2">
                  <c:v>0.04599703207597362</c:v>
                </c:pt>
                <c:pt idx="3">
                  <c:v>0.04388775289032465</c:v>
                </c:pt>
                <c:pt idx="4">
                  <c:v>0.03942364982440309</c:v>
                </c:pt>
                <c:pt idx="5">
                  <c:v>0.029127419173746092</c:v>
                </c:pt>
                <c:pt idx="6">
                  <c:v>0.027785108911905096</c:v>
                </c:pt>
                <c:pt idx="7">
                  <c:v>0.02688266658853945</c:v>
                </c:pt>
                <c:pt idx="8">
                  <c:v>0.02667149678684548</c:v>
                </c:pt>
                <c:pt idx="9">
                  <c:v>0.026405219509532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ouis Roederer Brut Collection 245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Taittinger Prestige Brut 750ml (1.6%)</c:v>
                </c:pt>
                <c:pt idx="4">
                  <c:v>Champagne E.Nicolas Brut 750ml (11.6%)</c:v>
                </c:pt>
                <c:pt idx="5">
                  <c:v>Champagne Veuve Clicquot Réserve Cuvée 750ml (1.7%)</c:v>
                </c:pt>
                <c:pt idx="6">
                  <c:v>Champagne Bollinger Special Cuvée Brut 750ml (1.2%)</c:v>
                </c:pt>
                <c:pt idx="7">
                  <c:v>Champagne Vranken Demoiselle Rosé Prestige 750ml (2.0%)</c:v>
                </c:pt>
                <c:pt idx="8">
                  <c:v>Champagne Laurent-Perrier Blanc La Cuvée 750ml (2.7%)</c:v>
                </c:pt>
                <c:pt idx="9">
                  <c:v>Champagne Malard Brut 1er Cru 750ml (4.1%)</c:v>
                </c:pt>
              </c:strCache>
            </c:strRef>
          </c:cat>
          <c:val>
            <c:numRef>
              <c:f>Sheet1!$B$2:$B$11</c:f>
              <c:numCache>
                <c:formatCode>General</c:formatCode>
                <c:ptCount val="10"/>
                <c:pt idx="0">
                  <c:v>0.22247590480683577</c:v>
                </c:pt>
                <c:pt idx="1">
                  <c:v>0.1128809575123839</c:v>
                </c:pt>
                <c:pt idx="2">
                  <c:v>0.03600968039829772</c:v>
                </c:pt>
                <c:pt idx="3">
                  <c:v>0.035993567787321566</c:v>
                </c:pt>
                <c:pt idx="4">
                  <c:v>0.0351040937485826</c:v>
                </c:pt>
                <c:pt idx="5">
                  <c:v>0.033224300647194435</c:v>
                </c:pt>
                <c:pt idx="6">
                  <c:v>0.03227026666787837</c:v>
                </c:pt>
                <c:pt idx="7">
                  <c:v>0.02532979941426211</c:v>
                </c:pt>
                <c:pt idx="8">
                  <c:v>0.0237644144689991</c:v>
                </c:pt>
                <c:pt idx="9">
                  <c:v>0.022922852479856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Taittinger Prestige Brut 750ml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Heidsieck Monopole Silver Top 750ml (4.2%)</c:v>
                </c:pt>
                <c:pt idx="3">
                  <c:v>Champagne Malard Brut 1er Cru 750ml (4.1%)</c:v>
                </c:pt>
                <c:pt idx="4">
                  <c:v>Champagne Veuve Clicquot Réserve Cuvée 750ml (1.7%)</c:v>
                </c:pt>
                <c:pt idx="5">
                  <c:v>Champagne Besserat de Bellefon Bleu Brut 750ml (1.7%)</c:v>
                </c:pt>
                <c:pt idx="6">
                  <c:v>Champagne Ruinart Brut 750ml (7.3%)</c:v>
                </c:pt>
                <c:pt idx="7">
                  <c:v>Champagne E.Nicolas Brut 750ml (11.6%)</c:v>
                </c:pt>
                <c:pt idx="8">
                  <c:v>Champagne Nicolas Feuillatte Réserve Exclusive Brut 750ml (3.0%)</c:v>
                </c:pt>
                <c:pt idx="9">
                  <c:v>Champagne Canard-Duchêne Blanc Cuvée Léonie Brut 750ml (2.6%)</c:v>
                </c:pt>
              </c:strCache>
            </c:strRef>
          </c:cat>
          <c:val>
            <c:numRef>
              <c:f>Sheet1!$B$2:$B$11</c:f>
              <c:numCache>
                <c:formatCode>General</c:formatCode>
                <c:ptCount val="10"/>
                <c:pt idx="0">
                  <c:v>0.09031973581945901</c:v>
                </c:pt>
                <c:pt idx="1">
                  <c:v>0.07655147000549774</c:v>
                </c:pt>
                <c:pt idx="2">
                  <c:v>0.06554689203089045</c:v>
                </c:pt>
                <c:pt idx="3">
                  <c:v>0.05300506577097401</c:v>
                </c:pt>
                <c:pt idx="4">
                  <c:v>0.049251675662507204</c:v>
                </c:pt>
                <c:pt idx="5">
                  <c:v>0.04524924098940351</c:v>
                </c:pt>
                <c:pt idx="6">
                  <c:v>0.03884251692212945</c:v>
                </c:pt>
                <c:pt idx="7">
                  <c:v>0.03863854544201393</c:v>
                </c:pt>
                <c:pt idx="8">
                  <c:v>0.03616496641902863</c:v>
                </c:pt>
                <c:pt idx="9">
                  <c:v>0.03150149333722724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Taittinger Prestige Brut 750ml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Veuve Clicquot Réserve Cuvée 750ml (1.7%)</c:v>
                </c:pt>
                <c:pt idx="2">
                  <c:v>Champagne Ruinart Brut 750ml (7.3%)</c:v>
                </c:pt>
                <c:pt idx="3">
                  <c:v>Champagne Laurent-Perrier Blanc La Cuvée 750ml (2.7%)</c:v>
                </c:pt>
                <c:pt idx="4">
                  <c:v>Champagne Heidsieck Monopole Silver Top 750ml (4.2%)</c:v>
                </c:pt>
                <c:pt idx="5">
                  <c:v>Champagne Besserat de Bellefon Bleu Brut 750ml (1.7%)</c:v>
                </c:pt>
                <c:pt idx="6">
                  <c:v>Champagne Ayala Brut Majeur 750ml (1.7%)</c:v>
                </c:pt>
                <c:pt idx="7">
                  <c:v>Champagne Perrier-Jouët Blanc Grand Brut 750ml (0.9%)</c:v>
                </c:pt>
                <c:pt idx="8">
                  <c:v>Champagne Malard Brut 1er Cru 750ml (4.1%)</c:v>
                </c:pt>
                <c:pt idx="9">
                  <c:v>Champagne Moët &amp; Chandon Réserve Impériale 750ml (1.1%)</c:v>
                </c:pt>
              </c:strCache>
            </c:strRef>
          </c:cat>
          <c:val>
            <c:numRef>
              <c:f>Sheet1!$B$2:$B$11</c:f>
              <c:numCache>
                <c:formatCode>General</c:formatCode>
                <c:ptCount val="10"/>
                <c:pt idx="0">
                  <c:v>0.18279503705014266</c:v>
                </c:pt>
                <c:pt idx="1">
                  <c:v>0.07608799308882273</c:v>
                </c:pt>
                <c:pt idx="2">
                  <c:v>0.07369738051120206</c:v>
                </c:pt>
                <c:pt idx="3">
                  <c:v>0.07289774574111048</c:v>
                </c:pt>
                <c:pt idx="4">
                  <c:v>0.042756552684343724</c:v>
                </c:pt>
                <c:pt idx="5">
                  <c:v>0.03253079191429075</c:v>
                </c:pt>
                <c:pt idx="6">
                  <c:v>0.032226518241757277</c:v>
                </c:pt>
                <c:pt idx="7">
                  <c:v>0.02941319861893939</c:v>
                </c:pt>
                <c:pt idx="8">
                  <c:v>0.02849919855337727</c:v>
                </c:pt>
                <c:pt idx="9">
                  <c:v>0.0268856668917688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Taittinger Prestige Brut 150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Deutz Brut Classique 750ml (3.4%)</c:v>
                </c:pt>
                <c:pt idx="3">
                  <c:v>Champagne Laurent-Perrier Blanc La Cuvée 1500ml (0.8%)</c:v>
                </c:pt>
                <c:pt idx="4">
                  <c:v>Champagne Laurent-Perrier Blanc La Cuvée 750ml (2.7%)</c:v>
                </c:pt>
                <c:pt idx="5">
                  <c:v>Champagne Taittinger Prestige Brut 750ml (1.6%)</c:v>
                </c:pt>
                <c:pt idx="6">
                  <c:v>Champagne E.Nicolas Brut 750ml (11.6%)</c:v>
                </c:pt>
                <c:pt idx="7">
                  <c:v>Champagne Ruinart Brut (étui) 750ml (1.2%)</c:v>
                </c:pt>
                <c:pt idx="8">
                  <c:v>Champagne Veuve Clicquot Réserve Cuvée 750ml (1.7%)</c:v>
                </c:pt>
                <c:pt idx="9">
                  <c:v>Champagne Canard-Duchêne Blanc Cuvée Léonie Brut 750ml (2.6%)</c:v>
                </c:pt>
              </c:strCache>
            </c:strRef>
          </c:cat>
          <c:val>
            <c:numRef>
              <c:f>Sheet1!$B$2:$B$11</c:f>
              <c:numCache>
                <c:formatCode>General</c:formatCode>
                <c:ptCount val="10"/>
                <c:pt idx="0">
                  <c:v>0.17690429977351338</c:v>
                </c:pt>
                <c:pt idx="1">
                  <c:v>0.048948561533414384</c:v>
                </c:pt>
                <c:pt idx="2">
                  <c:v>0.04887938441113112</c:v>
                </c:pt>
                <c:pt idx="3">
                  <c:v>0.04698681851360971</c:v>
                </c:pt>
                <c:pt idx="4">
                  <c:v>0.03993858909323447</c:v>
                </c:pt>
                <c:pt idx="5">
                  <c:v>0.035408151931736</c:v>
                </c:pt>
                <c:pt idx="6">
                  <c:v>0.03351181307159112</c:v>
                </c:pt>
                <c:pt idx="7">
                  <c:v>0.030626083081882468</c:v>
                </c:pt>
                <c:pt idx="8">
                  <c:v>0.03043894032121573</c:v>
                </c:pt>
                <c:pt idx="9">
                  <c:v>0.0280761415964375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ontarini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Savian (2.1%)</c:v>
                </c:pt>
                <c:pt idx="4">
                  <c:v>Patriarche (2.6%)</c:v>
                </c:pt>
                <c:pt idx="5">
                  <c:v>Muré (1.3%)</c:v>
                </c:pt>
                <c:pt idx="6">
                  <c:v>Heidsieck &amp; C° Monopole (4.2%)</c:v>
                </c:pt>
                <c:pt idx="7">
                  <c:v>Malard (6.0%)</c:v>
                </c:pt>
                <c:pt idx="8">
                  <c:v>Nicolas Feuillatte (4.5%)</c:v>
                </c:pt>
                <c:pt idx="9">
                  <c:v>Ruinart (12.8%)</c:v>
                </c:pt>
              </c:strCache>
            </c:strRef>
          </c:cat>
          <c:val>
            <c:numRef>
              <c:f>Sheet1!$B$2:$B$11</c:f>
              <c:numCache>
                <c:formatCode>General</c:formatCode>
                <c:ptCount val="10"/>
                <c:pt idx="0">
                  <c:v>0.183228968982733</c:v>
                </c:pt>
                <c:pt idx="1">
                  <c:v>0.16837560791477926</c:v>
                </c:pt>
                <c:pt idx="2">
                  <c:v>0.09113937750745434</c:v>
                </c:pt>
                <c:pt idx="3">
                  <c:v>0.052173648056400394</c:v>
                </c:pt>
                <c:pt idx="4">
                  <c:v>0.04325899673615193</c:v>
                </c:pt>
                <c:pt idx="5">
                  <c:v>0.03994106661371526</c:v>
                </c:pt>
                <c:pt idx="6">
                  <c:v>0.039934081576037915</c:v>
                </c:pt>
                <c:pt idx="7">
                  <c:v>0.03756833481685756</c:v>
                </c:pt>
                <c:pt idx="8">
                  <c:v>0.03691761076806601</c:v>
                </c:pt>
                <c:pt idx="9">
                  <c:v>0.030306854311218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Taittinger Prestige Brut 150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Laurent-Perrier Blanc La Cuvée 1500ml (0.8%)</c:v>
                </c:pt>
                <c:pt idx="3">
                  <c:v>Champagne Deutz Brut Classique 750ml (3.4%)</c:v>
                </c:pt>
                <c:pt idx="4">
                  <c:v>Champagne Taittinger Prestige Brut 750ml (1.6%)</c:v>
                </c:pt>
                <c:pt idx="5">
                  <c:v>Champagne Laurent-Perrier Blanc La Cuvée 750ml (2.7%)</c:v>
                </c:pt>
                <c:pt idx="6">
                  <c:v>Champagne Veuve Clicquot Réserve Cuvée 750ml (1.7%)</c:v>
                </c:pt>
                <c:pt idx="7">
                  <c:v>Champagne E.Nicolas Brut 750ml (11.6%)</c:v>
                </c:pt>
                <c:pt idx="8">
                  <c:v>Champagne Ruinart Brut (étui) 1500ml (0.7%)</c:v>
                </c:pt>
                <c:pt idx="9">
                  <c:v>Champagne Ruinart Brut (étui) 750ml (1.2%)</c:v>
                </c:pt>
              </c:strCache>
            </c:strRef>
          </c:cat>
          <c:val>
            <c:numRef>
              <c:f>Sheet1!$B$2:$B$11</c:f>
              <c:numCache>
                <c:formatCode>General</c:formatCode>
                <c:ptCount val="10"/>
                <c:pt idx="0">
                  <c:v>0.1457113723666384</c:v>
                </c:pt>
                <c:pt idx="1">
                  <c:v>0.05916694915988482</c:v>
                </c:pt>
                <c:pt idx="2">
                  <c:v>0.058364258669222714</c:v>
                </c:pt>
                <c:pt idx="3">
                  <c:v>0.04880281681690403</c:v>
                </c:pt>
                <c:pt idx="4">
                  <c:v>0.040251868407586974</c:v>
                </c:pt>
                <c:pt idx="5">
                  <c:v>0.03664254880212034</c:v>
                </c:pt>
                <c:pt idx="6">
                  <c:v>0.03469066770545223</c:v>
                </c:pt>
                <c:pt idx="7">
                  <c:v>0.03241172196487106</c:v>
                </c:pt>
                <c:pt idx="8">
                  <c:v>0.030177044807357445</c:v>
                </c:pt>
                <c:pt idx="9">
                  <c:v>0.027507556556742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Extra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E.Nicolas Brut 750ml (11.6%)</c:v>
                </c:pt>
                <c:pt idx="2">
                  <c:v>Champagne Malard Brut 1er Cru 750ml (4.1%)</c:v>
                </c:pt>
                <c:pt idx="3">
                  <c:v>Champagne Heidsieck Monopole Silver Top 750ml (4.2%)</c:v>
                </c:pt>
                <c:pt idx="4">
                  <c:v>Champagne Canard-Duchêne Blanc Cuvée Léonie Brut 750ml (2.6%)</c:v>
                </c:pt>
                <c:pt idx="5">
                  <c:v>Champagne Laurent-Perrier Blanc La Cuvée 750ml (2.7%)</c:v>
                </c:pt>
                <c:pt idx="6">
                  <c:v>Champagne Nicolas Feuillatte Réserve Exclusive Rosé 750ml (0.7%)</c:v>
                </c:pt>
                <c:pt idx="7">
                  <c:v>Champagne Vranken Demoiselle Tête de Cuvée 750ml (1.4%)</c:v>
                </c:pt>
                <c:pt idx="8">
                  <c:v>Champagne Vranken Demoiselle Rosé Prestige 750ml (2.0%)</c:v>
                </c:pt>
                <c:pt idx="9">
                  <c:v>Champagne Ruinart Brut 750ml (7.3%)</c:v>
                </c:pt>
              </c:strCache>
            </c:strRef>
          </c:cat>
          <c:val>
            <c:numRef>
              <c:f>Sheet1!$B$2:$B$11</c:f>
              <c:numCache>
                <c:formatCode>General</c:formatCode>
                <c:ptCount val="10"/>
                <c:pt idx="0">
                  <c:v>0.19208231492746325</c:v>
                </c:pt>
                <c:pt idx="1">
                  <c:v>0.11654737925622254</c:v>
                </c:pt>
                <c:pt idx="2">
                  <c:v>0.06106457952843735</c:v>
                </c:pt>
                <c:pt idx="3">
                  <c:v>0.054389065916130255</c:v>
                </c:pt>
                <c:pt idx="4">
                  <c:v>0.04556778527860725</c:v>
                </c:pt>
                <c:pt idx="5">
                  <c:v>0.0330861814638241</c:v>
                </c:pt>
                <c:pt idx="6">
                  <c:v>0.030455594603100263</c:v>
                </c:pt>
                <c:pt idx="7">
                  <c:v>0.027654378847511034</c:v>
                </c:pt>
                <c:pt idx="8">
                  <c:v>0.02483311565135426</c:v>
                </c:pt>
                <c:pt idx="9">
                  <c:v>0.024028356081799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Extra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E.Nicolas Brut 750ml (11.6%)</c:v>
                </c:pt>
                <c:pt idx="2">
                  <c:v>Champagne Laurent-Perrier Blanc La Cuvée 750ml (2.7%)</c:v>
                </c:pt>
                <c:pt idx="3">
                  <c:v>Champagne Malard Brut 1er Cru 750ml (4.1%)</c:v>
                </c:pt>
                <c:pt idx="4">
                  <c:v>Champagne Canard-Duchêne Blanc Cuvée Léonie Brut 750ml (2.6%)</c:v>
                </c:pt>
                <c:pt idx="5">
                  <c:v>Champagne Heidsieck Monopole Silver Top 750ml (4.2%)</c:v>
                </c:pt>
                <c:pt idx="6">
                  <c:v>Champagne Ruinart Brut 750ml (7.3%)</c:v>
                </c:pt>
                <c:pt idx="7">
                  <c:v>Champagne Nicolas Feuillatte Réserve Exclusive Rosé 750ml (0.7%)</c:v>
                </c:pt>
                <c:pt idx="8">
                  <c:v>Champagne Moët &amp; Chandon Réserve Impériale 750ml (1.1%)</c:v>
                </c:pt>
                <c:pt idx="9">
                  <c:v>Champagne Vranken Demoiselle Rosé Prestige 750ml (2.0%)</c:v>
                </c:pt>
              </c:strCache>
            </c:strRef>
          </c:cat>
          <c:val>
            <c:numRef>
              <c:f>Sheet1!$B$2:$B$11</c:f>
              <c:numCache>
                <c:formatCode>General</c:formatCode>
                <c:ptCount val="10"/>
                <c:pt idx="0">
                  <c:v>0.19106634278936527</c:v>
                </c:pt>
                <c:pt idx="1">
                  <c:v>0.09274072960351819</c:v>
                </c:pt>
                <c:pt idx="2">
                  <c:v>0.044871188390363616</c:v>
                </c:pt>
                <c:pt idx="3">
                  <c:v>0.04116427346769103</c:v>
                </c:pt>
                <c:pt idx="4">
                  <c:v>0.03884387036074141</c:v>
                </c:pt>
                <c:pt idx="5">
                  <c:v>0.03765612271171597</c:v>
                </c:pt>
                <c:pt idx="6">
                  <c:v>0.03497249160128324</c:v>
                </c:pt>
                <c:pt idx="7">
                  <c:v>0.03349187145156761</c:v>
                </c:pt>
                <c:pt idx="8">
                  <c:v>0.03213196342135408</c:v>
                </c:pt>
                <c:pt idx="9">
                  <c:v>0.0285856147116881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Brut 750ml (3.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Prosecco Carlo V Cuvée Del Imperator 750ml (5.4%)</c:v>
                </c:pt>
                <c:pt idx="5">
                  <c:v>Champagne Louis Martin Brut 1er Cru 750ml (0.5%)</c:v>
                </c:pt>
                <c:pt idx="6">
                  <c:v>Champagne E.Nicolas Rosé 750ml (0.9%)</c:v>
                </c:pt>
                <c:pt idx="7">
                  <c:v>Champagne Vranken Demoiselle Rosé Prestige 750ml (2.0%)</c:v>
                </c:pt>
                <c:pt idx="8">
                  <c:v>Champagne Nicolas Feuillatte Réserve Exclusive Rosé 750ml (0.7%)</c:v>
                </c:pt>
                <c:pt idx="9">
                  <c:v>Champagne Vranken Demoiselle Tête de Cuvée 750ml (1.4%)</c:v>
                </c:pt>
              </c:strCache>
            </c:strRef>
          </c:cat>
          <c:val>
            <c:numRef>
              <c:f>Sheet1!$B$2:$B$11</c:f>
              <c:numCache>
                <c:formatCode>General</c:formatCode>
                <c:ptCount val="10"/>
                <c:pt idx="0">
                  <c:v>0.23317263736792068</c:v>
                </c:pt>
                <c:pt idx="1">
                  <c:v>0.1384411482786962</c:v>
                </c:pt>
                <c:pt idx="2">
                  <c:v>0.0660116530096918</c:v>
                </c:pt>
                <c:pt idx="3">
                  <c:v>0.0401557158883415</c:v>
                </c:pt>
                <c:pt idx="4">
                  <c:v>0.029579032405348538</c:v>
                </c:pt>
                <c:pt idx="5">
                  <c:v>0.02563461098311557</c:v>
                </c:pt>
                <c:pt idx="6">
                  <c:v>0.02145983594388017</c:v>
                </c:pt>
                <c:pt idx="7">
                  <c:v>0.021386911240079853</c:v>
                </c:pt>
                <c:pt idx="8">
                  <c:v>0.02113363307350721</c:v>
                </c:pt>
                <c:pt idx="9">
                  <c:v>0.020852427427775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Brut 750ml (3.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Champagne Nicolas Feuillatte Réserve Exclusive Rosé 750ml (0.7%)</c:v>
                </c:pt>
                <c:pt idx="5">
                  <c:v>Champagne Vranken Demoiselle Tête de Cuvée 750ml (1.4%)</c:v>
                </c:pt>
                <c:pt idx="6">
                  <c:v>Champagne Laurent-Perrier Blanc La Cuvée 750ml (2.7%)</c:v>
                </c:pt>
                <c:pt idx="7">
                  <c:v>Champagne Vranken Demoiselle Rosé Prestige 750ml (2.0%)</c:v>
                </c:pt>
                <c:pt idx="8">
                  <c:v>Champagne Ruinart Brut 750ml (7.3%)</c:v>
                </c:pt>
                <c:pt idx="9">
                  <c:v>Champagne Château de Bligny 750ml (1.3%)</c:v>
                </c:pt>
              </c:strCache>
            </c:strRef>
          </c:cat>
          <c:val>
            <c:numRef>
              <c:f>Sheet1!$B$2:$B$11</c:f>
              <c:numCache>
                <c:formatCode>General</c:formatCode>
                <c:ptCount val="10"/>
                <c:pt idx="0">
                  <c:v>0.1477329691088202</c:v>
                </c:pt>
                <c:pt idx="1">
                  <c:v>0.12175753082344601</c:v>
                </c:pt>
                <c:pt idx="2">
                  <c:v>0.11126323809914546</c:v>
                </c:pt>
                <c:pt idx="3">
                  <c:v>0.07562407903104296</c:v>
                </c:pt>
                <c:pt idx="4">
                  <c:v>0.033305329670355314</c:v>
                </c:pt>
                <c:pt idx="5">
                  <c:v>0.0307611440931143</c:v>
                </c:pt>
                <c:pt idx="6">
                  <c:v>0.023822429831319516</c:v>
                </c:pt>
                <c:pt idx="7">
                  <c:v>0.021407984966756614</c:v>
                </c:pt>
                <c:pt idx="8">
                  <c:v>0.020973103659666516</c:v>
                </c:pt>
                <c:pt idx="9">
                  <c:v>0.02051853652081864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Brut 150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Nicolas Feuillatte Réserve Exclusive Brut 750ml (3.0%)</c:v>
                </c:pt>
                <c:pt idx="3">
                  <c:v>Champagne Laurent-Perrier Blanc La Cuvée 750ml (2.7%)</c:v>
                </c:pt>
                <c:pt idx="4">
                  <c:v>Champagne Vranken Demoiselle Rosé Prestige 750ml (2.0%)</c:v>
                </c:pt>
                <c:pt idx="5">
                  <c:v>Champagne Deutz Brut Classique 750ml (3.4%)</c:v>
                </c:pt>
                <c:pt idx="6">
                  <c:v>Champagne Malard Brut 1er Cru 750ml (4.1%)</c:v>
                </c:pt>
                <c:pt idx="7">
                  <c:v>Champagne Heidsieck Monopole Silver Top 750ml (4.2%)</c:v>
                </c:pt>
                <c:pt idx="8">
                  <c:v>Champagne Canard-Duchêne Blanc Cuvée Léonie Brut 750ml (2.6%)</c:v>
                </c:pt>
                <c:pt idx="9">
                  <c:v>Champagne Veuve Clicquot Réserve Cuvée 750ml (1.7%)</c:v>
                </c:pt>
              </c:strCache>
            </c:strRef>
          </c:cat>
          <c:val>
            <c:numRef>
              <c:f>Sheet1!$B$2:$B$11</c:f>
              <c:numCache>
                <c:formatCode>General</c:formatCode>
                <c:ptCount val="10"/>
                <c:pt idx="0">
                  <c:v>0.07840506796335778</c:v>
                </c:pt>
                <c:pt idx="1">
                  <c:v>0.07308351283043892</c:v>
                </c:pt>
                <c:pt idx="2">
                  <c:v>0.05724896746755133</c:v>
                </c:pt>
                <c:pt idx="3">
                  <c:v>0.04009202500722257</c:v>
                </c:pt>
                <c:pt idx="4">
                  <c:v>0.03858538324305474</c:v>
                </c:pt>
                <c:pt idx="5">
                  <c:v>0.0352419606718579</c:v>
                </c:pt>
                <c:pt idx="6">
                  <c:v>0.030837561801137416</c:v>
                </c:pt>
                <c:pt idx="7">
                  <c:v>0.02995509155948895</c:v>
                </c:pt>
                <c:pt idx="8">
                  <c:v>0.027395147944926944</c:v>
                </c:pt>
                <c:pt idx="9">
                  <c:v>0.02544875648544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Brut 150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Ruinart Brut 750ml (7.3%)</c:v>
                </c:pt>
                <c:pt idx="2">
                  <c:v>Champagne Nicolas Feuillatte Réserve Exclusive Brut 750ml (3.0%)</c:v>
                </c:pt>
                <c:pt idx="3">
                  <c:v>Champagne Laurent-Perrier Blanc La Cuvée 750ml (2.7%)</c:v>
                </c:pt>
                <c:pt idx="4">
                  <c:v>Champagne Vranken Demoiselle Rosé Prestige 750ml (2.0%)</c:v>
                </c:pt>
                <c:pt idx="5">
                  <c:v>Champagne Malard Brut 1er Cru 750ml (4.1%)</c:v>
                </c:pt>
                <c:pt idx="6">
                  <c:v>Champagne Canard-Duchêne Blanc Cuvée Léonie Brut 750ml (2.6%)</c:v>
                </c:pt>
                <c:pt idx="7">
                  <c:v>Champagne Deutz Brut Classique 750ml (3.4%)</c:v>
                </c:pt>
                <c:pt idx="8">
                  <c:v>Champagne Heidsieck Monopole Silver Top 750ml (4.2%)</c:v>
                </c:pt>
                <c:pt idx="9">
                  <c:v>Champagne Veuve Clicquot Réserve Cuvée 750ml (1.7%)</c:v>
                </c:pt>
              </c:strCache>
            </c:strRef>
          </c:cat>
          <c:val>
            <c:numRef>
              <c:f>Sheet1!$B$2:$B$11</c:f>
              <c:numCache>
                <c:formatCode>General</c:formatCode>
                <c:ptCount val="10"/>
                <c:pt idx="0">
                  <c:v>0.09806206104216555</c:v>
                </c:pt>
                <c:pt idx="1">
                  <c:v>0.07276463192080099</c:v>
                </c:pt>
                <c:pt idx="2">
                  <c:v>0.05102126607964949</c:v>
                </c:pt>
                <c:pt idx="3">
                  <c:v>0.03757870220050354</c:v>
                </c:pt>
                <c:pt idx="4">
                  <c:v>0.03252749930607445</c:v>
                </c:pt>
                <c:pt idx="5">
                  <c:v>0.03078584914641905</c:v>
                </c:pt>
                <c:pt idx="6">
                  <c:v>0.030504884250764558</c:v>
                </c:pt>
                <c:pt idx="7">
                  <c:v>0.02759188531811324</c:v>
                </c:pt>
                <c:pt idx="8">
                  <c:v>0.026123185117189276</c:v>
                </c:pt>
                <c:pt idx="9">
                  <c:v>0.0227765095197090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Rosé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Heidsieck Monopole Silver Top 750ml (4.2%)</c:v>
                </c:pt>
                <c:pt idx="2">
                  <c:v>Champagne E.Nicolas Brut 750ml (11.6%)</c:v>
                </c:pt>
                <c:pt idx="3">
                  <c:v>Champagne Malard Brut 1er Cru 750ml (4.1%)</c:v>
                </c:pt>
                <c:pt idx="4">
                  <c:v>Champagne Canard-Duchêne Blanc Cuvée Léonie Brut 750ml (2.6%)</c:v>
                </c:pt>
                <c:pt idx="5">
                  <c:v>Champagne Vranken Demoiselle Rosé Prestige 750ml (2.0%)</c:v>
                </c:pt>
                <c:pt idx="6">
                  <c:v>Champagne Vranken Demoiselle Tête de Cuvée 750ml (1.4%)</c:v>
                </c:pt>
                <c:pt idx="7">
                  <c:v>Prosecco Carlo V Cuvée Del Imperator 750ml (5.4%)</c:v>
                </c:pt>
                <c:pt idx="8">
                  <c:v>Champagne Ruinart Brut 750ml (7.3%)</c:v>
                </c:pt>
                <c:pt idx="9">
                  <c:v>Prosecco Bottega 750ml (2.6%)</c:v>
                </c:pt>
              </c:strCache>
            </c:strRef>
          </c:cat>
          <c:val>
            <c:numRef>
              <c:f>Sheet1!$B$2:$B$11</c:f>
              <c:numCache>
                <c:formatCode>General</c:formatCode>
                <c:ptCount val="10"/>
                <c:pt idx="0">
                  <c:v>0.15022269846237546</c:v>
                </c:pt>
                <c:pt idx="1">
                  <c:v>0.12090724811416227</c:v>
                </c:pt>
                <c:pt idx="2">
                  <c:v>0.07769497047233818</c:v>
                </c:pt>
                <c:pt idx="3">
                  <c:v>0.06677729496302608</c:v>
                </c:pt>
                <c:pt idx="4">
                  <c:v>0.04876897226472035</c:v>
                </c:pt>
                <c:pt idx="5">
                  <c:v>0.03696701696106925</c:v>
                </c:pt>
                <c:pt idx="6">
                  <c:v>0.031894907763077934</c:v>
                </c:pt>
                <c:pt idx="7">
                  <c:v>0.031062889127098745</c:v>
                </c:pt>
                <c:pt idx="8">
                  <c:v>0.0248856920234949</c:v>
                </c:pt>
                <c:pt idx="9">
                  <c:v>0.0239997612638779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Rosé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Heidsieck Monopole Silver Top 750ml (4.2%)</c:v>
                </c:pt>
                <c:pt idx="2">
                  <c:v>Champagne E.Nicolas Brut 750ml (11.6%)</c:v>
                </c:pt>
                <c:pt idx="3">
                  <c:v>Champagne Vranken Demoiselle Rosé Prestige 750ml (2.0%)</c:v>
                </c:pt>
                <c:pt idx="4">
                  <c:v>Champagne Canard-Duchêne Blanc Cuvée Léonie Brut 750ml (2.6%)</c:v>
                </c:pt>
                <c:pt idx="5">
                  <c:v>Champagne Vranken Demoiselle Tête de Cuvée 750ml (1.4%)</c:v>
                </c:pt>
                <c:pt idx="6">
                  <c:v>Champagne Malard Brut 1er Cru 750ml (4.1%)</c:v>
                </c:pt>
                <c:pt idx="7">
                  <c:v>Champagne Ruinart Brut 750ml (7.3%)</c:v>
                </c:pt>
                <c:pt idx="8">
                  <c:v>Champagne Laurent-Perrier Blanc La Cuvée 750ml (2.7%)</c:v>
                </c:pt>
                <c:pt idx="9">
                  <c:v>Prosecco Carlo V Cuvée Del Imperator 750ml (5.4%)</c:v>
                </c:pt>
              </c:strCache>
            </c:strRef>
          </c:cat>
          <c:val>
            <c:numRef>
              <c:f>Sheet1!$B$2:$B$11</c:f>
              <c:numCache>
                <c:formatCode>General</c:formatCode>
                <c:ptCount val="10"/>
                <c:pt idx="0">
                  <c:v>0.16052331922788846</c:v>
                </c:pt>
                <c:pt idx="1">
                  <c:v>0.08366803719637847</c:v>
                </c:pt>
                <c:pt idx="2">
                  <c:v>0.06355650217400183</c:v>
                </c:pt>
                <c:pt idx="3">
                  <c:v>0.055301767686002534</c:v>
                </c:pt>
                <c:pt idx="4">
                  <c:v>0.03883489723166642</c:v>
                </c:pt>
                <c:pt idx="5">
                  <c:v>0.03873417649042467</c:v>
                </c:pt>
                <c:pt idx="6">
                  <c:v>0.038546428243972815</c:v>
                </c:pt>
                <c:pt idx="7">
                  <c:v>0.03447761896993023</c:v>
                </c:pt>
                <c:pt idx="8">
                  <c:v>0.03080422298354598</c:v>
                </c:pt>
                <c:pt idx="9">
                  <c:v>0.02664098039391699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Saint-Gall Tradition 1er Cru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Georges Vesselle Grand Cru Brut 750ml (1.0%)</c:v>
                </c:pt>
                <c:pt idx="5">
                  <c:v>Champagne Château de Bligny 750ml (1.3%)</c:v>
                </c:pt>
                <c:pt idx="6">
                  <c:v>Champagne Besserat de Bellefon Bleu Brut 750ml (1.7%)</c:v>
                </c:pt>
                <c:pt idx="7">
                  <c:v>Champagne Canard-Duchêne Blanc Cuvée Léonie Brut 750ml (2.6%)</c:v>
                </c:pt>
                <c:pt idx="8">
                  <c:v>Crémant de Bourgogne Patriarche Brut 750ml (1.8%)</c:v>
                </c:pt>
                <c:pt idx="9">
                  <c:v>Champagne Louis Martin Brut 1er Cru 750ml (0.5%)</c:v>
                </c:pt>
              </c:strCache>
            </c:strRef>
          </c:cat>
          <c:val>
            <c:numRef>
              <c:f>Sheet1!$B$2:$B$11</c:f>
              <c:numCache>
                <c:formatCode>General</c:formatCode>
                <c:ptCount val="10"/>
                <c:pt idx="0">
                  <c:v>0.23512329333996457</c:v>
                </c:pt>
                <c:pt idx="1">
                  <c:v>0.12788790974606726</c:v>
                </c:pt>
                <c:pt idx="2">
                  <c:v>0.042221711779267486</c:v>
                </c:pt>
                <c:pt idx="3">
                  <c:v>0.039696580044066614</c:v>
                </c:pt>
                <c:pt idx="4">
                  <c:v>0.03053166540896561</c:v>
                </c:pt>
                <c:pt idx="5">
                  <c:v>0.025938929110652282</c:v>
                </c:pt>
                <c:pt idx="6">
                  <c:v>0.025850786221199126</c:v>
                </c:pt>
                <c:pt idx="7">
                  <c:v>0.02532825053850262</c:v>
                </c:pt>
                <c:pt idx="8">
                  <c:v>0.01890847835941074</c:v>
                </c:pt>
                <c:pt idx="9">
                  <c:v>0.0182551680653573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ontarini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 (3.7%)</c:v>
                </c:pt>
                <c:pt idx="1">
                  <c:v>Carlo V (5.4%)</c:v>
                </c:pt>
                <c:pt idx="2">
                  <c:v>Nicolas (14.4%)</c:v>
                </c:pt>
                <c:pt idx="3">
                  <c:v>Patriarche (2.6%)</c:v>
                </c:pt>
                <c:pt idx="4">
                  <c:v>Savian (2.1%)</c:v>
                </c:pt>
                <c:pt idx="5">
                  <c:v>Muré (1.3%)</c:v>
                </c:pt>
                <c:pt idx="6">
                  <c:v>Nicolas Feuillatte (4.5%)</c:v>
                </c:pt>
                <c:pt idx="7">
                  <c:v>Malard (6.0%)</c:v>
                </c:pt>
                <c:pt idx="8">
                  <c:v>Ruinart (12.8%)</c:v>
                </c:pt>
                <c:pt idx="9">
                  <c:v>Heidsieck &amp; C° Monopole (4.2%)</c:v>
                </c:pt>
              </c:strCache>
            </c:strRef>
          </c:cat>
          <c:val>
            <c:numRef>
              <c:f>Sheet1!$B$2:$B$11</c:f>
              <c:numCache>
                <c:formatCode>General</c:formatCode>
                <c:ptCount val="10"/>
                <c:pt idx="0">
                  <c:v>0.1724194963578255</c:v>
                </c:pt>
                <c:pt idx="1">
                  <c:v>0.1490758342582335</c:v>
                </c:pt>
                <c:pt idx="2">
                  <c:v>0.10563797957894584</c:v>
                </c:pt>
                <c:pt idx="3">
                  <c:v>0.047989694340557505</c:v>
                </c:pt>
                <c:pt idx="4">
                  <c:v>0.04572987966409676</c:v>
                </c:pt>
                <c:pt idx="5">
                  <c:v>0.04217735880310478</c:v>
                </c:pt>
                <c:pt idx="6">
                  <c:v>0.037607971257719607</c:v>
                </c:pt>
                <c:pt idx="7">
                  <c:v>0.03634126829004944</c:v>
                </c:pt>
                <c:pt idx="8">
                  <c:v>0.034512108599994804</c:v>
                </c:pt>
                <c:pt idx="9">
                  <c:v>0.0291692541856677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Saint-Gall Tradition 1er Cru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Canard-Duchêne Blanc Cuvée Léonie Brut 750ml (2.6%)</c:v>
                </c:pt>
                <c:pt idx="5">
                  <c:v>Champagne Besserat de Bellefon Bleu Brut 750ml (1.7%)</c:v>
                </c:pt>
                <c:pt idx="6">
                  <c:v>Champagne Georges Vesselle Grand Cru Brut 750ml (1.0%)</c:v>
                </c:pt>
                <c:pt idx="7">
                  <c:v>Champagne Château de Bligny 750ml (1.3%)</c:v>
                </c:pt>
                <c:pt idx="8">
                  <c:v>Champagne Vranken Demoiselle Tête de Cuvée 750ml (1.4%)</c:v>
                </c:pt>
                <c:pt idx="9">
                  <c:v>Champagne Malard Grand Cru Blanc de Blancs 750ml (0.8%)</c:v>
                </c:pt>
              </c:strCache>
            </c:strRef>
          </c:cat>
          <c:val>
            <c:numRef>
              <c:f>Sheet1!$B$2:$B$11</c:f>
              <c:numCache>
                <c:formatCode>General</c:formatCode>
                <c:ptCount val="10"/>
                <c:pt idx="0">
                  <c:v>0.15187780401549061</c:v>
                </c:pt>
                <c:pt idx="1">
                  <c:v>0.11979824426064554</c:v>
                </c:pt>
                <c:pt idx="2">
                  <c:v>0.06289979144686705</c:v>
                </c:pt>
                <c:pt idx="3">
                  <c:v>0.04723131878186026</c:v>
                </c:pt>
                <c:pt idx="4">
                  <c:v>0.04222622070411226</c:v>
                </c:pt>
                <c:pt idx="5">
                  <c:v>0.03721387937061875</c:v>
                </c:pt>
                <c:pt idx="6">
                  <c:v>0.034338144406000616</c:v>
                </c:pt>
                <c:pt idx="7">
                  <c:v>0.03336834873705385</c:v>
                </c:pt>
                <c:pt idx="8">
                  <c:v>0.02156705908362508</c:v>
                </c:pt>
                <c:pt idx="9">
                  <c:v>0.02145445500601555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Prosecco Carlo V Cuvée Del Imperator 750ml (5.4%)</c:v>
                </c:pt>
                <c:pt idx="3">
                  <c:v>Crémant de Bourgogne Patriarche Brut 750ml (1.8%)</c:v>
                </c:pt>
                <c:pt idx="4">
                  <c:v>Prosecco Savian Extra Dry Bio 750ml (2.1%)</c:v>
                </c:pt>
                <c:pt idx="5">
                  <c:v>Prosecco Bottega 750ml (2.6%)</c:v>
                </c:pt>
                <c:pt idx="6">
                  <c:v>Champagne Heidsieck Monopole Silver Top 750ml (4.2%)</c:v>
                </c:pt>
                <c:pt idx="7">
                  <c:v>Champagne Nicolas Feuillatte Réserve Exclusive Brut 750ml (3.0%)</c:v>
                </c:pt>
                <c:pt idx="8">
                  <c:v>Crémant d'Alsace Muré Prestige Bio 750ml (1.3%)</c:v>
                </c:pt>
                <c:pt idx="9">
                  <c:v>Crémant Saumur Bouvet Cuvée Saphir Brut 750ml (1.5%)</c:v>
                </c:pt>
              </c:strCache>
            </c:strRef>
          </c:cat>
          <c:val>
            <c:numRef>
              <c:f>Sheet1!$B$2:$B$11</c:f>
              <c:numCache>
                <c:formatCode>General</c:formatCode>
                <c:ptCount val="10"/>
                <c:pt idx="0">
                  <c:v>0.2161554209411208</c:v>
                </c:pt>
                <c:pt idx="1">
                  <c:v>0.06641504579185831</c:v>
                </c:pt>
                <c:pt idx="2">
                  <c:v>0.05670090989754028</c:v>
                </c:pt>
                <c:pt idx="3">
                  <c:v>0.03328815519102393</c:v>
                </c:pt>
                <c:pt idx="4">
                  <c:v>0.03207781769219702</c:v>
                </c:pt>
                <c:pt idx="5">
                  <c:v>0.027444615364038617</c:v>
                </c:pt>
                <c:pt idx="6">
                  <c:v>0.026400384493574333</c:v>
                </c:pt>
                <c:pt idx="7">
                  <c:v>0.026305232946978462</c:v>
                </c:pt>
                <c:pt idx="8">
                  <c:v>0.02363883940203674</c:v>
                </c:pt>
                <c:pt idx="9">
                  <c:v>0.02355885021965773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Prosecco Carlo V Cuvée Del Imperator 750ml (5.4%)</c:v>
                </c:pt>
                <c:pt idx="3">
                  <c:v>Crémant de Bourgogne Patriarche Brut 750ml (1.8%)</c:v>
                </c:pt>
                <c:pt idx="4">
                  <c:v>Prosecco Savian Extra Dry Bio 750ml (2.1%)</c:v>
                </c:pt>
                <c:pt idx="5">
                  <c:v>Prosecco Bottega 750ml (2.6%)</c:v>
                </c:pt>
                <c:pt idx="6">
                  <c:v>Champagne Heidsieck Monopole Silver Top 750ml (4.2%)</c:v>
                </c:pt>
                <c:pt idx="7">
                  <c:v>Champagne Nicolas Feuillatte Réserve Exclusive Brut 750ml (3.0%)</c:v>
                </c:pt>
                <c:pt idx="8">
                  <c:v>Crémant d'Alsace Muré Prestige Bio 750ml (1.3%)</c:v>
                </c:pt>
                <c:pt idx="9">
                  <c:v>Mousseux Château Moncontour Brut Vouvray 750ml (1.5%)</c:v>
                </c:pt>
              </c:strCache>
            </c:strRef>
          </c:cat>
          <c:val>
            <c:numRef>
              <c:f>Sheet1!$B$2:$B$11</c:f>
              <c:numCache>
                <c:formatCode>General</c:formatCode>
                <c:ptCount val="10"/>
                <c:pt idx="0">
                  <c:v>0.2646227145058942</c:v>
                </c:pt>
                <c:pt idx="1">
                  <c:v>0.0815155292788347</c:v>
                </c:pt>
                <c:pt idx="2">
                  <c:v>0.04963693337993448</c:v>
                </c:pt>
                <c:pt idx="3">
                  <c:v>0.029751489849533894</c:v>
                </c:pt>
                <c:pt idx="4">
                  <c:v>0.02824887561593877</c:v>
                </c:pt>
                <c:pt idx="5">
                  <c:v>0.028178096887792332</c:v>
                </c:pt>
                <c:pt idx="6">
                  <c:v>0.025550284351898305</c:v>
                </c:pt>
                <c:pt idx="7">
                  <c:v>0.022340478377712827</c:v>
                </c:pt>
                <c:pt idx="8">
                  <c:v>0.021455836888648567</c:v>
                </c:pt>
                <c:pt idx="9">
                  <c:v>0.0206255216818063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7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Besserat de Bellefon Bleu Brut 750ml (1.7%)</c:v>
                </c:pt>
                <c:pt idx="2">
                  <c:v>Champagne E.Nicolas Brut 750ml (11.6%)</c:v>
                </c:pt>
                <c:pt idx="3">
                  <c:v>Champagne Malard Brut 1er Cru 750ml (4.1%)</c:v>
                </c:pt>
                <c:pt idx="4">
                  <c:v>Champagne Deutz Brut Classique 750ml (3.4%)</c:v>
                </c:pt>
                <c:pt idx="5">
                  <c:v>Champagne Nicolas Feuillatte Réserve Exclusive Brut 750ml (3.0%)</c:v>
                </c:pt>
                <c:pt idx="6">
                  <c:v>Champagne Georges Vesselle Grand Cru Brut 750ml (1.0%)</c:v>
                </c:pt>
                <c:pt idx="7">
                  <c:v>Champagne Laurent-Perrier Blanc La Cuvée 750ml (2.7%)</c:v>
                </c:pt>
                <c:pt idx="8">
                  <c:v>Champagne Canard-Duchêne Blanc Cuvée Léonie Brut 750ml (2.6%)</c:v>
                </c:pt>
                <c:pt idx="9">
                  <c:v>Champagne Château de Bligny 750ml (1.3%)</c:v>
                </c:pt>
              </c:strCache>
            </c:strRef>
          </c:cat>
          <c:val>
            <c:numRef>
              <c:f>Sheet1!$B$2:$B$11</c:f>
              <c:numCache>
                <c:formatCode>General</c:formatCode>
                <c:ptCount val="10"/>
                <c:pt idx="0">
                  <c:v>0.14023140168634687</c:v>
                </c:pt>
                <c:pt idx="1">
                  <c:v>0.07318919056101746</c:v>
                </c:pt>
                <c:pt idx="2">
                  <c:v>0.07139873676693566</c:v>
                </c:pt>
                <c:pt idx="3">
                  <c:v>0.06185972677169333</c:v>
                </c:pt>
                <c:pt idx="4">
                  <c:v>0.05278018468491648</c:v>
                </c:pt>
                <c:pt idx="5">
                  <c:v>0.050174227960154194</c:v>
                </c:pt>
                <c:pt idx="6">
                  <c:v>0.03746433733816286</c:v>
                </c:pt>
                <c:pt idx="7">
                  <c:v>0.03664863500816373</c:v>
                </c:pt>
                <c:pt idx="8">
                  <c:v>0.027887986938367203</c:v>
                </c:pt>
                <c:pt idx="9">
                  <c:v>0.0228121736444590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7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Heidsieck Monopole Silver Top 750ml (4.2%)</c:v>
                </c:pt>
                <c:pt idx="2">
                  <c:v>Champagne Besserat de Bellefon Bleu Brut 750ml (1.7%)</c:v>
                </c:pt>
                <c:pt idx="3">
                  <c:v>Champagne Laurent-Perrier Blanc La Cuvée 750ml (2.7%)</c:v>
                </c:pt>
                <c:pt idx="4">
                  <c:v>Champagne E.Nicolas Brut 750ml (11.6%)</c:v>
                </c:pt>
                <c:pt idx="5">
                  <c:v>Champagne Malard Brut 1er Cru 750ml (4.1%)</c:v>
                </c:pt>
                <c:pt idx="6">
                  <c:v>Champagne Nicolas Feuillatte Réserve Exclusive Brut 750ml (3.0%)</c:v>
                </c:pt>
                <c:pt idx="7">
                  <c:v>Champagne Georges Vesselle Grand Cru Brut 750ml (1.0%)</c:v>
                </c:pt>
                <c:pt idx="8">
                  <c:v>Champagne Ruinart Brut 750ml (7.3%)</c:v>
                </c:pt>
                <c:pt idx="9">
                  <c:v>Champagne Taittinger Prestige Brut 750ml (1.6%)</c:v>
                </c:pt>
              </c:strCache>
            </c:strRef>
          </c:cat>
          <c:val>
            <c:numRef>
              <c:f>Sheet1!$B$2:$B$11</c:f>
              <c:numCache>
                <c:formatCode>General</c:formatCode>
                <c:ptCount val="10"/>
                <c:pt idx="0">
                  <c:v>0.10970278388403669</c:v>
                </c:pt>
                <c:pt idx="1">
                  <c:v>0.08583434969777794</c:v>
                </c:pt>
                <c:pt idx="2">
                  <c:v>0.07346113429491513</c:v>
                </c:pt>
                <c:pt idx="3">
                  <c:v>0.05222741306096662</c:v>
                </c:pt>
                <c:pt idx="4">
                  <c:v>0.05136260089638865</c:v>
                </c:pt>
                <c:pt idx="5">
                  <c:v>0.0353716090152408</c:v>
                </c:pt>
                <c:pt idx="6">
                  <c:v>0.033646839902621836</c:v>
                </c:pt>
                <c:pt idx="7">
                  <c:v>0.030932862395276983</c:v>
                </c:pt>
                <c:pt idx="8">
                  <c:v>0.02988555122879026</c:v>
                </c:pt>
                <c:pt idx="9">
                  <c:v>0.024915150489549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15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Malard Brut 1er Cru 750ml (4.1%)</c:v>
                </c:pt>
                <c:pt idx="4">
                  <c:v>Champagne Laurent-Perrier Blanc La Cuvée 750ml (2.7%)</c:v>
                </c:pt>
                <c:pt idx="5">
                  <c:v>Champagne Vranken Demoiselle Rosé Prestige 750ml (2.0%)</c:v>
                </c:pt>
                <c:pt idx="6">
                  <c:v>Champagne Nicolas Feuillatte Réserve Exclusive Brut 750ml (3.0%)</c:v>
                </c:pt>
                <c:pt idx="7">
                  <c:v>Champagne Ruinart Brut (étui) 1500ml (0.7%)</c:v>
                </c:pt>
                <c:pt idx="8">
                  <c:v>Champagne Heidsieck Monopole Silver Top 750ml (4.2%)</c:v>
                </c:pt>
                <c:pt idx="9">
                  <c:v>Champagne Bollinger Special Cuvée Brut 750ml (1.2%)</c:v>
                </c:pt>
              </c:strCache>
            </c:strRef>
          </c:cat>
          <c:val>
            <c:numRef>
              <c:f>Sheet1!$B$2:$B$11</c:f>
              <c:numCache>
                <c:formatCode>General</c:formatCode>
                <c:ptCount val="10"/>
                <c:pt idx="0">
                  <c:v>0.062393862453488366</c:v>
                </c:pt>
                <c:pt idx="1">
                  <c:v>0.06180990410984021</c:v>
                </c:pt>
                <c:pt idx="2">
                  <c:v>0.03777735759844003</c:v>
                </c:pt>
                <c:pt idx="3">
                  <c:v>0.03546528946142753</c:v>
                </c:pt>
                <c:pt idx="4">
                  <c:v>0.035102456909077345</c:v>
                </c:pt>
                <c:pt idx="5">
                  <c:v>0.03080315008922799</c:v>
                </c:pt>
                <c:pt idx="6">
                  <c:v>0.027762909414787804</c:v>
                </c:pt>
                <c:pt idx="7">
                  <c:v>0.027221761084516346</c:v>
                </c:pt>
                <c:pt idx="8">
                  <c:v>0.026369175132242226</c:v>
                </c:pt>
                <c:pt idx="9">
                  <c:v>0.02627074236463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15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Malard Brut 1er Cru 750ml (4.1%)</c:v>
                </c:pt>
                <c:pt idx="3">
                  <c:v>Champagne Deutz Brut Classique 750ml (3.4%)</c:v>
                </c:pt>
                <c:pt idx="4">
                  <c:v>Champagne Laurent-Perrier Blanc La Cuvée 750ml (2.7%)</c:v>
                </c:pt>
                <c:pt idx="5">
                  <c:v>Champagne Vranken Demoiselle Rosé Prestige 750ml (2.0%)</c:v>
                </c:pt>
                <c:pt idx="6">
                  <c:v>Champagne Ruinart Brut (étui) 1500ml (0.7%)</c:v>
                </c:pt>
                <c:pt idx="7">
                  <c:v>Champagne Nicolas Feuillatte Réserve Exclusive Brut 750ml (3.0%)</c:v>
                </c:pt>
                <c:pt idx="8">
                  <c:v>Champagne Bollinger Special Cuvée Brut 750ml (1.2%)</c:v>
                </c:pt>
                <c:pt idx="9">
                  <c:v>Champagne Ruinart Brut (étui) 750ml (1.2%)</c:v>
                </c:pt>
              </c:strCache>
            </c:strRef>
          </c:cat>
          <c:val>
            <c:numRef>
              <c:f>Sheet1!$B$2:$B$11</c:f>
              <c:numCache>
                <c:formatCode>General</c:formatCode>
                <c:ptCount val="10"/>
                <c:pt idx="0">
                  <c:v>0.07568346649247752</c:v>
                </c:pt>
                <c:pt idx="1">
                  <c:v>0.06507703653617206</c:v>
                </c:pt>
                <c:pt idx="2">
                  <c:v>0.03688325148923811</c:v>
                </c:pt>
                <c:pt idx="3">
                  <c:v>0.035364895609507965</c:v>
                </c:pt>
                <c:pt idx="4">
                  <c:v>0.03203055760395194</c:v>
                </c:pt>
                <c:pt idx="5">
                  <c:v>0.030556241940209578</c:v>
                </c:pt>
                <c:pt idx="6">
                  <c:v>0.02840360122874374</c:v>
                </c:pt>
                <c:pt idx="7">
                  <c:v>0.027662168145226033</c:v>
                </c:pt>
                <c:pt idx="8">
                  <c:v>0.02750435767779712</c:v>
                </c:pt>
                <c:pt idx="9">
                  <c:v>0.0265504020153184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Georges Vesselle Grand Cru Brut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Louis Martin Brut 1er Cru 750ml (0.5%)</c:v>
                </c:pt>
                <c:pt idx="4">
                  <c:v>Champagne Nicolas Feuillatte Réserve Exclusive Brut 750ml (3.0%)</c:v>
                </c:pt>
                <c:pt idx="5">
                  <c:v>Prosecco Carlo V Cuvée Del Imperator 750ml (5.4%)</c:v>
                </c:pt>
                <c:pt idx="6">
                  <c:v>Champagne Besserat de Bellefon Bleu Brut 750ml (1.7%)</c:v>
                </c:pt>
                <c:pt idx="7">
                  <c:v>Champagne E.Nicolas Rosé 750ml (0.9%)</c:v>
                </c:pt>
                <c:pt idx="8">
                  <c:v>Crémant de Bourgogne Patriarche Brut 750ml (1.8%)</c:v>
                </c:pt>
                <c:pt idx="9">
                  <c:v>Champagne Château de Bligny 750ml (1.3%)</c:v>
                </c:pt>
              </c:strCache>
            </c:strRef>
          </c:cat>
          <c:val>
            <c:numRef>
              <c:f>Sheet1!$B$2:$B$11</c:f>
              <c:numCache>
                <c:formatCode>General</c:formatCode>
                <c:ptCount val="10"/>
                <c:pt idx="0">
                  <c:v>0.2861507705177624</c:v>
                </c:pt>
                <c:pt idx="1">
                  <c:v>0.149152858385095</c:v>
                </c:pt>
                <c:pt idx="2">
                  <c:v>0.03970010185846051</c:v>
                </c:pt>
                <c:pt idx="3">
                  <c:v>0.035950932436315704</c:v>
                </c:pt>
                <c:pt idx="4">
                  <c:v>0.03471945682368332</c:v>
                </c:pt>
                <c:pt idx="5">
                  <c:v>0.02710923203660518</c:v>
                </c:pt>
                <c:pt idx="6">
                  <c:v>0.026486957087346694</c:v>
                </c:pt>
                <c:pt idx="7">
                  <c:v>0.020362010962755372</c:v>
                </c:pt>
                <c:pt idx="8">
                  <c:v>0.01867517384570566</c:v>
                </c:pt>
                <c:pt idx="9">
                  <c:v>0.0178757532447532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Georges Vesselle Grand Cru Brut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Besserat de Bellefon Bleu Brut 750ml (1.7%)</c:v>
                </c:pt>
                <c:pt idx="4">
                  <c:v>Champagne Nicolas Feuillatte Réserve Exclusive Brut 750ml (3.0%)</c:v>
                </c:pt>
                <c:pt idx="5">
                  <c:v>Champagne Louis Martin Brut 1er Cru 750ml (0.5%)</c:v>
                </c:pt>
                <c:pt idx="6">
                  <c:v>Champagne Christophe Lefèvre Cuvée Prestige 750ml (0.4%)</c:v>
                </c:pt>
                <c:pt idx="7">
                  <c:v>Champagne Château de Bligny 750ml (1.3%)</c:v>
                </c:pt>
                <c:pt idx="8">
                  <c:v>Champagne Canard-Duchêne Blanc Cuvée Léonie Brut 750ml (2.6%)</c:v>
                </c:pt>
                <c:pt idx="9">
                  <c:v>Champagne De Saint-Gall Tradition 1er Cru 750ml (0.8%)</c:v>
                </c:pt>
              </c:strCache>
            </c:strRef>
          </c:cat>
          <c:val>
            <c:numRef>
              <c:f>Sheet1!$B$2:$B$11</c:f>
              <c:numCache>
                <c:formatCode>General</c:formatCode>
                <c:ptCount val="10"/>
                <c:pt idx="0">
                  <c:v>0.20511632804636465</c:v>
                </c:pt>
                <c:pt idx="1">
                  <c:v>0.1340837668297314</c:v>
                </c:pt>
                <c:pt idx="2">
                  <c:v>0.05779952446873216</c:v>
                </c:pt>
                <c:pt idx="3">
                  <c:v>0.04589939237224538</c:v>
                </c:pt>
                <c:pt idx="4">
                  <c:v>0.037171700152457396</c:v>
                </c:pt>
                <c:pt idx="5">
                  <c:v>0.03360121318439399</c:v>
                </c:pt>
                <c:pt idx="6">
                  <c:v>0.030318967589769895</c:v>
                </c:pt>
                <c:pt idx="7">
                  <c:v>0.026036489751515117</c:v>
                </c:pt>
                <c:pt idx="8">
                  <c:v>0.023322374966825217</c:v>
                </c:pt>
                <c:pt idx="9">
                  <c:v>0.0211689028878835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ranken Demoiselle Rosé Prestige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Vranken Demoiselle Tête de Cuvée 750ml (1.4%)</c:v>
                </c:pt>
                <c:pt idx="4">
                  <c:v>Champagne Heidsieck Monopole Silver Top 750ml (4.2%)</c:v>
                </c:pt>
                <c:pt idx="5">
                  <c:v>Champagne Ruinart Brut 750ml (7.3%)</c:v>
                </c:pt>
                <c:pt idx="6">
                  <c:v>Champagne Canard-Duchêne Blanc Cuvée Léonie Brut 750ml (2.6%)</c:v>
                </c:pt>
                <c:pt idx="7">
                  <c:v>Prosecco Carlo V Cuvée Del Imperator 750ml (5.4%)</c:v>
                </c:pt>
                <c:pt idx="8">
                  <c:v>Champagne Laurent-Perrier Blanc La Cuvée 750ml (2.7%)</c:v>
                </c:pt>
                <c:pt idx="9">
                  <c:v>Champagne Nicolas Feuillatte Réserve Exclusive Rosé 750ml (0.7%)</c:v>
                </c:pt>
              </c:strCache>
            </c:strRef>
          </c:cat>
          <c:val>
            <c:numRef>
              <c:f>Sheet1!$B$2:$B$11</c:f>
              <c:numCache>
                <c:formatCode>General</c:formatCode>
                <c:ptCount val="10"/>
                <c:pt idx="0">
                  <c:v>0.07905669892849129</c:v>
                </c:pt>
                <c:pt idx="1">
                  <c:v>0.07209786310880231</c:v>
                </c:pt>
                <c:pt idx="2">
                  <c:v>0.059957076203849755</c:v>
                </c:pt>
                <c:pt idx="3">
                  <c:v>0.05156249714689185</c:v>
                </c:pt>
                <c:pt idx="4">
                  <c:v>0.04953449319475648</c:v>
                </c:pt>
                <c:pt idx="5">
                  <c:v>0.038753698876669934</c:v>
                </c:pt>
                <c:pt idx="6">
                  <c:v>0.0360195472110968</c:v>
                </c:pt>
                <c:pt idx="7">
                  <c:v>0.03162603147580929</c:v>
                </c:pt>
                <c:pt idx="8">
                  <c:v>0.031073131616467995</c:v>
                </c:pt>
                <c:pt idx="9">
                  <c:v>0.024231164328928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ru La Maqu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Bottega (3.7%)</c:v>
                </c:pt>
                <c:pt idx="4">
                  <c:v>Patriarche (2.6%)</c:v>
                </c:pt>
                <c:pt idx="5">
                  <c:v>Muré (1.3%)</c:v>
                </c:pt>
                <c:pt idx="6">
                  <c:v>Bouvet Ladubay (1.5%)</c:v>
                </c:pt>
                <c:pt idx="7">
                  <c:v>Dea Augusta (0.5%)</c:v>
                </c:pt>
                <c:pt idx="8">
                  <c:v>Malard (6.0%)</c:v>
                </c:pt>
                <c:pt idx="9">
                  <c:v>Veuve du Vernay (0.7%)</c:v>
                </c:pt>
              </c:strCache>
            </c:strRef>
          </c:cat>
          <c:val>
            <c:numRef>
              <c:f>Sheet1!$B$2:$B$11</c:f>
              <c:numCache>
                <c:formatCode>General</c:formatCode>
                <c:ptCount val="10"/>
                <c:pt idx="0">
                  <c:v>0.23299507592204705</c:v>
                </c:pt>
                <c:pt idx="1">
                  <c:v>0.10028981593769001</c:v>
                </c:pt>
                <c:pt idx="2">
                  <c:v>0.09210483431927208</c:v>
                </c:pt>
                <c:pt idx="3">
                  <c:v>0.08559042583218547</c:v>
                </c:pt>
                <c:pt idx="4">
                  <c:v>0.07625678360738902</c:v>
                </c:pt>
                <c:pt idx="5">
                  <c:v>0.05061788372708182</c:v>
                </c:pt>
                <c:pt idx="6">
                  <c:v>0.04104421356219828</c:v>
                </c:pt>
                <c:pt idx="7">
                  <c:v>0.036694108684278214</c:v>
                </c:pt>
                <c:pt idx="8">
                  <c:v>0.03187970657080691</c:v>
                </c:pt>
                <c:pt idx="9">
                  <c:v>0.02584086567617524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ranken Demoiselle Rosé Prestige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Nicolas Feuillatte Réserve Exclusive Brut 750ml (3.0%)</c:v>
                </c:pt>
                <c:pt idx="2">
                  <c:v>Champagne Vranken Demoiselle Tête de Cuvée 750ml (1.4%)</c:v>
                </c:pt>
                <c:pt idx="3">
                  <c:v>Champagne Ruinart Brut 750ml (7.3%)</c:v>
                </c:pt>
                <c:pt idx="4">
                  <c:v>Champagne Malard Brut 1er Cru 750ml (4.1%)</c:v>
                </c:pt>
                <c:pt idx="5">
                  <c:v>Champagne Laurent-Perrier Blanc La Cuvée 750ml (2.7%)</c:v>
                </c:pt>
                <c:pt idx="6">
                  <c:v>Champagne Heidsieck Monopole Silver Top 750ml (4.2%)</c:v>
                </c:pt>
                <c:pt idx="7">
                  <c:v>Prosecco Carlo V Cuvée Del Imperator 750ml (5.4%)</c:v>
                </c:pt>
                <c:pt idx="8">
                  <c:v>Champagne Nicolas Feuillatte Réserve Exclusive Rosé 750ml (0.7%)</c:v>
                </c:pt>
                <c:pt idx="9">
                  <c:v>Champagne Canard-Duchêne Blanc Cuvée Léonie Brut 750ml (2.6%)</c:v>
                </c:pt>
              </c:strCache>
            </c:strRef>
          </c:cat>
          <c:val>
            <c:numRef>
              <c:f>Sheet1!$B$2:$B$11</c:f>
              <c:numCache>
                <c:formatCode>General</c:formatCode>
                <c:ptCount val="10"/>
                <c:pt idx="0">
                  <c:v>0.06284205104853612</c:v>
                </c:pt>
                <c:pt idx="1">
                  <c:v>0.05801252825814018</c:v>
                </c:pt>
                <c:pt idx="2">
                  <c:v>0.055000233011647214</c:v>
                </c:pt>
                <c:pt idx="3">
                  <c:v>0.044820200840287844</c:v>
                </c:pt>
                <c:pt idx="4">
                  <c:v>0.04321571766726408</c:v>
                </c:pt>
                <c:pt idx="5">
                  <c:v>0.039357725139397226</c:v>
                </c:pt>
                <c:pt idx="6">
                  <c:v>0.03531545604667213</c:v>
                </c:pt>
                <c:pt idx="7">
                  <c:v>0.03126772552759643</c:v>
                </c:pt>
                <c:pt idx="8">
                  <c:v>0.028387146071178114</c:v>
                </c:pt>
                <c:pt idx="9">
                  <c:v>0.0267704099846984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ranken Demoiselle Tête de Cuvée 75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Canard-Duchêne Blanc Cuvée Léonie Brut 750ml (2.6%)</c:v>
                </c:pt>
                <c:pt idx="3">
                  <c:v>Champagne Nicolas Feuillatte Réserve Exclusive Brut 750ml (3.0%)</c:v>
                </c:pt>
                <c:pt idx="4">
                  <c:v>Champagne E.Nicolas Brut 750ml (11.6%)</c:v>
                </c:pt>
                <c:pt idx="5">
                  <c:v>Champagne Vranken Demoiselle Rosé Prestige 750ml (2.0%)</c:v>
                </c:pt>
                <c:pt idx="6">
                  <c:v>Champagne Laurent-Perrier Blanc La Cuvée 750ml (2.7%)</c:v>
                </c:pt>
                <c:pt idx="7">
                  <c:v>Champagne Besserat de Bellefon Bleu Brut 750ml (1.7%)</c:v>
                </c:pt>
                <c:pt idx="8">
                  <c:v>Prosecco Carlo V Cuvée Del Imperator 750ml (5.4%)</c:v>
                </c:pt>
                <c:pt idx="9">
                  <c:v>Champagne Château de Bligny 750ml (1.3%)</c:v>
                </c:pt>
              </c:strCache>
            </c:strRef>
          </c:cat>
          <c:val>
            <c:numRef>
              <c:f>Sheet1!$B$2:$B$11</c:f>
              <c:numCache>
                <c:formatCode>General</c:formatCode>
                <c:ptCount val="10"/>
                <c:pt idx="0">
                  <c:v>0.13947439436138437</c:v>
                </c:pt>
                <c:pt idx="1">
                  <c:v>0.11531499710410956</c:v>
                </c:pt>
                <c:pt idx="2">
                  <c:v>0.08641800707407218</c:v>
                </c:pt>
                <c:pt idx="3">
                  <c:v>0.07815637730349928</c:v>
                </c:pt>
                <c:pt idx="4">
                  <c:v>0.06842543299191198</c:v>
                </c:pt>
                <c:pt idx="5">
                  <c:v>0.031064599255840434</c:v>
                </c:pt>
                <c:pt idx="6">
                  <c:v>0.025120715682893893</c:v>
                </c:pt>
                <c:pt idx="7">
                  <c:v>0.024275239545081234</c:v>
                </c:pt>
                <c:pt idx="8">
                  <c:v>0.021684065640568906</c:v>
                </c:pt>
                <c:pt idx="9">
                  <c:v>0.0213090475959077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ranken Demoiselle Tête de Cuvée 75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Nicolas Feuillatte Réserve Exclusive Brut 750ml (3.0%)</c:v>
                </c:pt>
                <c:pt idx="3">
                  <c:v>Champagne Canard-Duchêne Blanc Cuvée Léonie Brut 750ml (2.6%)</c:v>
                </c:pt>
                <c:pt idx="4">
                  <c:v>Champagne E.Nicolas Brut 750ml (11.6%)</c:v>
                </c:pt>
                <c:pt idx="5">
                  <c:v>Champagne Vranken Demoiselle Rosé Prestige 750ml (2.0%)</c:v>
                </c:pt>
                <c:pt idx="6">
                  <c:v>Champagne Laurent-Perrier Blanc La Cuvée 750ml (2.7%)</c:v>
                </c:pt>
                <c:pt idx="7">
                  <c:v>Champagne Ruinart Brut 750ml (7.3%)</c:v>
                </c:pt>
                <c:pt idx="8">
                  <c:v>Champagne Besserat de Bellefon Bleu Brut 750ml (1.7%)</c:v>
                </c:pt>
                <c:pt idx="9">
                  <c:v>Prosecco Carlo V Cuvée Del Imperator 750ml (5.4%)</c:v>
                </c:pt>
              </c:strCache>
            </c:strRef>
          </c:cat>
          <c:val>
            <c:numRef>
              <c:f>Sheet1!$B$2:$B$11</c:f>
              <c:numCache>
                <c:formatCode>General</c:formatCode>
                <c:ptCount val="10"/>
                <c:pt idx="0">
                  <c:v>0.09239358776789211</c:v>
                </c:pt>
                <c:pt idx="1">
                  <c:v>0.07267274244700565</c:v>
                </c:pt>
                <c:pt idx="2">
                  <c:v>0.06776154923543011</c:v>
                </c:pt>
                <c:pt idx="3">
                  <c:v>0.06671048064638031</c:v>
                </c:pt>
                <c:pt idx="4">
                  <c:v>0.0614285190091818</c:v>
                </c:pt>
                <c:pt idx="5">
                  <c:v>0.047909630205100855</c:v>
                </c:pt>
                <c:pt idx="6">
                  <c:v>0.0456080323336173</c:v>
                </c:pt>
                <c:pt idx="7">
                  <c:v>0.03236979888717494</c:v>
                </c:pt>
                <c:pt idx="8">
                  <c:v>0.024279153413805037</c:v>
                </c:pt>
                <c:pt idx="9">
                  <c:v>0.023330514643697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idsieck Monopole Silver Top 750ml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Canard-Duchêne Blanc Cuvée Léonie Brut 750ml (2.6%)</c:v>
                </c:pt>
                <c:pt idx="4">
                  <c:v>Prosecco Carlo V Cuvée Del Imperator 750ml (5.4%)</c:v>
                </c:pt>
                <c:pt idx="5">
                  <c:v>Champagne Besserat de Bellefon Bleu Brut 750ml (1.7%)</c:v>
                </c:pt>
                <c:pt idx="6">
                  <c:v>Prosecco Bottega 750ml (2.6%)</c:v>
                </c:pt>
                <c:pt idx="7">
                  <c:v>Champagne Vranken Demoiselle Tête de Cuvée 750ml (1.4%)</c:v>
                </c:pt>
                <c:pt idx="8">
                  <c:v>Champagne Château de Bligny 750ml (1.3%)</c:v>
                </c:pt>
                <c:pt idx="9">
                  <c:v>Champagne Louis Martin Brut 1er Cru 750ml (0.5%)</c:v>
                </c:pt>
              </c:strCache>
            </c:strRef>
          </c:cat>
          <c:val>
            <c:numRef>
              <c:f>Sheet1!$B$2:$B$11</c:f>
              <c:numCache>
                <c:formatCode>General</c:formatCode>
                <c:ptCount val="10"/>
                <c:pt idx="0">
                  <c:v>0.14917974920315838</c:v>
                </c:pt>
                <c:pt idx="1">
                  <c:v>0.1414842011149958</c:v>
                </c:pt>
                <c:pt idx="2">
                  <c:v>0.06841367799492151</c:v>
                </c:pt>
                <c:pt idx="3">
                  <c:v>0.061138165721567946</c:v>
                </c:pt>
                <c:pt idx="4">
                  <c:v>0.05847259082757114</c:v>
                </c:pt>
                <c:pt idx="5">
                  <c:v>0.02950001204920923</c:v>
                </c:pt>
                <c:pt idx="6">
                  <c:v>0.025460199085349598</c:v>
                </c:pt>
                <c:pt idx="7">
                  <c:v>0.024886333173742906</c:v>
                </c:pt>
                <c:pt idx="8">
                  <c:v>0.02463396629287902</c:v>
                </c:pt>
                <c:pt idx="9">
                  <c:v>0.0238274093713623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idsieck Monopole Silver Top 750ml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Malard Brut 1er Cru 750ml (4.1%)</c:v>
                </c:pt>
                <c:pt idx="2">
                  <c:v>Champagne Nicolas Feuillatte Réserve Exclusive Brut 750ml (3.0%)</c:v>
                </c:pt>
                <c:pt idx="3">
                  <c:v>Champagne E.Nicolas Brut 750ml (11.6%)</c:v>
                </c:pt>
                <c:pt idx="4">
                  <c:v>Champagne Piper-Heidsieck Essential by Nicolas 750ml (0.4%)</c:v>
                </c:pt>
                <c:pt idx="5">
                  <c:v>Champagne Besserat de Bellefon Bleu Brut 750ml (1.7%)</c:v>
                </c:pt>
                <c:pt idx="6">
                  <c:v>Prosecco Carlo V Cuvée Del Imperator 750ml (5.4%)</c:v>
                </c:pt>
                <c:pt idx="7">
                  <c:v>Champagne Vranken Demoiselle Tête de Cuvée 750ml (1.4%)</c:v>
                </c:pt>
                <c:pt idx="8">
                  <c:v>Champagne Ayala Brut Majeur 750ml (1.7%)</c:v>
                </c:pt>
                <c:pt idx="9">
                  <c:v>Champagne Laurent-Perrier Blanc La Cuvée 750ml (2.7%)</c:v>
                </c:pt>
              </c:strCache>
            </c:strRef>
          </c:cat>
          <c:val>
            <c:numRef>
              <c:f>Sheet1!$B$2:$B$11</c:f>
              <c:numCache>
                <c:formatCode>General</c:formatCode>
                <c:ptCount val="10"/>
                <c:pt idx="0">
                  <c:v>0.11440066447101595</c:v>
                </c:pt>
                <c:pt idx="1">
                  <c:v>0.09862641718129343</c:v>
                </c:pt>
                <c:pt idx="2">
                  <c:v>0.0873269770127449</c:v>
                </c:pt>
                <c:pt idx="3">
                  <c:v>0.06897926154163804</c:v>
                </c:pt>
                <c:pt idx="4">
                  <c:v>0.055666564454537944</c:v>
                </c:pt>
                <c:pt idx="5">
                  <c:v>0.04426403737803308</c:v>
                </c:pt>
                <c:pt idx="6">
                  <c:v>0.03846083550913163</c:v>
                </c:pt>
                <c:pt idx="7">
                  <c:v>0.037767779861289805</c:v>
                </c:pt>
                <c:pt idx="8">
                  <c:v>0.033348072681553396</c:v>
                </c:pt>
                <c:pt idx="9">
                  <c:v>0.031027969602528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ommery Brut Silver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Malard Brut 1er Cru 750ml (4.1%)</c:v>
                </c:pt>
                <c:pt idx="3">
                  <c:v>Champagne E.Nicolas Brut 750ml (11.6%)</c:v>
                </c:pt>
                <c:pt idx="4">
                  <c:v>Champagne Laurent-Perrier Blanc La Cuvée 750ml (2.7%)</c:v>
                </c:pt>
                <c:pt idx="5">
                  <c:v>Champagne Besserat de Bellefon Bleu Brut 750ml (1.7%)</c:v>
                </c:pt>
                <c:pt idx="6">
                  <c:v>Champagne Canard-Duchêne Blanc Cuvée Léonie Brut 750ml (2.6%)</c:v>
                </c:pt>
                <c:pt idx="7">
                  <c:v>Champagne Vranken Demoiselle Tête de Cuvée 750ml (1.4%)</c:v>
                </c:pt>
                <c:pt idx="8">
                  <c:v>Champagne Deutz Brut Classique 750ml (3.4%)</c:v>
                </c:pt>
                <c:pt idx="9">
                  <c:v>Champagne Malard Grand Cru Blanc de Blancs 750ml (0.8%)</c:v>
                </c:pt>
              </c:strCache>
            </c:strRef>
          </c:cat>
          <c:val>
            <c:numRef>
              <c:f>Sheet1!$B$2:$B$11</c:f>
              <c:numCache>
                <c:formatCode>General</c:formatCode>
                <c:ptCount val="10"/>
                <c:pt idx="0">
                  <c:v>0.11048806991459895</c:v>
                </c:pt>
                <c:pt idx="1">
                  <c:v>0.05496198539507024</c:v>
                </c:pt>
                <c:pt idx="2">
                  <c:v>0.05459743050612324</c:v>
                </c:pt>
                <c:pt idx="3">
                  <c:v>0.05433157127636622</c:v>
                </c:pt>
                <c:pt idx="4">
                  <c:v>0.045308615298991904</c:v>
                </c:pt>
                <c:pt idx="5">
                  <c:v>0.04365191449654928</c:v>
                </c:pt>
                <c:pt idx="6">
                  <c:v>0.03369244458760642</c:v>
                </c:pt>
                <c:pt idx="7">
                  <c:v>0.03260184558881513</c:v>
                </c:pt>
                <c:pt idx="8">
                  <c:v>0.03129776364583866</c:v>
                </c:pt>
                <c:pt idx="9">
                  <c:v>0.027163753505976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ommery Brut Silver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Laurent-Perrier Blanc La Cuvée 750ml (2.7%)</c:v>
                </c:pt>
                <c:pt idx="2">
                  <c:v>Champagne Deutz Brut Classique 750ml (3.4%)</c:v>
                </c:pt>
                <c:pt idx="3">
                  <c:v>Champagne Nicolas Feuillatte Réserve Exclusive Brut 750ml (3.0%)</c:v>
                </c:pt>
                <c:pt idx="4">
                  <c:v>Champagne Veuve Clicquot Réserve Cuvée 750ml (1.7%)</c:v>
                </c:pt>
                <c:pt idx="5">
                  <c:v>Champagne Taittinger Prestige Brut 750ml (1.6%)</c:v>
                </c:pt>
                <c:pt idx="6">
                  <c:v>Champagne E.Nicolas Brut 750ml (11.6%)</c:v>
                </c:pt>
                <c:pt idx="7">
                  <c:v>Champagne Besserat de Bellefon Bleu Brut 750ml (1.7%)</c:v>
                </c:pt>
                <c:pt idx="8">
                  <c:v>Champagne Malard Brut 1er Cru 750ml (4.1%)</c:v>
                </c:pt>
                <c:pt idx="9">
                  <c:v>Champagne Ruinart Brut 750ml (7.3%)</c:v>
                </c:pt>
              </c:strCache>
            </c:strRef>
          </c:cat>
          <c:val>
            <c:numRef>
              <c:f>Sheet1!$B$2:$B$11</c:f>
              <c:numCache>
                <c:formatCode>General</c:formatCode>
                <c:ptCount val="10"/>
                <c:pt idx="0">
                  <c:v>0.06986722390872122</c:v>
                </c:pt>
                <c:pt idx="1">
                  <c:v>0.0625708079054673</c:v>
                </c:pt>
                <c:pt idx="2">
                  <c:v>0.05862158585782675</c:v>
                </c:pt>
                <c:pt idx="3">
                  <c:v>0.046063001007236655</c:v>
                </c:pt>
                <c:pt idx="4">
                  <c:v>0.044579089602839156</c:v>
                </c:pt>
                <c:pt idx="5">
                  <c:v>0.04216441385563394</c:v>
                </c:pt>
                <c:pt idx="6">
                  <c:v>0.041068163937036765</c:v>
                </c:pt>
                <c:pt idx="7">
                  <c:v>0.03844602755350958</c:v>
                </c:pt>
                <c:pt idx="8">
                  <c:v>0.038123313249314145</c:v>
                </c:pt>
                <c:pt idx="9">
                  <c:v>0.0380646041683556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lairette de Die Cuvée Dea Augusta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Saumur Bouvet Cuvée Saphir Brut 750ml (1.5%)</c:v>
                </c:pt>
                <c:pt idx="4">
                  <c:v>Crémant de Bourgogne Patriarche Brut 750ml (1.8%)</c:v>
                </c:pt>
                <c:pt idx="5">
                  <c:v>Crémant d'Alsace Muré Prestige Bio 750ml (1.3%)</c:v>
                </c:pt>
                <c:pt idx="6">
                  <c:v>Champagne E.Nicolas Brut 750ml (11.6%)</c:v>
                </c:pt>
                <c:pt idx="7">
                  <c:v>Mousseux Château Moncontour Brut Vouvray 750ml (1.5%)</c:v>
                </c:pt>
                <c:pt idx="8">
                  <c:v>Prosecco Bottega 750ml (2.6%)</c:v>
                </c:pt>
                <c:pt idx="9">
                  <c:v>Crémant de Bourgogne Patriarche Rosé Brut 750ml (0.8%)</c:v>
                </c:pt>
              </c:strCache>
            </c:strRef>
          </c:cat>
          <c:val>
            <c:numRef>
              <c:f>Sheet1!$B$2:$B$11</c:f>
              <c:numCache>
                <c:formatCode>General</c:formatCode>
                <c:ptCount val="10"/>
                <c:pt idx="0">
                  <c:v>0.26814633674301935</c:v>
                </c:pt>
                <c:pt idx="1">
                  <c:v>0.08244724048189957</c:v>
                </c:pt>
                <c:pt idx="2">
                  <c:v>0.07352251542103597</c:v>
                </c:pt>
                <c:pt idx="3">
                  <c:v>0.06982587604787423</c:v>
                </c:pt>
                <c:pt idx="4">
                  <c:v>0.06652414171870262</c:v>
                </c:pt>
                <c:pt idx="5">
                  <c:v>0.05386596418479838</c:v>
                </c:pt>
                <c:pt idx="6">
                  <c:v>0.051499533361839725</c:v>
                </c:pt>
                <c:pt idx="7">
                  <c:v>0.04165744736482083</c:v>
                </c:pt>
                <c:pt idx="8">
                  <c:v>0.03009668121910708</c:v>
                </c:pt>
                <c:pt idx="9">
                  <c:v>0.0256386309363194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lairette de Die Cuvée Dea Augusta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Crémant Saumur Bouvet Cuvée Saphir Brut 750ml (1.5%)</c:v>
                </c:pt>
                <c:pt idx="4">
                  <c:v>Crémant d'Alsace Muré Prestige Bio 750ml (1.3%)</c:v>
                </c:pt>
                <c:pt idx="5">
                  <c:v>Crémant de Bourgogne Patriarche Brut 750ml (1.8%)</c:v>
                </c:pt>
                <c:pt idx="6">
                  <c:v>Champagne E.Nicolas Brut 750ml (11.6%)</c:v>
                </c:pt>
                <c:pt idx="7">
                  <c:v>Prosecco Bottega 750ml (2.6%)</c:v>
                </c:pt>
                <c:pt idx="8">
                  <c:v>Mousseux Château Moncontour Brut Vouvray 750ml (1.5%)</c:v>
                </c:pt>
                <c:pt idx="9">
                  <c:v>Mousseux Lyre's Classico Sans Alcool 750ml (1.0%)</c:v>
                </c:pt>
              </c:strCache>
            </c:strRef>
          </c:cat>
          <c:val>
            <c:numRef>
              <c:f>Sheet1!$B$2:$B$11</c:f>
              <c:numCache>
                <c:formatCode>General</c:formatCode>
                <c:ptCount val="10"/>
                <c:pt idx="0">
                  <c:v>0.23220333283043998</c:v>
                </c:pt>
                <c:pt idx="1">
                  <c:v>0.07158598195747429</c:v>
                </c:pt>
                <c:pt idx="2">
                  <c:v>0.07049434199077557</c:v>
                </c:pt>
                <c:pt idx="3">
                  <c:v>0.06380667688600357</c:v>
                </c:pt>
                <c:pt idx="4">
                  <c:v>0.06067346224590322</c:v>
                </c:pt>
                <c:pt idx="5">
                  <c:v>0.05887191255021953</c:v>
                </c:pt>
                <c:pt idx="6">
                  <c:v>0.05784335499797843</c:v>
                </c:pt>
                <c:pt idx="7">
                  <c:v>0.044303903221875135</c:v>
                </c:pt>
                <c:pt idx="8">
                  <c:v>0.04177711084348668</c:v>
                </c:pt>
                <c:pt idx="9">
                  <c:v>0.0286400575277505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Loire De Chanceny Brut 2015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Crémant Saumur Bouvet Cuvée Saphir Brut 750ml (1.5%)</c:v>
                </c:pt>
                <c:pt idx="5">
                  <c:v>Mousseux Château Moncontour Brut Vouvray 750ml (1.5%)</c:v>
                </c:pt>
                <c:pt idx="6">
                  <c:v>Prosecco Bottega 750ml (2.6%)</c:v>
                </c:pt>
                <c:pt idx="7">
                  <c:v>Mousseux Les Grumes Bulles 750ml (1.0%)</c:v>
                </c:pt>
                <c:pt idx="8">
                  <c:v>Crémant d'Alsace Muré Prestige Bio 750ml (1.3%)</c:v>
                </c:pt>
                <c:pt idx="9">
                  <c:v>Champagne Malard Brut 1er Cru 750ml (4.1%)</c:v>
                </c:pt>
              </c:strCache>
            </c:strRef>
          </c:cat>
          <c:val>
            <c:numRef>
              <c:f>Sheet1!$B$2:$B$11</c:f>
              <c:numCache>
                <c:formatCode>General</c:formatCode>
                <c:ptCount val="10"/>
                <c:pt idx="0">
                  <c:v>0.13880496931862765</c:v>
                </c:pt>
                <c:pt idx="1">
                  <c:v>0.10515646470716816</c:v>
                </c:pt>
                <c:pt idx="2">
                  <c:v>0.07455529572196694</c:v>
                </c:pt>
                <c:pt idx="3">
                  <c:v>0.07041591417861495</c:v>
                </c:pt>
                <c:pt idx="4">
                  <c:v>0.06552773664051925</c:v>
                </c:pt>
                <c:pt idx="5">
                  <c:v>0.0646767712842087</c:v>
                </c:pt>
                <c:pt idx="6">
                  <c:v>0.054670938896769536</c:v>
                </c:pt>
                <c:pt idx="7">
                  <c:v>0.043727016255427666</c:v>
                </c:pt>
                <c:pt idx="8">
                  <c:v>0.03584683849173399</c:v>
                </c:pt>
                <c:pt idx="9">
                  <c:v>0.03425699833196020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ru La Maqu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Patriarche (2.6%)</c:v>
                </c:pt>
                <c:pt idx="5">
                  <c:v>Muré (1.3%)</c:v>
                </c:pt>
                <c:pt idx="6">
                  <c:v>Bouvet Ladubay (1.5%)</c:v>
                </c:pt>
                <c:pt idx="7">
                  <c:v>Dea Augusta (0.5%)</c:v>
                </c:pt>
                <c:pt idx="8">
                  <c:v>Malard (6.0%)</c:v>
                </c:pt>
                <c:pt idx="9">
                  <c:v>Château Moncontour  (1.5%)</c:v>
                </c:pt>
              </c:strCache>
            </c:strRef>
          </c:cat>
          <c:val>
            <c:numRef>
              <c:f>Sheet1!$B$2:$B$11</c:f>
              <c:numCache>
                <c:formatCode>General</c:formatCode>
                <c:ptCount val="10"/>
                <c:pt idx="0">
                  <c:v>0.1858212047852085</c:v>
                </c:pt>
                <c:pt idx="1">
                  <c:v>0.1025232955229076</c:v>
                </c:pt>
                <c:pt idx="2">
                  <c:v>0.09465470448423087</c:v>
                </c:pt>
                <c:pt idx="3">
                  <c:v>0.088903040882694</c:v>
                </c:pt>
                <c:pt idx="4">
                  <c:v>0.08031788186015698</c:v>
                </c:pt>
                <c:pt idx="5">
                  <c:v>0.04988835490202291</c:v>
                </c:pt>
                <c:pt idx="6">
                  <c:v>0.042815350705144556</c:v>
                </c:pt>
                <c:pt idx="7">
                  <c:v>0.03574935322346621</c:v>
                </c:pt>
                <c:pt idx="8">
                  <c:v>0.033310856112800796</c:v>
                </c:pt>
                <c:pt idx="9">
                  <c:v>0.0325715422087514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Loire De Chanceny Brut 2015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de Bourgogne Patriarche Brut 750ml (1.8%)</c:v>
                </c:pt>
                <c:pt idx="3">
                  <c:v>Prosecco Savian Extra Dry Bio 750ml (2.1%)</c:v>
                </c:pt>
                <c:pt idx="4">
                  <c:v>Crémant Saumur Bouvet Cuvée Saphir Brut 750ml (1.5%)</c:v>
                </c:pt>
                <c:pt idx="5">
                  <c:v>Prosecco Bottega 750ml (2.6%)</c:v>
                </c:pt>
                <c:pt idx="6">
                  <c:v>Mousseux Château Moncontour Brut Vouvray 750ml (1.5%)</c:v>
                </c:pt>
                <c:pt idx="7">
                  <c:v>Mousseux Les Grumes Bulles 750ml (1.0%)</c:v>
                </c:pt>
                <c:pt idx="8">
                  <c:v>Crémant d'Alsace Muré Prestige Bio 750ml (1.3%)</c:v>
                </c:pt>
                <c:pt idx="9">
                  <c:v>Champagne Malard Brut 1er Cru 750ml (4.1%)</c:v>
                </c:pt>
              </c:strCache>
            </c:strRef>
          </c:cat>
          <c:val>
            <c:numRef>
              <c:f>Sheet1!$B$2:$B$11</c:f>
              <c:numCache>
                <c:formatCode>General</c:formatCode>
                <c:ptCount val="10"/>
                <c:pt idx="0">
                  <c:v>0.1195862574356487</c:v>
                </c:pt>
                <c:pt idx="1">
                  <c:v>0.10905995875588899</c:v>
                </c:pt>
                <c:pt idx="2">
                  <c:v>0.07645021789928294</c:v>
                </c:pt>
                <c:pt idx="3">
                  <c:v>0.06618660875890735</c:v>
                </c:pt>
                <c:pt idx="4">
                  <c:v>0.06348313869737283</c:v>
                </c:pt>
                <c:pt idx="5">
                  <c:v>0.061113104060358366</c:v>
                </c:pt>
                <c:pt idx="6">
                  <c:v>0.06079084349678992</c:v>
                </c:pt>
                <c:pt idx="7">
                  <c:v>0.038406885045391095</c:v>
                </c:pt>
                <c:pt idx="8">
                  <c:v>0.03728676508300364</c:v>
                </c:pt>
                <c:pt idx="9">
                  <c:v>0.036493842991896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Saumur Bouvet Cuvée Saphir Brut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Prosecco Bottega 750ml (2.6%)</c:v>
                </c:pt>
                <c:pt idx="5">
                  <c:v>Crémant de Bourgogne Patriarche Brut 750ml (1.8%)</c:v>
                </c:pt>
                <c:pt idx="6">
                  <c:v>Crémant d'Alsace Muré Prestige Bio 750ml (1.3%)</c:v>
                </c:pt>
                <c:pt idx="7">
                  <c:v>Mousseux Château Moncontour Brut Vouvray 750ml (1.5%)</c:v>
                </c:pt>
                <c:pt idx="8">
                  <c:v>Clairette de Die Cuvée Dea Augusta 750ml (0.5%)</c:v>
                </c:pt>
                <c:pt idx="9">
                  <c:v>Crémant de Loire De Chanceny Brut 2015 750ml (0.7%)</c:v>
                </c:pt>
              </c:strCache>
            </c:strRef>
          </c:cat>
          <c:val>
            <c:numRef>
              <c:f>Sheet1!$B$2:$B$11</c:f>
              <c:numCache>
                <c:formatCode>General</c:formatCode>
                <c:ptCount val="10"/>
                <c:pt idx="0">
                  <c:v>0.22124575293110788</c:v>
                </c:pt>
                <c:pt idx="1">
                  <c:v>0.10866282813982088</c:v>
                </c:pt>
                <c:pt idx="2">
                  <c:v>0.08234897016727494</c:v>
                </c:pt>
                <c:pt idx="3">
                  <c:v>0.05772512050554434</c:v>
                </c:pt>
                <c:pt idx="4">
                  <c:v>0.05180498702363947</c:v>
                </c:pt>
                <c:pt idx="5">
                  <c:v>0.05162631042383894</c:v>
                </c:pt>
                <c:pt idx="6">
                  <c:v>0.03536809425971161</c:v>
                </c:pt>
                <c:pt idx="7">
                  <c:v>0.033563497918672296</c:v>
                </c:pt>
                <c:pt idx="8">
                  <c:v>0.02836833954202707</c:v>
                </c:pt>
                <c:pt idx="9">
                  <c:v>0.0226971602920723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Saumur Bouvet Cuvée Saphir Brut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Mousseux Les Grumes Bulles 750ml (1.0%)</c:v>
                </c:pt>
                <c:pt idx="5">
                  <c:v>Mousseux Château Moncontour Brut Vouvray 750ml (1.5%)</c:v>
                </c:pt>
                <c:pt idx="6">
                  <c:v>Prosecco Bottega 750ml (2.6%)</c:v>
                </c:pt>
                <c:pt idx="7">
                  <c:v>Crémant d'Alsace Muré Prestige Bio 750ml (1.3%)</c:v>
                </c:pt>
                <c:pt idx="8">
                  <c:v>Clairette de Die Cuvée Dea Augusta 750ml (0.5%)</c:v>
                </c:pt>
                <c:pt idx="9">
                  <c:v>Crémant de Loire De Chanceny Brut 2015 750ml (0.7%)</c:v>
                </c:pt>
              </c:strCache>
            </c:strRef>
          </c:cat>
          <c:val>
            <c:numRef>
              <c:f>Sheet1!$B$2:$B$11</c:f>
              <c:numCache>
                <c:formatCode>General</c:formatCode>
                <c:ptCount val="10"/>
                <c:pt idx="0">
                  <c:v>0.15903274472388892</c:v>
                </c:pt>
                <c:pt idx="1">
                  <c:v>0.1155282830451787</c:v>
                </c:pt>
                <c:pt idx="2">
                  <c:v>0.07250783337279605</c:v>
                </c:pt>
                <c:pt idx="3">
                  <c:v>0.06908087433829818</c:v>
                </c:pt>
                <c:pt idx="4">
                  <c:v>0.05536093964721301</c:v>
                </c:pt>
                <c:pt idx="5">
                  <c:v>0.0550777595577561</c:v>
                </c:pt>
                <c:pt idx="6">
                  <c:v>0.05220080578987981</c:v>
                </c:pt>
                <c:pt idx="7">
                  <c:v>0.03634168995474527</c:v>
                </c:pt>
                <c:pt idx="8">
                  <c:v>0.032794201111739564</c:v>
                </c:pt>
                <c:pt idx="9">
                  <c:v>0.029454946899300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rdeaux La Maqueline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750ml (2.6%)</c:v>
                </c:pt>
                <c:pt idx="4">
                  <c:v>Crémant de Bourgogne Patriarche Brut 750ml (1.8%)</c:v>
                </c:pt>
                <c:pt idx="5">
                  <c:v>Crémant d'Alsace Muré Prestige Bio 750ml (1.3%)</c:v>
                </c:pt>
                <c:pt idx="6">
                  <c:v>Crémant Saumur Bouvet Cuvée Saphir Brut 750ml (1.5%)</c:v>
                </c:pt>
                <c:pt idx="7">
                  <c:v>Clairette de Die Cuvée Dea Augusta 750ml (0.5%)</c:v>
                </c:pt>
                <c:pt idx="8">
                  <c:v>Prosecco Bottega Rosé 750ml (1.1%)</c:v>
                </c:pt>
                <c:pt idx="9">
                  <c:v>Champagne Malard Brut 1er Cru 750ml (4.1%)</c:v>
                </c:pt>
              </c:strCache>
            </c:strRef>
          </c:cat>
          <c:val>
            <c:numRef>
              <c:f>Sheet1!$B$2:$B$11</c:f>
              <c:numCache>
                <c:formatCode>General</c:formatCode>
                <c:ptCount val="10"/>
                <c:pt idx="0">
                  <c:v>0.23299507592204705</c:v>
                </c:pt>
                <c:pt idx="1">
                  <c:v>0.10028981593769001</c:v>
                </c:pt>
                <c:pt idx="2">
                  <c:v>0.07409293124430029</c:v>
                </c:pt>
                <c:pt idx="3">
                  <c:v>0.053920984469613235</c:v>
                </c:pt>
                <c:pt idx="4">
                  <c:v>0.05142313301206809</c:v>
                </c:pt>
                <c:pt idx="5">
                  <c:v>0.05061788372708182</c:v>
                </c:pt>
                <c:pt idx="6">
                  <c:v>0.04104421356219828</c:v>
                </c:pt>
                <c:pt idx="7">
                  <c:v>0.036694108684278214</c:v>
                </c:pt>
                <c:pt idx="8">
                  <c:v>0.031669441362579265</c:v>
                </c:pt>
                <c:pt idx="9">
                  <c:v>0.0256400274646247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rdeaux La Maqueline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750ml (2.6%)</c:v>
                </c:pt>
                <c:pt idx="4">
                  <c:v>Crémant de Bourgogne Patriarche Brut 750ml (1.8%)</c:v>
                </c:pt>
                <c:pt idx="5">
                  <c:v>Crémant d'Alsace Muré Prestige Bio 750ml (1.3%)</c:v>
                </c:pt>
                <c:pt idx="6">
                  <c:v>Crémant Saumur Bouvet Cuvée Saphir Brut 750ml (1.5%)</c:v>
                </c:pt>
                <c:pt idx="7">
                  <c:v>Clairette de Die Cuvée Dea Augusta 750ml (0.5%)</c:v>
                </c:pt>
                <c:pt idx="8">
                  <c:v>Mousseux Château Moncontour Brut Vouvray 750ml (1.5%)</c:v>
                </c:pt>
                <c:pt idx="9">
                  <c:v>Prosecco Bottega Rosé 750ml (1.1%)</c:v>
                </c:pt>
              </c:strCache>
            </c:strRef>
          </c:cat>
          <c:val>
            <c:numRef>
              <c:f>Sheet1!$B$2:$B$11</c:f>
              <c:numCache>
                <c:formatCode>General</c:formatCode>
                <c:ptCount val="10"/>
                <c:pt idx="0">
                  <c:v>0.1858212047852085</c:v>
                </c:pt>
                <c:pt idx="1">
                  <c:v>0.088903040882694</c:v>
                </c:pt>
                <c:pt idx="2">
                  <c:v>0.08236594667038277</c:v>
                </c:pt>
                <c:pt idx="3">
                  <c:v>0.06319125709398803</c:v>
                </c:pt>
                <c:pt idx="4">
                  <c:v>0.05327743000353268</c:v>
                </c:pt>
                <c:pt idx="5">
                  <c:v>0.04988835490202291</c:v>
                </c:pt>
                <c:pt idx="6">
                  <c:v>0.042815350705144556</c:v>
                </c:pt>
                <c:pt idx="7">
                  <c:v>0.03574935322346621</c:v>
                </c:pt>
                <c:pt idx="8">
                  <c:v>0.03257154220875148</c:v>
                </c:pt>
                <c:pt idx="9">
                  <c:v>0.031463447390236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Patriarche Rosé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de Bourgogne Patriarche Brut 750ml (1.8%)</c:v>
                </c:pt>
                <c:pt idx="3">
                  <c:v>Prosecco Savian Extra Dry Bio 750ml (2.1%)</c:v>
                </c:pt>
                <c:pt idx="4">
                  <c:v>Mousseux Château Moncontour Brut Vouvray 750ml (1.5%)</c:v>
                </c:pt>
                <c:pt idx="5">
                  <c:v>Crémant Saumur Bouvet Cuvée Saphir Brut 750ml (1.5%)</c:v>
                </c:pt>
                <c:pt idx="6">
                  <c:v>Crémant d'Alsace Muré Prestige Bio 750ml (1.3%)</c:v>
                </c:pt>
                <c:pt idx="7">
                  <c:v>Mousseux Les Grumes Bulles 750ml (1.0%)</c:v>
                </c:pt>
                <c:pt idx="8">
                  <c:v>Prosecco Bottega Rosé 750ml (1.1%)</c:v>
                </c:pt>
                <c:pt idx="9">
                  <c:v>Prosecco Bottega 750ml (2.6%)</c:v>
                </c:pt>
              </c:strCache>
            </c:strRef>
          </c:cat>
          <c:val>
            <c:numRef>
              <c:f>Sheet1!$B$2:$B$11</c:f>
              <c:numCache>
                <c:formatCode>General</c:formatCode>
                <c:ptCount val="10"/>
                <c:pt idx="0">
                  <c:v>0.11198065235184962</c:v>
                </c:pt>
                <c:pt idx="1">
                  <c:v>0.07723864586749749</c:v>
                </c:pt>
                <c:pt idx="2">
                  <c:v>0.07713043846049603</c:v>
                </c:pt>
                <c:pt idx="3">
                  <c:v>0.0709665311668438</c:v>
                </c:pt>
                <c:pt idx="4">
                  <c:v>0.06040551922774424</c:v>
                </c:pt>
                <c:pt idx="5">
                  <c:v>0.057770757227038956</c:v>
                </c:pt>
                <c:pt idx="6">
                  <c:v>0.04727043575928623</c:v>
                </c:pt>
                <c:pt idx="7">
                  <c:v>0.04665151741085984</c:v>
                </c:pt>
                <c:pt idx="8">
                  <c:v>0.03393737190243299</c:v>
                </c:pt>
                <c:pt idx="9">
                  <c:v>0.0334255808431073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Patriarche Rosé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rémant de Bourgogne Patriarche Brut 750ml (1.8%)</c:v>
                </c:pt>
                <c:pt idx="2">
                  <c:v>Champagne E.Nicolas Brut 750ml (11.6%)</c:v>
                </c:pt>
                <c:pt idx="3">
                  <c:v>Prosecco Savian Extra Dry Bio 750ml (2.1%)</c:v>
                </c:pt>
                <c:pt idx="4">
                  <c:v>Mousseux Château Moncontour Brut Vouvray 750ml (1.5%)</c:v>
                </c:pt>
                <c:pt idx="5">
                  <c:v>Crémant Saumur Bouvet Cuvée Saphir Brut 750ml (1.5%)</c:v>
                </c:pt>
                <c:pt idx="6">
                  <c:v>Crémant d'Alsace Muré Prestige Bio 750ml (1.3%)</c:v>
                </c:pt>
                <c:pt idx="7">
                  <c:v>Mousseux Les Grumes Bulles 750ml (1.0%)</c:v>
                </c:pt>
                <c:pt idx="8">
                  <c:v>Prosecco Bottega 750ml (2.6%)</c:v>
                </c:pt>
                <c:pt idx="9">
                  <c:v>Crémant de Loire De Chanceny Brut 2015 750ml (0.7%)</c:v>
                </c:pt>
              </c:strCache>
            </c:strRef>
          </c:cat>
          <c:val>
            <c:numRef>
              <c:f>Sheet1!$B$2:$B$11</c:f>
              <c:numCache>
                <c:formatCode>General</c:formatCode>
                <c:ptCount val="10"/>
                <c:pt idx="0">
                  <c:v>0.09627180011256797</c:v>
                </c:pt>
                <c:pt idx="1">
                  <c:v>0.0817083595777733</c:v>
                </c:pt>
                <c:pt idx="2">
                  <c:v>0.07988160247612332</c:v>
                </c:pt>
                <c:pt idx="3">
                  <c:v>0.06229252196375472</c:v>
                </c:pt>
                <c:pt idx="4">
                  <c:v>0.0564534471385797</c:v>
                </c:pt>
                <c:pt idx="5">
                  <c:v>0.05575726201918028</c:v>
                </c:pt>
                <c:pt idx="6">
                  <c:v>0.04852998842049583</c:v>
                </c:pt>
                <c:pt idx="7">
                  <c:v>0.04142530416828153</c:v>
                </c:pt>
                <c:pt idx="8">
                  <c:v>0.034698465869476024</c:v>
                </c:pt>
                <c:pt idx="9">
                  <c:v>0.032212728636181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Patriarche Brut 750ml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Château Moncontour Brut Vouvray 750ml (1.5%)</c:v>
                </c:pt>
                <c:pt idx="5">
                  <c:v>Prosecco Bottega 750ml (2.6%)</c:v>
                </c:pt>
                <c:pt idx="6">
                  <c:v>Mousseux Les Grumes Bulles 750ml (1.0%)</c:v>
                </c:pt>
                <c:pt idx="7">
                  <c:v>Crémant d'Alsace Muré Prestige Bio 750ml (1.3%)</c:v>
                </c:pt>
                <c:pt idx="8">
                  <c:v>Crémant de Bourgogne Patriarche Rosé Brut 750ml (0.8%)</c:v>
                </c:pt>
                <c:pt idx="9">
                  <c:v>Clairette de Die Cuvée Dea Augusta 750ml (0.5%)</c:v>
                </c:pt>
              </c:strCache>
            </c:strRef>
          </c:cat>
          <c:val>
            <c:numRef>
              <c:f>Sheet1!$B$2:$B$11</c:f>
              <c:numCache>
                <c:formatCode>General</c:formatCode>
                <c:ptCount val="10"/>
                <c:pt idx="0">
                  <c:v>0.14664591523447218</c:v>
                </c:pt>
                <c:pt idx="1">
                  <c:v>0.10190205417908516</c:v>
                </c:pt>
                <c:pt idx="2">
                  <c:v>0.08196343878685307</c:v>
                </c:pt>
                <c:pt idx="3">
                  <c:v>0.06878149550969663</c:v>
                </c:pt>
                <c:pt idx="4">
                  <c:v>0.05984417937997692</c:v>
                </c:pt>
                <c:pt idx="5">
                  <c:v>0.04770107477906539</c:v>
                </c:pt>
                <c:pt idx="6">
                  <c:v>0.04288945843798454</c:v>
                </c:pt>
                <c:pt idx="7">
                  <c:v>0.039527379695321566</c:v>
                </c:pt>
                <c:pt idx="8">
                  <c:v>0.03329591896327705</c:v>
                </c:pt>
                <c:pt idx="9">
                  <c:v>0.0325555037873373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Patriarche Brut 750ml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Château Moncontour Brut Vouvray 750ml (1.5%)</c:v>
                </c:pt>
                <c:pt idx="5">
                  <c:v>Prosecco Bottega 750ml (2.6%)</c:v>
                </c:pt>
                <c:pt idx="6">
                  <c:v>Crémant d'Alsace Muré Prestige Bio 750ml (1.3%)</c:v>
                </c:pt>
                <c:pt idx="7">
                  <c:v>Mousseux Les Grumes Bulles 750ml (1.0%)</c:v>
                </c:pt>
                <c:pt idx="8">
                  <c:v>Crémant de Bourgogne Patriarche Rosé Brut 750ml (0.8%)</c:v>
                </c:pt>
                <c:pt idx="9">
                  <c:v>Crémant de Loire De Chanceny Brut 2015 750ml (0.7%)</c:v>
                </c:pt>
              </c:strCache>
            </c:strRef>
          </c:cat>
          <c:val>
            <c:numRef>
              <c:f>Sheet1!$B$2:$B$11</c:f>
              <c:numCache>
                <c:formatCode>General</c:formatCode>
                <c:ptCount val="10"/>
                <c:pt idx="0">
                  <c:v>0.1289398482491991</c:v>
                </c:pt>
                <c:pt idx="1">
                  <c:v>0.10652994813522758</c:v>
                </c:pt>
                <c:pt idx="2">
                  <c:v>0.07474067901016324</c:v>
                </c:pt>
                <c:pt idx="3">
                  <c:v>0.06848270107754345</c:v>
                </c:pt>
                <c:pt idx="4">
                  <c:v>0.059592444463436485</c:v>
                </c:pt>
                <c:pt idx="5">
                  <c:v>0.04936440843074346</c:v>
                </c:pt>
                <c:pt idx="6">
                  <c:v>0.040678465562346736</c:v>
                </c:pt>
                <c:pt idx="7">
                  <c:v>0.03913554672889227</c:v>
                </c:pt>
                <c:pt idx="8">
                  <c:v>0.03462622083062129</c:v>
                </c:pt>
                <c:pt idx="9">
                  <c:v>0.0330771937167434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Louis Picamelot Brut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Crémant de Bourgogne Patriarche Brut 750ml (1.8%)</c:v>
                </c:pt>
                <c:pt idx="4">
                  <c:v>Prosecco Bottega 750ml (2.6%)</c:v>
                </c:pt>
                <c:pt idx="5">
                  <c:v>Crémant d'Alsace Muré Prestige Bio 750ml (1.3%)</c:v>
                </c:pt>
                <c:pt idx="6">
                  <c:v>Mousseux Château Moncontour Brut Vouvray 750ml (1.5%)</c:v>
                </c:pt>
                <c:pt idx="7">
                  <c:v>Mousseux Les Grumes Bulles 750ml (1.0%)</c:v>
                </c:pt>
                <c:pt idx="8">
                  <c:v>Crémant Saumur Bouvet Cuvée Saphir Brut 750ml (1.5%)</c:v>
                </c:pt>
                <c:pt idx="9">
                  <c:v>Mousseux Lyre's Classico Sans Alcool 750ml (1.0%)</c:v>
                </c:pt>
              </c:strCache>
            </c:strRef>
          </c:cat>
          <c:val>
            <c:numRef>
              <c:f>Sheet1!$B$2:$B$11</c:f>
              <c:numCache>
                <c:formatCode>General</c:formatCode>
                <c:ptCount val="10"/>
                <c:pt idx="0">
                  <c:v>0.11615907371192186</c:v>
                </c:pt>
                <c:pt idx="1">
                  <c:v>0.08185168027745404</c:v>
                </c:pt>
                <c:pt idx="2">
                  <c:v>0.07219985670669933</c:v>
                </c:pt>
                <c:pt idx="3">
                  <c:v>0.05912596557520466</c:v>
                </c:pt>
                <c:pt idx="4">
                  <c:v>0.05758327940807986</c:v>
                </c:pt>
                <c:pt idx="5">
                  <c:v>0.05423056859756599</c:v>
                </c:pt>
                <c:pt idx="6">
                  <c:v>0.04845895121704415</c:v>
                </c:pt>
                <c:pt idx="7">
                  <c:v>0.04456245670821813</c:v>
                </c:pt>
                <c:pt idx="8">
                  <c:v>0.04057306485131192</c:v>
                </c:pt>
                <c:pt idx="9">
                  <c:v>0.0357103586892830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Bligny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Patriarche (2.6%)</c:v>
                </c:pt>
                <c:pt idx="8">
                  <c:v>Carlo V (5.4%)</c:v>
                </c:pt>
                <c:pt idx="9">
                  <c:v>Ruinart (12.8%)</c:v>
                </c:pt>
              </c:strCache>
            </c:strRef>
          </c:cat>
          <c:val>
            <c:numRef>
              <c:f>Sheet1!$B$2:$B$11</c:f>
              <c:numCache>
                <c:formatCode>General</c:formatCode>
                <c:ptCount val="10"/>
                <c:pt idx="0">
                  <c:v>0.25295746415756226</c:v>
                </c:pt>
                <c:pt idx="1">
                  <c:v>0.13460415027000736</c:v>
                </c:pt>
                <c:pt idx="2">
                  <c:v>0.05668613653815981</c:v>
                </c:pt>
                <c:pt idx="3">
                  <c:v>0.05005399641319613</c:v>
                </c:pt>
                <c:pt idx="4">
                  <c:v>0.03637947658978722</c:v>
                </c:pt>
                <c:pt idx="5">
                  <c:v>0.03239606531260826</c:v>
                </c:pt>
                <c:pt idx="6">
                  <c:v>0.03208225656982619</c:v>
                </c:pt>
                <c:pt idx="7">
                  <c:v>0.02978280582674225</c:v>
                </c:pt>
                <c:pt idx="8">
                  <c:v>0.027620528804744277</c:v>
                </c:pt>
                <c:pt idx="9">
                  <c:v>0.027445997623390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Louis Picamelot Brut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Crémant d'Alsace Muré Prestige Bio 750ml (1.3%)</c:v>
                </c:pt>
                <c:pt idx="6">
                  <c:v>Mousseux Château Moncontour Brut Vouvray 750ml (1.5%)</c:v>
                </c:pt>
                <c:pt idx="7">
                  <c:v>Mousseux Les Grumes Bulles 750ml (1.0%)</c:v>
                </c:pt>
                <c:pt idx="8">
                  <c:v>Crémant Saumur Bouvet Cuvée Saphir Brut 750ml (1.5%)</c:v>
                </c:pt>
                <c:pt idx="9">
                  <c:v>Crémant de Bourgogne Patriarche Rosé Brut 750ml (0.8%)</c:v>
                </c:pt>
              </c:strCache>
            </c:strRef>
          </c:cat>
          <c:val>
            <c:numRef>
              <c:f>Sheet1!$B$2:$B$11</c:f>
              <c:numCache>
                <c:formatCode>General</c:formatCode>
                <c:ptCount val="10"/>
                <c:pt idx="0">
                  <c:v>0.103743591371499</c:v>
                </c:pt>
                <c:pt idx="1">
                  <c:v>0.07536212837282236</c:v>
                </c:pt>
                <c:pt idx="2">
                  <c:v>0.07392668081554926</c:v>
                </c:pt>
                <c:pt idx="3">
                  <c:v>0.06753674149642436</c:v>
                </c:pt>
                <c:pt idx="4">
                  <c:v>0.06125128171204079</c:v>
                </c:pt>
                <c:pt idx="5">
                  <c:v>0.05638364036700473</c:v>
                </c:pt>
                <c:pt idx="6">
                  <c:v>0.04537550564174654</c:v>
                </c:pt>
                <c:pt idx="7">
                  <c:v>0.03836170624356721</c:v>
                </c:pt>
                <c:pt idx="8">
                  <c:v>0.0378605168868681</c:v>
                </c:pt>
                <c:pt idx="9">
                  <c:v>0.0331951465356924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Alsace Muré Prestige Bio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Prosecco Bottega Rosé 750ml (1.1%)</c:v>
                </c:pt>
                <c:pt idx="6">
                  <c:v>Crémant Saumur Bouvet Cuvée Saphir Brut 750ml (1.5%)</c:v>
                </c:pt>
                <c:pt idx="7">
                  <c:v>Mousseux Les Grumes Bulles 750ml (1.0%)</c:v>
                </c:pt>
                <c:pt idx="8">
                  <c:v>Clairette de Die Cuvée Dea Augusta 750ml (0.5%)</c:v>
                </c:pt>
                <c:pt idx="9">
                  <c:v>Champagne Heidsieck Monopole Silver Top 750ml (4.2%)</c:v>
                </c:pt>
              </c:strCache>
            </c:strRef>
          </c:cat>
          <c:val>
            <c:numRef>
              <c:f>Sheet1!$B$2:$B$11</c:f>
              <c:numCache>
                <c:formatCode>General</c:formatCode>
                <c:ptCount val="10"/>
                <c:pt idx="0">
                  <c:v>0.1932081477860178</c:v>
                </c:pt>
                <c:pt idx="1">
                  <c:v>0.08391560761346081</c:v>
                </c:pt>
                <c:pt idx="2">
                  <c:v>0.08046352017652933</c:v>
                </c:pt>
                <c:pt idx="3">
                  <c:v>0.0641824422320978</c:v>
                </c:pt>
                <c:pt idx="4">
                  <c:v>0.05255325907404637</c:v>
                </c:pt>
                <c:pt idx="5">
                  <c:v>0.039562183309292266</c:v>
                </c:pt>
                <c:pt idx="6">
                  <c:v>0.038268107608142636</c:v>
                </c:pt>
                <c:pt idx="7">
                  <c:v>0.03464350833248402</c:v>
                </c:pt>
                <c:pt idx="8">
                  <c:v>0.02760000155410136</c:v>
                </c:pt>
                <c:pt idx="9">
                  <c:v>0.0250942496544312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Alsace Muré Prestige Bio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Prosecco Bottega Rosé 750ml (1.1%)</c:v>
                </c:pt>
                <c:pt idx="6">
                  <c:v>Crémant Saumur Bouvet Cuvée Saphir Brut 750ml (1.5%)</c:v>
                </c:pt>
                <c:pt idx="7">
                  <c:v>Mousseux Les Grumes Bulles 750ml (1.0%)</c:v>
                </c:pt>
                <c:pt idx="8">
                  <c:v>Clairette de Die Cuvée Dea Augusta 750ml (0.5%)</c:v>
                </c:pt>
                <c:pt idx="9">
                  <c:v>Crémant de Bourgogne Patriarche Rosé Brut 750ml (0.8%)</c:v>
                </c:pt>
              </c:strCache>
            </c:strRef>
          </c:cat>
          <c:val>
            <c:numRef>
              <c:f>Sheet1!$B$2:$B$11</c:f>
              <c:numCache>
                <c:formatCode>General</c:formatCode>
                <c:ptCount val="10"/>
                <c:pt idx="0">
                  <c:v>0.1679930737412022</c:v>
                </c:pt>
                <c:pt idx="1">
                  <c:v>0.09088785429278207</c:v>
                </c:pt>
                <c:pt idx="2">
                  <c:v>0.07085650165165559</c:v>
                </c:pt>
                <c:pt idx="3">
                  <c:v>0.06599305584846954</c:v>
                </c:pt>
                <c:pt idx="4">
                  <c:v>0.05568529853864586</c:v>
                </c:pt>
                <c:pt idx="5">
                  <c:v>0.04011383862128857</c:v>
                </c:pt>
                <c:pt idx="6">
                  <c:v>0.03898606239706544</c:v>
                </c:pt>
                <c:pt idx="7">
                  <c:v>0.030481927134768008</c:v>
                </c:pt>
                <c:pt idx="8">
                  <c:v>0.02637378211012463</c:v>
                </c:pt>
                <c:pt idx="9">
                  <c:v>0.0262584206026213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Alsace Wolfberger AOP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Crémant de Bourgogne Patriarche Brut 750ml (1.8%)</c:v>
                </c:pt>
                <c:pt idx="4">
                  <c:v>Prosecco Savian Extra Dry Bio 750ml (2.1%)</c:v>
                </c:pt>
                <c:pt idx="5">
                  <c:v>Mousseux Les Grumes Bulles 750ml (1.0%)</c:v>
                </c:pt>
                <c:pt idx="6">
                  <c:v>Champagne Malard Brut 1er Cru 750ml (4.1%)</c:v>
                </c:pt>
                <c:pt idx="7">
                  <c:v>Mousseux Château Moncontour Brut Vouvray 750ml (1.5%)</c:v>
                </c:pt>
                <c:pt idx="8">
                  <c:v>Crémant d'Alsace Muré Prestige Bio 750ml (1.3%)</c:v>
                </c:pt>
                <c:pt idx="9">
                  <c:v>Prosecco Bottega 750ml (2.6%)</c:v>
                </c:pt>
              </c:strCache>
            </c:strRef>
          </c:cat>
          <c:val>
            <c:numRef>
              <c:f>Sheet1!$B$2:$B$11</c:f>
              <c:numCache>
                <c:formatCode>General</c:formatCode>
                <c:ptCount val="10"/>
                <c:pt idx="0">
                  <c:v>0.2102617345827434</c:v>
                </c:pt>
                <c:pt idx="1">
                  <c:v>0.10738979866448384</c:v>
                </c:pt>
                <c:pt idx="2">
                  <c:v>0.06093468895744322</c:v>
                </c:pt>
                <c:pt idx="3">
                  <c:v>0.04901832660176883</c:v>
                </c:pt>
                <c:pt idx="4">
                  <c:v>0.04301808069315826</c:v>
                </c:pt>
                <c:pt idx="5">
                  <c:v>0.03899178408080777</c:v>
                </c:pt>
                <c:pt idx="6">
                  <c:v>0.036801191318704615</c:v>
                </c:pt>
                <c:pt idx="7">
                  <c:v>0.028721728027446873</c:v>
                </c:pt>
                <c:pt idx="8">
                  <c:v>0.026371171861729072</c:v>
                </c:pt>
                <c:pt idx="9">
                  <c:v>0.0220328449699448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Alsace Wolfberger AOP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Mousseux Les Grumes Bulles 750ml (1.0%)</c:v>
                </c:pt>
                <c:pt idx="6">
                  <c:v>Mousseux Château Moncontour Brut Vouvray 750ml (1.5%)</c:v>
                </c:pt>
                <c:pt idx="7">
                  <c:v>Champagne Malard Brut 1er Cru 750ml (4.1%)</c:v>
                </c:pt>
                <c:pt idx="8">
                  <c:v>Crémant d'Alsace Muré Prestige Bio 750ml (1.3%)</c:v>
                </c:pt>
                <c:pt idx="9">
                  <c:v>Clairette de Die Cuvée Dea Augusta 750ml (0.5%)</c:v>
                </c:pt>
              </c:strCache>
            </c:strRef>
          </c:cat>
          <c:val>
            <c:numRef>
              <c:f>Sheet1!$B$2:$B$11</c:f>
              <c:numCache>
                <c:formatCode>General</c:formatCode>
                <c:ptCount val="10"/>
                <c:pt idx="0">
                  <c:v>0.2964979474313886</c:v>
                </c:pt>
                <c:pt idx="1">
                  <c:v>0.0745223436670763</c:v>
                </c:pt>
                <c:pt idx="2">
                  <c:v>0.06196435871488279</c:v>
                </c:pt>
                <c:pt idx="3">
                  <c:v>0.055307436153930196</c:v>
                </c:pt>
                <c:pt idx="4">
                  <c:v>0.04722016970064733</c:v>
                </c:pt>
                <c:pt idx="5">
                  <c:v>0.045950351696979204</c:v>
                </c:pt>
                <c:pt idx="6">
                  <c:v>0.029008235479889576</c:v>
                </c:pt>
                <c:pt idx="7">
                  <c:v>0.028593240114942405</c:v>
                </c:pt>
                <c:pt idx="8">
                  <c:v>0.024753867473866275</c:v>
                </c:pt>
                <c:pt idx="9">
                  <c:v>0.0240052653249096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Château Moncontour Brut Vouvray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Prosecco Bottega 750ml (2.6%)</c:v>
                </c:pt>
                <c:pt idx="6">
                  <c:v>Mousseux Les Grumes Bulles 750ml (1.0%)</c:v>
                </c:pt>
                <c:pt idx="7">
                  <c:v>Mousseux Lyre's Classico Sans Alcool 750ml (1.0%)</c:v>
                </c:pt>
                <c:pt idx="8">
                  <c:v>Crémant d'Alsace Muré Prestige Bio 750ml (1.3%)</c:v>
                </c:pt>
                <c:pt idx="9">
                  <c:v>Clairette de Die Cuvée Dea Augusta 750ml (0.5%)</c:v>
                </c:pt>
              </c:strCache>
            </c:strRef>
          </c:cat>
          <c:val>
            <c:numRef>
              <c:f>Sheet1!$B$2:$B$11</c:f>
              <c:numCache>
                <c:formatCode>General</c:formatCode>
                <c:ptCount val="10"/>
                <c:pt idx="0">
                  <c:v>0.16874778580647515</c:v>
                </c:pt>
                <c:pt idx="1">
                  <c:v>0.09358346178036246</c:v>
                </c:pt>
                <c:pt idx="2">
                  <c:v>0.08611792321153425</c:v>
                </c:pt>
                <c:pt idx="3">
                  <c:v>0.05815284459473704</c:v>
                </c:pt>
                <c:pt idx="4">
                  <c:v>0.05621729656542395</c:v>
                </c:pt>
                <c:pt idx="5">
                  <c:v>0.04676137183086764</c:v>
                </c:pt>
                <c:pt idx="6">
                  <c:v>0.04230042412790816</c:v>
                </c:pt>
                <c:pt idx="7">
                  <c:v>0.03623687706957535</c:v>
                </c:pt>
                <c:pt idx="8">
                  <c:v>0.031198940745283187</c:v>
                </c:pt>
                <c:pt idx="9">
                  <c:v>0.029484558608035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Château Moncontour Brut Vouvray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Crémant Saumur Bouvet Cuvée Saphir Brut 750ml (1.5%)</c:v>
                </c:pt>
                <c:pt idx="5">
                  <c:v>Mousseux Lyre's Classico Sans Alcool 750ml (1.0%)</c:v>
                </c:pt>
                <c:pt idx="6">
                  <c:v>Prosecco Bottega 750ml (2.6%)</c:v>
                </c:pt>
                <c:pt idx="7">
                  <c:v>Mousseux Les Grumes Bulles 750ml (1.0%)</c:v>
                </c:pt>
                <c:pt idx="8">
                  <c:v>Clairette de Die Cuvée Dea Augusta 750ml (0.5%)</c:v>
                </c:pt>
                <c:pt idx="9">
                  <c:v>Crémant de Loire De Chanceny Brut 2015 750ml (0.7%)</c:v>
                </c:pt>
              </c:strCache>
            </c:strRef>
          </c:cat>
          <c:val>
            <c:numRef>
              <c:f>Sheet1!$B$2:$B$11</c:f>
              <c:numCache>
                <c:formatCode>General</c:formatCode>
                <c:ptCount val="10"/>
                <c:pt idx="0">
                  <c:v>0.11873989438423259</c:v>
                </c:pt>
                <c:pt idx="1">
                  <c:v>0.09808440760441241</c:v>
                </c:pt>
                <c:pt idx="2">
                  <c:v>0.07261603558500844</c:v>
                </c:pt>
                <c:pt idx="3">
                  <c:v>0.07044448336482645</c:v>
                </c:pt>
                <c:pt idx="4">
                  <c:v>0.06888025148472897</c:v>
                </c:pt>
                <c:pt idx="5">
                  <c:v>0.047548401211606875</c:v>
                </c:pt>
                <c:pt idx="6">
                  <c:v>0.04409021695471894</c:v>
                </c:pt>
                <c:pt idx="7">
                  <c:v>0.041114742059858364</c:v>
                </c:pt>
                <c:pt idx="8">
                  <c:v>0.035692378335478406</c:v>
                </c:pt>
                <c:pt idx="9">
                  <c:v>0.0335417982968354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ouvray Domaine du Petit Coteau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Mousseux Château Moncontour Brut Vouvray 750ml (1.5%)</c:v>
                </c:pt>
                <c:pt idx="3">
                  <c:v>Crémant de Bourgogne Patriarche Brut 750ml (1.8%)</c:v>
                </c:pt>
                <c:pt idx="4">
                  <c:v>Crémant Saumur Bouvet Cuvée Saphir Brut 750ml (1.5%)</c:v>
                </c:pt>
                <c:pt idx="5">
                  <c:v>Prosecco Savian Extra Dry Bio 750ml (2.1%)</c:v>
                </c:pt>
                <c:pt idx="6">
                  <c:v>Mousseux Les Grumes Bulles 750ml (1.0%)</c:v>
                </c:pt>
                <c:pt idx="7">
                  <c:v>Prosecco Bottega 750ml (2.6%)</c:v>
                </c:pt>
                <c:pt idx="8">
                  <c:v>Mousseux Lyre's Classico Sans Alcool 750ml (1.0%)</c:v>
                </c:pt>
                <c:pt idx="9">
                  <c:v>Crémant de Loire De Chanceny Brut 2015 750ml (0.7%)</c:v>
                </c:pt>
              </c:strCache>
            </c:strRef>
          </c:cat>
          <c:val>
            <c:numRef>
              <c:f>Sheet1!$B$2:$B$11</c:f>
              <c:numCache>
                <c:formatCode>General</c:formatCode>
                <c:ptCount val="10"/>
                <c:pt idx="0">
                  <c:v>0.09906252157861335</c:v>
                </c:pt>
                <c:pt idx="1">
                  <c:v>0.08424719810461175</c:v>
                </c:pt>
                <c:pt idx="2">
                  <c:v>0.07928940817871974</c:v>
                </c:pt>
                <c:pt idx="3">
                  <c:v>0.07250635960618532</c:v>
                </c:pt>
                <c:pt idx="4">
                  <c:v>0.060379132380387224</c:v>
                </c:pt>
                <c:pt idx="5">
                  <c:v>0.05275112166363447</c:v>
                </c:pt>
                <c:pt idx="6">
                  <c:v>0.04430903579378999</c:v>
                </c:pt>
                <c:pt idx="7">
                  <c:v>0.03844442011719893</c:v>
                </c:pt>
                <c:pt idx="8">
                  <c:v>0.036560372268388416</c:v>
                </c:pt>
                <c:pt idx="9">
                  <c:v>0.034877676351014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ouvray Domaine du Petit Coteau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Mousseux Château Moncontour Brut Vouvray 750ml (1.5%)</c:v>
                </c:pt>
                <c:pt idx="2">
                  <c:v>Prosecco Carlo V Cuvée Del Imperator 750ml (5.4%)</c:v>
                </c:pt>
                <c:pt idx="3">
                  <c:v>Crémant de Bourgogne Patriarche Brut 750ml (1.8%)</c:v>
                </c:pt>
                <c:pt idx="4">
                  <c:v>Crémant Saumur Bouvet Cuvée Saphir Brut 750ml (1.5%)</c:v>
                </c:pt>
                <c:pt idx="5">
                  <c:v>Prosecco Savian Extra Dry Bio 750ml (2.1%)</c:v>
                </c:pt>
                <c:pt idx="6">
                  <c:v>Mousseux Les Grumes Bulles 750ml (1.0%)</c:v>
                </c:pt>
                <c:pt idx="7">
                  <c:v>Prosecco Bottega 750ml (2.6%)</c:v>
                </c:pt>
                <c:pt idx="8">
                  <c:v>Mousseux Lyre's Classico Sans Alcool 750ml (1.0%)</c:v>
                </c:pt>
                <c:pt idx="9">
                  <c:v>Crémant de Loire De Chanceny Brut 2015 750ml (0.7%)</c:v>
                </c:pt>
              </c:strCache>
            </c:strRef>
          </c:cat>
          <c:val>
            <c:numRef>
              <c:f>Sheet1!$B$2:$B$11</c:f>
              <c:numCache>
                <c:formatCode>General</c:formatCode>
                <c:ptCount val="10"/>
                <c:pt idx="0">
                  <c:v>0.10404770833436386</c:v>
                </c:pt>
                <c:pt idx="1">
                  <c:v>0.07824546834355853</c:v>
                </c:pt>
                <c:pt idx="2">
                  <c:v>0.0737033680463797</c:v>
                </c:pt>
                <c:pt idx="3">
                  <c:v>0.07349739924508883</c:v>
                </c:pt>
                <c:pt idx="4">
                  <c:v>0.057871892567007886</c:v>
                </c:pt>
                <c:pt idx="5">
                  <c:v>0.047483218039754166</c:v>
                </c:pt>
                <c:pt idx="6">
                  <c:v>0.04013905730010982</c:v>
                </c:pt>
                <c:pt idx="7">
                  <c:v>0.03860002778058533</c:v>
                </c:pt>
                <c:pt idx="8">
                  <c:v>0.03536095833595886</c:v>
                </c:pt>
                <c:pt idx="9">
                  <c:v>0.0345964883618484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Les Grumes Bulles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Prosecco Savian Extra Dry Bio 750ml (2.1%)</c:v>
                </c:pt>
                <c:pt idx="4">
                  <c:v>Crémant de Bourgogne Patriarche Brut 750ml (1.8%)</c:v>
                </c:pt>
                <c:pt idx="5">
                  <c:v>Crémant d'Alsace Muré Prestige Bio 750ml (1.3%)</c:v>
                </c:pt>
                <c:pt idx="6">
                  <c:v>Clairette de Die Cuvée Dea Augusta 750ml (0.5%)</c:v>
                </c:pt>
                <c:pt idx="7">
                  <c:v>Mousseux Château Moncontour Brut Vouvray 750ml (1.5%)</c:v>
                </c:pt>
                <c:pt idx="8">
                  <c:v>Prosecco Bottega Rosé 750ml (1.1%)</c:v>
                </c:pt>
                <c:pt idx="9">
                  <c:v>Prosecco Bottega 750ml (2.6%)</c:v>
                </c:pt>
              </c:strCache>
            </c:strRef>
          </c:cat>
          <c:val>
            <c:numRef>
              <c:f>Sheet1!$B$2:$B$11</c:f>
              <c:numCache>
                <c:formatCode>General</c:formatCode>
                <c:ptCount val="10"/>
                <c:pt idx="0">
                  <c:v>0.1805535815739245</c:v>
                </c:pt>
                <c:pt idx="1">
                  <c:v>0.09423625773419167</c:v>
                </c:pt>
                <c:pt idx="2">
                  <c:v>0.07845639468051821</c:v>
                </c:pt>
                <c:pt idx="3">
                  <c:v>0.06899103601913317</c:v>
                </c:pt>
                <c:pt idx="4">
                  <c:v>0.050413459587203203</c:v>
                </c:pt>
                <c:pt idx="5">
                  <c:v>0.039957639030167615</c:v>
                </c:pt>
                <c:pt idx="6">
                  <c:v>0.030877416246330426</c:v>
                </c:pt>
                <c:pt idx="7">
                  <c:v>0.030010312958241584</c:v>
                </c:pt>
                <c:pt idx="8">
                  <c:v>0.02573532254444762</c:v>
                </c:pt>
                <c:pt idx="9">
                  <c:v>0.0240998144630919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Bligny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Deutz (4.8%)</c:v>
                </c:pt>
                <c:pt idx="8">
                  <c:v>Ruinart (12.8%)</c:v>
                </c:pt>
                <c:pt idx="9">
                  <c:v>Vesselle (1.0%)</c:v>
                </c:pt>
              </c:strCache>
            </c:strRef>
          </c:cat>
          <c:val>
            <c:numRef>
              <c:f>Sheet1!$B$2:$B$11</c:f>
              <c:numCache>
                <c:formatCode>General</c:formatCode>
                <c:ptCount val="10"/>
                <c:pt idx="0">
                  <c:v>0.17039358313179193</c:v>
                </c:pt>
                <c:pt idx="1">
                  <c:v>0.13449238471632297</c:v>
                </c:pt>
                <c:pt idx="2">
                  <c:v>0.08362904890956166</c:v>
                </c:pt>
                <c:pt idx="3">
                  <c:v>0.05768603707096726</c:v>
                </c:pt>
                <c:pt idx="4">
                  <c:v>0.057268932169651524</c:v>
                </c:pt>
                <c:pt idx="5">
                  <c:v>0.04744230969224282</c:v>
                </c:pt>
                <c:pt idx="6">
                  <c:v>0.0364478346715718</c:v>
                </c:pt>
                <c:pt idx="7">
                  <c:v>0.029537947909338152</c:v>
                </c:pt>
                <c:pt idx="8">
                  <c:v>0.028197689154777255</c:v>
                </c:pt>
                <c:pt idx="9">
                  <c:v>0.0263367717684379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Les Grumes Bulles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Prosecco Savian Extra Dry Bio 750ml (2.1%)</c:v>
                </c:pt>
                <c:pt idx="4">
                  <c:v>Crémant de Bourgogne Patriarche Brut 750ml (1.8%)</c:v>
                </c:pt>
                <c:pt idx="5">
                  <c:v>Crémant d'Alsace Muré Prestige Bio 750ml (1.3%)</c:v>
                </c:pt>
                <c:pt idx="6">
                  <c:v>Clairette de Die Cuvée Dea Augusta 750ml (0.5%)</c:v>
                </c:pt>
                <c:pt idx="7">
                  <c:v>Mousseux Château Moncontour Brut Vouvray 750ml (1.5%)</c:v>
                </c:pt>
                <c:pt idx="8">
                  <c:v>Prosecco Bottega Rosé 750ml (1.1%)</c:v>
                </c:pt>
                <c:pt idx="9">
                  <c:v>Prosecco Bottega 750ml (2.6%)</c:v>
                </c:pt>
              </c:strCache>
            </c:strRef>
          </c:cat>
          <c:val>
            <c:numRef>
              <c:f>Sheet1!$B$2:$B$11</c:f>
              <c:numCache>
                <c:formatCode>General</c:formatCode>
                <c:ptCount val="10"/>
                <c:pt idx="0">
                  <c:v>0.18178086759865944</c:v>
                </c:pt>
                <c:pt idx="1">
                  <c:v>0.0858748776849304</c:v>
                </c:pt>
                <c:pt idx="2">
                  <c:v>0.07948058379246503</c:v>
                </c:pt>
                <c:pt idx="3">
                  <c:v>0.07205105792473711</c:v>
                </c:pt>
                <c:pt idx="4">
                  <c:v>0.051493920786100364</c:v>
                </c:pt>
                <c:pt idx="5">
                  <c:v>0.040897152635907597</c:v>
                </c:pt>
                <c:pt idx="6">
                  <c:v>0.03378728525017718</c:v>
                </c:pt>
                <c:pt idx="7">
                  <c:v>0.03139226471552656</c:v>
                </c:pt>
                <c:pt idx="8">
                  <c:v>0.026941623429451306</c:v>
                </c:pt>
                <c:pt idx="9">
                  <c:v>0.0248334559936833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euve du Vernay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d'Alsace Muré Prestige Bio 750ml (1.3%)</c:v>
                </c:pt>
                <c:pt idx="4">
                  <c:v>Prosecco Bottega Rosé 750ml (1.1%)</c:v>
                </c:pt>
                <c:pt idx="5">
                  <c:v>Clairette de Die Cuvée Dea Augusta 750ml (0.5%)</c:v>
                </c:pt>
                <c:pt idx="6">
                  <c:v>Crémant Saumur Bouvet Cuvée Saphir Brut 750ml (1.5%)</c:v>
                </c:pt>
                <c:pt idx="7">
                  <c:v>Champagne E.Nicolas Brut 750ml (11.6%)</c:v>
                </c:pt>
                <c:pt idx="8">
                  <c:v>Crémant de Bourgogne Patriarche Brut 750ml (1.8%)</c:v>
                </c:pt>
                <c:pt idx="9">
                  <c:v>Mousseux Château Moncontour Brut Vouvray 750ml (1.5%)</c:v>
                </c:pt>
              </c:strCache>
            </c:strRef>
          </c:cat>
          <c:val>
            <c:numRef>
              <c:f>Sheet1!$B$2:$B$11</c:f>
              <c:numCache>
                <c:formatCode>General</c:formatCode>
                <c:ptCount val="10"/>
                <c:pt idx="0">
                  <c:v>0.2408403678980189</c:v>
                </c:pt>
                <c:pt idx="1">
                  <c:v>0.09515397545601849</c:v>
                </c:pt>
                <c:pt idx="2">
                  <c:v>0.06349576321634713</c:v>
                </c:pt>
                <c:pt idx="3">
                  <c:v>0.047688134094550715</c:v>
                </c:pt>
                <c:pt idx="4">
                  <c:v>0.04620944969302989</c:v>
                </c:pt>
                <c:pt idx="5">
                  <c:v>0.0415436363329508</c:v>
                </c:pt>
                <c:pt idx="6">
                  <c:v>0.0376052970191184</c:v>
                </c:pt>
                <c:pt idx="7">
                  <c:v>0.03177438970289197</c:v>
                </c:pt>
                <c:pt idx="8">
                  <c:v>0.02941821135720788</c:v>
                </c:pt>
                <c:pt idx="9">
                  <c:v>0.02779614963467029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euve du Vernay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d'Alsace Muré Prestige Bio 750ml (1.3%)</c:v>
                </c:pt>
                <c:pt idx="4">
                  <c:v>Prosecco Bottega Rosé 750ml (1.1%)</c:v>
                </c:pt>
                <c:pt idx="5">
                  <c:v>Clairette de Die Cuvée Dea Augusta 750ml (0.5%)</c:v>
                </c:pt>
                <c:pt idx="6">
                  <c:v>Champagne E.Nicolas Brut 750ml (11.6%)</c:v>
                </c:pt>
                <c:pt idx="7">
                  <c:v>Crémant Saumur Bouvet Cuvée Saphir Brut 750ml (1.5%)</c:v>
                </c:pt>
                <c:pt idx="8">
                  <c:v>Prosecco Bottega 750ml (2.6%)</c:v>
                </c:pt>
                <c:pt idx="9">
                  <c:v>Mousseux Château Moncontour Brut Vouvray 750ml (1.5%)</c:v>
                </c:pt>
              </c:strCache>
            </c:strRef>
          </c:cat>
          <c:val>
            <c:numRef>
              <c:f>Sheet1!$B$2:$B$11</c:f>
              <c:numCache>
                <c:formatCode>General</c:formatCode>
                <c:ptCount val="10"/>
                <c:pt idx="0">
                  <c:v>0.20062138295576884</c:v>
                </c:pt>
                <c:pt idx="1">
                  <c:v>0.08032796264294517</c:v>
                </c:pt>
                <c:pt idx="2">
                  <c:v>0.05368536904541826</c:v>
                </c:pt>
                <c:pt idx="3">
                  <c:v>0.05193934411358028</c:v>
                </c:pt>
                <c:pt idx="4">
                  <c:v>0.0492571649343121</c:v>
                </c:pt>
                <c:pt idx="5">
                  <c:v>0.043191154328133564</c:v>
                </c:pt>
                <c:pt idx="6">
                  <c:v>0.03772613013312414</c:v>
                </c:pt>
                <c:pt idx="7">
                  <c:v>0.035049339753820574</c:v>
                </c:pt>
                <c:pt idx="8">
                  <c:v>0.03346298758391276</c:v>
                </c:pt>
                <c:pt idx="9">
                  <c:v>0.0284199540425043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euve du Vernay Sans Alcool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Champagne E.Nicolas Brut 750ml (11.6%)</c:v>
                </c:pt>
                <c:pt idx="4">
                  <c:v>Crémant de Bourgogne Patriarche Brut 750ml (1.8%)</c:v>
                </c:pt>
                <c:pt idx="5">
                  <c:v>Crémant Saumur Bouvet Cuvée Saphir Brut 750ml (1.5%)</c:v>
                </c:pt>
                <c:pt idx="6">
                  <c:v>Crémant d'Alsace Muré Prestige Bio 750ml (1.3%)</c:v>
                </c:pt>
                <c:pt idx="7">
                  <c:v>Clairette de Die Cuvée Dea Augusta 750ml (0.5%)</c:v>
                </c:pt>
                <c:pt idx="8">
                  <c:v>Prosecco Bottega Rosé 750ml (1.1%)</c:v>
                </c:pt>
                <c:pt idx="9">
                  <c:v>Mousseux Château Moncontour Brut Vouvray 750ml (1.5%)</c:v>
                </c:pt>
              </c:strCache>
            </c:strRef>
          </c:cat>
          <c:val>
            <c:numRef>
              <c:f>Sheet1!$B$2:$B$11</c:f>
              <c:numCache>
                <c:formatCode>General</c:formatCode>
                <c:ptCount val="10"/>
                <c:pt idx="0">
                  <c:v>0.260327266662389</c:v>
                </c:pt>
                <c:pt idx="1">
                  <c:v>0.07347602489907651</c:v>
                </c:pt>
                <c:pt idx="2">
                  <c:v>0.05953055353678067</c:v>
                </c:pt>
                <c:pt idx="3">
                  <c:v>0.057697907030465595</c:v>
                </c:pt>
                <c:pt idx="4">
                  <c:v>0.042898983595696584</c:v>
                </c:pt>
                <c:pt idx="5">
                  <c:v>0.04143352153649137</c:v>
                </c:pt>
                <c:pt idx="6">
                  <c:v>0.03816760486679576</c:v>
                </c:pt>
                <c:pt idx="7">
                  <c:v>0.033050587124344624</c:v>
                </c:pt>
                <c:pt idx="8">
                  <c:v>0.029661533849907655</c:v>
                </c:pt>
                <c:pt idx="9">
                  <c:v>0.0218980336752736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euve du Vernay Sans Alcool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Mousseux Lyre's Classico Sans Alcool 750ml (1.0%)</c:v>
                </c:pt>
                <c:pt idx="5">
                  <c:v>Crémant de Bourgogne Patriarche Brut 750ml (1.8%)</c:v>
                </c:pt>
                <c:pt idx="6">
                  <c:v>Crémant Saumur Bouvet Cuvée Saphir Brut 750ml (1.5%)</c:v>
                </c:pt>
                <c:pt idx="7">
                  <c:v>Crémant d'Alsace Muré Prestige Bio 750ml (1.3%)</c:v>
                </c:pt>
                <c:pt idx="8">
                  <c:v>Prosecco Bottega Rosé 750ml (1.1%)</c:v>
                </c:pt>
                <c:pt idx="9">
                  <c:v>Clairette de Die Cuvée Dea Augusta 750ml (0.5%)</c:v>
                </c:pt>
              </c:strCache>
            </c:strRef>
          </c:cat>
          <c:val>
            <c:numRef>
              <c:f>Sheet1!$B$2:$B$11</c:f>
              <c:numCache>
                <c:formatCode>General</c:formatCode>
                <c:ptCount val="10"/>
                <c:pt idx="0">
                  <c:v>0.20370485685820794</c:v>
                </c:pt>
                <c:pt idx="1">
                  <c:v>0.06876734326799643</c:v>
                </c:pt>
                <c:pt idx="2">
                  <c:v>0.06526072934668817</c:v>
                </c:pt>
                <c:pt idx="3">
                  <c:v>0.04697314067191136</c:v>
                </c:pt>
                <c:pt idx="4">
                  <c:v>0.039255496935518275</c:v>
                </c:pt>
                <c:pt idx="5">
                  <c:v>0.03918540304344242</c:v>
                </c:pt>
                <c:pt idx="6">
                  <c:v>0.038008922411528874</c:v>
                </c:pt>
                <c:pt idx="7">
                  <c:v>0.0373370433115755</c:v>
                </c:pt>
                <c:pt idx="8">
                  <c:v>0.03068489161412007</c:v>
                </c:pt>
                <c:pt idx="9">
                  <c:v>0.030593315266178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French Bloom Blanc Bio Sans Alcool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Vranken Demoiselle Rosé Prestige 750ml (2.0%)</c:v>
                </c:pt>
                <c:pt idx="3">
                  <c:v>Champagne Ruinart Brut 750ml (7.3%)</c:v>
                </c:pt>
                <c:pt idx="4">
                  <c:v>Champagne Ruinart Blanc de Blancs 750ml (2.0%)</c:v>
                </c:pt>
                <c:pt idx="5">
                  <c:v>Crémant d'Alsace Muré Prestige Bio 750ml (1.3%)</c:v>
                </c:pt>
                <c:pt idx="6">
                  <c:v>Prosecco Bottega 750ml (2.6%)</c:v>
                </c:pt>
                <c:pt idx="7">
                  <c:v>Prosecco Bottega Rosé 750ml (1.1%)</c:v>
                </c:pt>
                <c:pt idx="8">
                  <c:v>Crémant de Bourgogne Patriarche Brut 750ml (1.8%)</c:v>
                </c:pt>
                <c:pt idx="9">
                  <c:v>Prosecco Savian Extra Dry Bio 750ml (2.1%)</c:v>
                </c:pt>
              </c:strCache>
            </c:strRef>
          </c:cat>
          <c:val>
            <c:numRef>
              <c:f>Sheet1!$B$2:$B$11</c:f>
              <c:numCache>
                <c:formatCode>General</c:formatCode>
                <c:ptCount val="10"/>
                <c:pt idx="0">
                  <c:v>0.09417900391513383</c:v>
                </c:pt>
                <c:pt idx="1">
                  <c:v>0.05022100003111471</c:v>
                </c:pt>
                <c:pt idx="2">
                  <c:v>0.04582304763133435</c:v>
                </c:pt>
                <c:pt idx="3">
                  <c:v>0.041762599539815745</c:v>
                </c:pt>
                <c:pt idx="4">
                  <c:v>0.0374175277510669</c:v>
                </c:pt>
                <c:pt idx="5">
                  <c:v>0.027376130741462924</c:v>
                </c:pt>
                <c:pt idx="6">
                  <c:v>0.027317697899198586</c:v>
                </c:pt>
                <c:pt idx="7">
                  <c:v>0.02538511072269692</c:v>
                </c:pt>
                <c:pt idx="8">
                  <c:v>0.025052055951915203</c:v>
                </c:pt>
                <c:pt idx="9">
                  <c:v>0.0236671957881916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French Bloom Blanc Bio Sans Alcool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Prosecco Carlo V Cuvée Del Imperator 750ml (5.4%)</c:v>
                </c:pt>
                <c:pt idx="3">
                  <c:v>Champagne Ruinart Brut 750ml (7.3%)</c:v>
                </c:pt>
                <c:pt idx="4">
                  <c:v>Champagne Ruinart Blanc de Blancs 750ml (2.0%)</c:v>
                </c:pt>
                <c:pt idx="5">
                  <c:v>Prosecco Bottega Rosé 750ml (1.1%)</c:v>
                </c:pt>
                <c:pt idx="6">
                  <c:v>Crémant d'Alsace Muré Prestige Bio 750ml (1.3%)</c:v>
                </c:pt>
                <c:pt idx="7">
                  <c:v>Champagne E.Nicolas Rosé 750ml (0.9%)</c:v>
                </c:pt>
                <c:pt idx="8">
                  <c:v>Champagne Malard Brut 1er Cru 750ml (4.1%)</c:v>
                </c:pt>
                <c:pt idx="9">
                  <c:v>Champagne Nicolas Blanc de Blancs 750ml (0.8%)</c:v>
                </c:pt>
              </c:strCache>
            </c:strRef>
          </c:cat>
          <c:val>
            <c:numRef>
              <c:f>Sheet1!$B$2:$B$11</c:f>
              <c:numCache>
                <c:formatCode>General</c:formatCode>
                <c:ptCount val="10"/>
                <c:pt idx="0">
                  <c:v>0.08856850580813959</c:v>
                </c:pt>
                <c:pt idx="1">
                  <c:v>0.06533821853388666</c:v>
                </c:pt>
                <c:pt idx="2">
                  <c:v>0.04275322626805621</c:v>
                </c:pt>
                <c:pt idx="3">
                  <c:v>0.036922481158805476</c:v>
                </c:pt>
                <c:pt idx="4">
                  <c:v>0.03398323584338151</c:v>
                </c:pt>
                <c:pt idx="5">
                  <c:v>0.03366548828151184</c:v>
                </c:pt>
                <c:pt idx="6">
                  <c:v>0.02767176607181552</c:v>
                </c:pt>
                <c:pt idx="7">
                  <c:v>0.027536812204247887</c:v>
                </c:pt>
                <c:pt idx="8">
                  <c:v>0.02569499967809721</c:v>
                </c:pt>
                <c:pt idx="9">
                  <c:v>0.0244771763062975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French Bloom Rosé Bio Sans Alcool 7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Prosecco Carlo V Cuvée Del Imperator 750ml (5.4%)</c:v>
                </c:pt>
                <c:pt idx="3">
                  <c:v>Prosecco Bottega Rosé 750ml (1.1%)</c:v>
                </c:pt>
                <c:pt idx="4">
                  <c:v>Champagne Malard Brut 1er Cru 750ml (4.1%)</c:v>
                </c:pt>
                <c:pt idx="5">
                  <c:v>Champagne Ruinart Brut 750ml (7.3%)</c:v>
                </c:pt>
                <c:pt idx="6">
                  <c:v>Champagne Nicolas Feuillatte Réserve Exclusive Brut 750ml (3.0%)</c:v>
                </c:pt>
                <c:pt idx="7">
                  <c:v>Mousseux French Bloom Blanc Bio Sans Alcool 750ml (0.7%)</c:v>
                </c:pt>
                <c:pt idx="8">
                  <c:v>Champagne Vranken Demoiselle Tête de Cuvée 750ml (1.4%)</c:v>
                </c:pt>
                <c:pt idx="9">
                  <c:v>Crémant d'Alsace Muré Prestige Bio 750ml (1.3%)</c:v>
                </c:pt>
              </c:strCache>
            </c:strRef>
          </c:cat>
          <c:val>
            <c:numRef>
              <c:f>Sheet1!$B$2:$B$11</c:f>
              <c:numCache>
                <c:formatCode>General</c:formatCode>
                <c:ptCount val="10"/>
                <c:pt idx="0">
                  <c:v>0.08399898805572582</c:v>
                </c:pt>
                <c:pt idx="1">
                  <c:v>0.07655963307168615</c:v>
                </c:pt>
                <c:pt idx="2">
                  <c:v>0.04514779445496035</c:v>
                </c:pt>
                <c:pt idx="3">
                  <c:v>0.04250156135292741</c:v>
                </c:pt>
                <c:pt idx="4">
                  <c:v>0.03359098709368971</c:v>
                </c:pt>
                <c:pt idx="5">
                  <c:v>0.031774749146194534</c:v>
                </c:pt>
                <c:pt idx="6">
                  <c:v>0.0301530574098884</c:v>
                </c:pt>
                <c:pt idx="7">
                  <c:v>0.029381020487323516</c:v>
                </c:pt>
                <c:pt idx="8">
                  <c:v>0.02794384877263747</c:v>
                </c:pt>
                <c:pt idx="9">
                  <c:v>0.0273162101605856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French Bloom Rosé Bio Sans Alcool 7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Vranken Demoiselle Rosé Prestige 750ml (2.0%)</c:v>
                </c:pt>
                <c:pt idx="1">
                  <c:v>Champagne E.Nicolas Brut 750ml (11.6%)</c:v>
                </c:pt>
                <c:pt idx="2">
                  <c:v>Prosecco Carlo V Cuvée Del Imperator 750ml (5.4%)</c:v>
                </c:pt>
                <c:pt idx="3">
                  <c:v>Champagne Malard Brut 1er Cru 750ml (4.1%)</c:v>
                </c:pt>
                <c:pt idx="4">
                  <c:v>Champagne Vranken Demoiselle Tête de Cuvée 750ml (1.4%)</c:v>
                </c:pt>
                <c:pt idx="5">
                  <c:v>Champagne Ruinart Brut 750ml (7.3%)</c:v>
                </c:pt>
                <c:pt idx="6">
                  <c:v>Prosecco Bottega Rosé 750ml (1.1%)</c:v>
                </c:pt>
                <c:pt idx="7">
                  <c:v>Champagne Nicolas Feuillatte Réserve Exclusive Brut 750ml (3.0%)</c:v>
                </c:pt>
                <c:pt idx="8">
                  <c:v>Champagne Heidsieck Monopole Silver Top 750ml (4.2%)</c:v>
                </c:pt>
                <c:pt idx="9">
                  <c:v>Champagne Laurent-Perrier Blanc La Cuvée 750ml (2.7%)</c:v>
                </c:pt>
              </c:strCache>
            </c:strRef>
          </c:cat>
          <c:val>
            <c:numRef>
              <c:f>Sheet1!$B$2:$B$11</c:f>
              <c:numCache>
                <c:formatCode>General</c:formatCode>
                <c:ptCount val="10"/>
                <c:pt idx="0">
                  <c:v>0.07326128492975725</c:v>
                </c:pt>
                <c:pt idx="1">
                  <c:v>0.07186832776037509</c:v>
                </c:pt>
                <c:pt idx="2">
                  <c:v>0.03554835850760708</c:v>
                </c:pt>
                <c:pt idx="3">
                  <c:v>0.034772278289205774</c:v>
                </c:pt>
                <c:pt idx="4">
                  <c:v>0.034544902398211584</c:v>
                </c:pt>
                <c:pt idx="5">
                  <c:v>0.033631178224967216</c:v>
                </c:pt>
                <c:pt idx="6">
                  <c:v>0.033354358369326334</c:v>
                </c:pt>
                <c:pt idx="7">
                  <c:v>0.032690354795824605</c:v>
                </c:pt>
                <c:pt idx="8">
                  <c:v>0.031950816498856</c:v>
                </c:pt>
                <c:pt idx="9">
                  <c:v>0.031420461737108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Lyre's Classico Sans Alcool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Château Moncontour Brut Vouvray 750ml (1.5%)</c:v>
                </c:pt>
                <c:pt idx="4">
                  <c:v>Crémant Saumur Bouvet Cuvée Saphir Brut 750ml (1.5%)</c:v>
                </c:pt>
                <c:pt idx="5">
                  <c:v>Mousseux Les Grumes Bulles 750ml (1.0%)</c:v>
                </c:pt>
                <c:pt idx="6">
                  <c:v>Mousseux Veuve du Vernay Sans Alcool 750ml (0.3%)</c:v>
                </c:pt>
                <c:pt idx="7">
                  <c:v>Crémant de Bourgogne Patriarche Brut 750ml (1.8%)</c:v>
                </c:pt>
                <c:pt idx="8">
                  <c:v>Prosecco Bottega 750ml (2.6%)</c:v>
                </c:pt>
                <c:pt idx="9">
                  <c:v>Prosecco Bottega Rosé 750ml (1.1%)</c:v>
                </c:pt>
              </c:strCache>
            </c:strRef>
          </c:cat>
          <c:val>
            <c:numRef>
              <c:f>Sheet1!$B$2:$B$11</c:f>
              <c:numCache>
                <c:formatCode>General</c:formatCode>
                <c:ptCount val="10"/>
                <c:pt idx="0">
                  <c:v>0.1699683834158967</c:v>
                </c:pt>
                <c:pt idx="1">
                  <c:v>0.08986204906951839</c:v>
                </c:pt>
                <c:pt idx="2">
                  <c:v>0.06887224098554522</c:v>
                </c:pt>
                <c:pt idx="3">
                  <c:v>0.062462197260798775</c:v>
                </c:pt>
                <c:pt idx="4">
                  <c:v>0.047374386541754</c:v>
                </c:pt>
                <c:pt idx="5">
                  <c:v>0.0466481161381897</c:v>
                </c:pt>
                <c:pt idx="6">
                  <c:v>0.04210865780728936</c:v>
                </c:pt>
                <c:pt idx="7">
                  <c:v>0.04139439213654103</c:v>
                </c:pt>
                <c:pt idx="8">
                  <c:v>0.04055063612571437</c:v>
                </c:pt>
                <c:pt idx="9">
                  <c:v>0.0349337496252510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Chancen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Bottega (3.7%)</c:v>
                </c:pt>
                <c:pt idx="4">
                  <c:v>Savian (2.1%)</c:v>
                </c:pt>
                <c:pt idx="5">
                  <c:v>Bouvet Ladubay (1.5%)</c:v>
                </c:pt>
                <c:pt idx="6">
                  <c:v>Château Moncontour  (1.5%)</c:v>
                </c:pt>
                <c:pt idx="7">
                  <c:v>Les Grumes  (1.0%)</c:v>
                </c:pt>
                <c:pt idx="8">
                  <c:v>Malard (6.0%)</c:v>
                </c:pt>
                <c:pt idx="9">
                  <c:v>Muré (1.3%)</c:v>
                </c:pt>
              </c:strCache>
            </c:strRef>
          </c:cat>
          <c:val>
            <c:numRef>
              <c:f>Sheet1!$B$2:$B$11</c:f>
              <c:numCache>
                <c:formatCode>General</c:formatCode>
                <c:ptCount val="10"/>
                <c:pt idx="0">
                  <c:v>0.13880496931862765</c:v>
                </c:pt>
                <c:pt idx="1">
                  <c:v>0.12373930920788909</c:v>
                </c:pt>
                <c:pt idx="2">
                  <c:v>0.10027336196291896</c:v>
                </c:pt>
                <c:pt idx="3">
                  <c:v>0.07627894823388692</c:v>
                </c:pt>
                <c:pt idx="4">
                  <c:v>0.07455529572196694</c:v>
                </c:pt>
                <c:pt idx="5">
                  <c:v>0.06552773664051925</c:v>
                </c:pt>
                <c:pt idx="6">
                  <c:v>0.0646767712842087</c:v>
                </c:pt>
                <c:pt idx="7">
                  <c:v>0.043727016255427666</c:v>
                </c:pt>
                <c:pt idx="8">
                  <c:v>0.04298999423144589</c:v>
                </c:pt>
                <c:pt idx="9">
                  <c:v>0.0358468384917339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Lyre's Classico Sans Alcool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Mousseux Château Moncontour Brut Vouvray 750ml (1.5%)</c:v>
                </c:pt>
                <c:pt idx="3">
                  <c:v>Prosecco Savian Extra Dry Bio 750ml (2.1%)</c:v>
                </c:pt>
                <c:pt idx="4">
                  <c:v>Crémant Saumur Bouvet Cuvée Saphir Brut 750ml (1.5%)</c:v>
                </c:pt>
                <c:pt idx="5">
                  <c:v>Mousseux Les Grumes Bulles 750ml (1.0%)</c:v>
                </c:pt>
                <c:pt idx="6">
                  <c:v>Mousseux Veuve du Vernay Sans Alcool 750ml (0.3%)</c:v>
                </c:pt>
                <c:pt idx="7">
                  <c:v>Crémant de Bourgogne Patriarche Brut 750ml (1.8%)</c:v>
                </c:pt>
                <c:pt idx="8">
                  <c:v>Clairette de Die Cuvée Dea Augusta 750ml (0.5%)</c:v>
                </c:pt>
                <c:pt idx="9">
                  <c:v>Prosecco Bottega 750ml (2.6%)</c:v>
                </c:pt>
              </c:strCache>
            </c:strRef>
          </c:cat>
          <c:val>
            <c:numRef>
              <c:f>Sheet1!$B$2:$B$11</c:f>
              <c:numCache>
                <c:formatCode>General</c:formatCode>
                <c:ptCount val="10"/>
                <c:pt idx="0">
                  <c:v>0.14712821382692262</c:v>
                </c:pt>
                <c:pt idx="1">
                  <c:v>0.087573499992873</c:v>
                </c:pt>
                <c:pt idx="2">
                  <c:v>0.08029922271906677</c:v>
                </c:pt>
                <c:pt idx="3">
                  <c:v>0.06443325639892679</c:v>
                </c:pt>
                <c:pt idx="4">
                  <c:v>0.05379138445545659</c:v>
                </c:pt>
                <c:pt idx="5">
                  <c:v>0.05005312995530315</c:v>
                </c:pt>
                <c:pt idx="6">
                  <c:v>0.04998968456186338</c:v>
                </c:pt>
                <c:pt idx="7">
                  <c:v>0.04729302102087218</c:v>
                </c:pt>
                <c:pt idx="8">
                  <c:v>0.03793970681770859</c:v>
                </c:pt>
                <c:pt idx="9">
                  <c:v>0.036825150222242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Rosé 750ml (1.1%)</c:v>
                </c:pt>
                <c:pt idx="4">
                  <c:v>Champagne Heidsieck Monopole Silver Top 750ml (4.2%)</c:v>
                </c:pt>
                <c:pt idx="5">
                  <c:v>Crémant d'Alsace Muré Prestige Bio 750ml (1.3%)</c:v>
                </c:pt>
                <c:pt idx="6">
                  <c:v>Crémant Saumur Bouvet Cuvée Saphir Brut 750ml (1.5%)</c:v>
                </c:pt>
                <c:pt idx="7">
                  <c:v>Crémant de Bourgogne Patriarche Brut 750ml (1.8%)</c:v>
                </c:pt>
                <c:pt idx="8">
                  <c:v>Champagne Ruinart Brut 750ml (7.3%)</c:v>
                </c:pt>
                <c:pt idx="9">
                  <c:v>Mousseux Les Grumes Bulles 750ml (1.0%)</c:v>
                </c:pt>
              </c:strCache>
            </c:strRef>
          </c:cat>
          <c:val>
            <c:numRef>
              <c:f>Sheet1!$B$2:$B$11</c:f>
              <c:numCache>
                <c:formatCode>General</c:formatCode>
                <c:ptCount val="10"/>
                <c:pt idx="0">
                  <c:v>0.3540453184205427</c:v>
                </c:pt>
                <c:pt idx="1">
                  <c:v>0.14604176598712507</c:v>
                </c:pt>
                <c:pt idx="2">
                  <c:v>0.07174505803902788</c:v>
                </c:pt>
                <c:pt idx="3">
                  <c:v>0.045426246675408864</c:v>
                </c:pt>
                <c:pt idx="4">
                  <c:v>0.03305652250834788</c:v>
                </c:pt>
                <c:pt idx="5">
                  <c:v>0.029245357187267063</c:v>
                </c:pt>
                <c:pt idx="6">
                  <c:v>0.022807552941244143</c:v>
                </c:pt>
                <c:pt idx="7">
                  <c:v>0.02251048115010316</c:v>
                </c:pt>
                <c:pt idx="8">
                  <c:v>0.019473830996166824</c:v>
                </c:pt>
                <c:pt idx="9">
                  <c:v>0.015944270621250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Rosé 750ml (1.1%)</c:v>
                </c:pt>
                <c:pt idx="4">
                  <c:v>Crémant de Bourgogne Patriarche Brut 750ml (1.8%)</c:v>
                </c:pt>
                <c:pt idx="5">
                  <c:v>Crémant Saumur Bouvet Cuvée Saphir Brut 750ml (1.5%)</c:v>
                </c:pt>
                <c:pt idx="6">
                  <c:v>Crémant d'Alsace Muré Prestige Bio 750ml (1.3%)</c:v>
                </c:pt>
                <c:pt idx="7">
                  <c:v>Champagne Heidsieck Monopole Silver Top 750ml (4.2%)</c:v>
                </c:pt>
                <c:pt idx="8">
                  <c:v>Mousseux Château Moncontour Brut Vouvray 750ml (1.5%)</c:v>
                </c:pt>
                <c:pt idx="9">
                  <c:v>Champagne Malard Brut 1er Cru 750ml (4.1%)</c:v>
                </c:pt>
              </c:strCache>
            </c:strRef>
          </c:cat>
          <c:val>
            <c:numRef>
              <c:f>Sheet1!$B$2:$B$11</c:f>
              <c:numCache>
                <c:formatCode>General</c:formatCode>
                <c:ptCount val="10"/>
                <c:pt idx="0">
                  <c:v>0.29019272461410633</c:v>
                </c:pt>
                <c:pt idx="1">
                  <c:v>0.14508563350708534</c:v>
                </c:pt>
                <c:pt idx="2">
                  <c:v>0.08150098778414061</c:v>
                </c:pt>
                <c:pt idx="3">
                  <c:v>0.044880417367446294</c:v>
                </c:pt>
                <c:pt idx="4">
                  <c:v>0.03199534797114213</c:v>
                </c:pt>
                <c:pt idx="5">
                  <c:v>0.031339788179340314</c:v>
                </c:pt>
                <c:pt idx="6">
                  <c:v>0.031304380408449434</c:v>
                </c:pt>
                <c:pt idx="7">
                  <c:v>0.02701281466513052</c:v>
                </c:pt>
                <c:pt idx="8">
                  <c:v>0.02042183054461012</c:v>
                </c:pt>
                <c:pt idx="9">
                  <c:v>0.0180089544681609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Rosé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Prosecco Bottega 750ml (2.6%)</c:v>
                </c:pt>
                <c:pt idx="4">
                  <c:v>Champagne E.Nicolas Brut 750ml (11.6%)</c:v>
                </c:pt>
                <c:pt idx="5">
                  <c:v>Crémant d'Alsace Muré Prestige Bio 750ml (1.3%)</c:v>
                </c:pt>
                <c:pt idx="6">
                  <c:v>Crémant de Bourgogne Patriarche Brut 750ml (1.8%)</c:v>
                </c:pt>
                <c:pt idx="7">
                  <c:v>Crémant Saumur Bouvet Cuvée Saphir Brut 750ml (1.5%)</c:v>
                </c:pt>
                <c:pt idx="8">
                  <c:v>Champagne E.Nicolas Rosé 750ml (0.9%)</c:v>
                </c:pt>
                <c:pt idx="9">
                  <c:v>Champagne Vranken Demoiselle Rosé Prestige 750ml (2.0%)</c:v>
                </c:pt>
              </c:strCache>
            </c:strRef>
          </c:cat>
          <c:val>
            <c:numRef>
              <c:f>Sheet1!$B$2:$B$11</c:f>
              <c:numCache>
                <c:formatCode>General</c:formatCode>
                <c:ptCount val="10"/>
                <c:pt idx="0">
                  <c:v>0.35852826687398753</c:v>
                </c:pt>
                <c:pt idx="1">
                  <c:v>0.15452304204563486</c:v>
                </c:pt>
                <c:pt idx="2">
                  <c:v>0.06050317291620685</c:v>
                </c:pt>
                <c:pt idx="3">
                  <c:v>0.043649620504512404</c:v>
                </c:pt>
                <c:pt idx="4">
                  <c:v>0.036331994266938845</c:v>
                </c:pt>
                <c:pt idx="5">
                  <c:v>0.033407877368251265</c:v>
                </c:pt>
                <c:pt idx="6">
                  <c:v>0.023615402725853475</c:v>
                </c:pt>
                <c:pt idx="7">
                  <c:v>0.019618863702085713</c:v>
                </c:pt>
                <c:pt idx="8">
                  <c:v>0.01820963451213065</c:v>
                </c:pt>
                <c:pt idx="9">
                  <c:v>0.017056030210177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Rosé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Prosecco Bottega 750ml (2.6%)</c:v>
                </c:pt>
                <c:pt idx="3">
                  <c:v>Champagne E.Nicolas Brut 750ml (11.6%)</c:v>
                </c:pt>
                <c:pt idx="4">
                  <c:v>Mousseux Les Grumes Bulles 750ml (1.0%)</c:v>
                </c:pt>
                <c:pt idx="5">
                  <c:v>Crémant d'Alsace Muré Prestige Bio 750ml (1.3%)</c:v>
                </c:pt>
                <c:pt idx="6">
                  <c:v>Champagne Vranken Demoiselle Rosé Prestige 750ml (2.0%)</c:v>
                </c:pt>
                <c:pt idx="7">
                  <c:v>Champagne E.Nicolas Rosé 750ml (0.9%)</c:v>
                </c:pt>
                <c:pt idx="8">
                  <c:v>Crémant de Bourgogne Patriarche Brut 750ml (1.8%)</c:v>
                </c:pt>
                <c:pt idx="9">
                  <c:v>Crémant Saumur Bouvet Cuvée Saphir Brut 750ml (1.5%)</c:v>
                </c:pt>
              </c:strCache>
            </c:strRef>
          </c:cat>
          <c:val>
            <c:numRef>
              <c:f>Sheet1!$B$2:$B$11</c:f>
              <c:numCache>
                <c:formatCode>General</c:formatCode>
                <c:ptCount val="10"/>
                <c:pt idx="0">
                  <c:v>0.31441258334284655</c:v>
                </c:pt>
                <c:pt idx="1">
                  <c:v>0.1512780475705647</c:v>
                </c:pt>
                <c:pt idx="2">
                  <c:v>0.07278514821365059</c:v>
                </c:pt>
                <c:pt idx="3">
                  <c:v>0.045163603078409664</c:v>
                </c:pt>
                <c:pt idx="4">
                  <c:v>0.04461934836468007</c:v>
                </c:pt>
                <c:pt idx="5">
                  <c:v>0.0389274366410296</c:v>
                </c:pt>
                <c:pt idx="6">
                  <c:v>0.021300508762446678</c:v>
                </c:pt>
                <c:pt idx="7">
                  <c:v>0.021060392973169282</c:v>
                </c:pt>
                <c:pt idx="8">
                  <c:v>0.01963855139473498</c:v>
                </c:pt>
                <c:pt idx="9">
                  <c:v>0.0160077074088723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Carlo V Cuvée Del Imperator 750ml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Savian Extra Dry Bio 750ml (2.1%)</c:v>
                </c:pt>
                <c:pt idx="2">
                  <c:v>Prosecco Bottega 750ml (2.6%)</c:v>
                </c:pt>
                <c:pt idx="3">
                  <c:v>Crémant Saumur Bouvet Cuvée Saphir Brut 750ml (1.5%)</c:v>
                </c:pt>
                <c:pt idx="4">
                  <c:v>Crémant d'Alsace Muré Prestige Bio 750ml (1.3%)</c:v>
                </c:pt>
                <c:pt idx="5">
                  <c:v>Mousseux Les Grumes Bulles 750ml (1.0%)</c:v>
                </c:pt>
                <c:pt idx="6">
                  <c:v>Crémant de Bourgogne Patriarche Brut 750ml (1.8%)</c:v>
                </c:pt>
                <c:pt idx="7">
                  <c:v>Prosecco Bottega Rosé 750ml (1.1%)</c:v>
                </c:pt>
                <c:pt idx="8">
                  <c:v>Champagne Heidsieck Monopole Silver Top 750ml (4.2%)</c:v>
                </c:pt>
                <c:pt idx="9">
                  <c:v>Champagne Malard Brut 1er Cru 750ml (4.1%)</c:v>
                </c:pt>
              </c:strCache>
            </c:strRef>
          </c:cat>
          <c:val>
            <c:numRef>
              <c:f>Sheet1!$B$2:$B$11</c:f>
              <c:numCache>
                <c:formatCode>General</c:formatCode>
                <c:ptCount val="10"/>
                <c:pt idx="0">
                  <c:v>0.13915953744239468</c:v>
                </c:pt>
                <c:pt idx="1">
                  <c:v>0.13009483015341286</c:v>
                </c:pt>
                <c:pt idx="2">
                  <c:v>0.07117172201594985</c:v>
                </c:pt>
                <c:pt idx="3">
                  <c:v>0.04603626773119459</c:v>
                </c:pt>
                <c:pt idx="4">
                  <c:v>0.044979604844290005</c:v>
                </c:pt>
                <c:pt idx="5">
                  <c:v>0.04008550917812808</c:v>
                </c:pt>
                <c:pt idx="6">
                  <c:v>0.03735619346208494</c:v>
                </c:pt>
                <c:pt idx="7">
                  <c:v>0.03665760854682952</c:v>
                </c:pt>
                <c:pt idx="8">
                  <c:v>0.03619170755575186</c:v>
                </c:pt>
                <c:pt idx="9">
                  <c:v>0.0316160673121069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Carlo V Cuvée Del Imperator 750ml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Savian Extra Dry Bio 750ml (2.1%)</c:v>
                </c:pt>
                <c:pt idx="1">
                  <c:v>Prosecco Bottega 750ml (2.6%)</c:v>
                </c:pt>
                <c:pt idx="2">
                  <c:v>Mousseux Les Grumes Bulles 750ml (1.0%)</c:v>
                </c:pt>
                <c:pt idx="3">
                  <c:v>Prosecco Bottega Rosé 750ml (1.1%)</c:v>
                </c:pt>
                <c:pt idx="4">
                  <c:v>Champagne E.Nicolas Brut 750ml (11.6%)</c:v>
                </c:pt>
                <c:pt idx="5">
                  <c:v>Crémant Saumur Bouvet Cuvée Saphir Brut 750ml (1.5%)</c:v>
                </c:pt>
                <c:pt idx="6">
                  <c:v>Crémant de Bourgogne Patriarche Brut 750ml (1.8%)</c:v>
                </c:pt>
                <c:pt idx="7">
                  <c:v>Crémant d'Alsace Muré Prestige Bio 750ml (1.3%)</c:v>
                </c:pt>
                <c:pt idx="8">
                  <c:v>Champagne Heidsieck Monopole Silver Top 750ml (4.2%)</c:v>
                </c:pt>
                <c:pt idx="9">
                  <c:v>Clairette de Die Cuvée Dea Augusta 750ml (0.5%)</c:v>
                </c:pt>
              </c:strCache>
            </c:strRef>
          </c:cat>
          <c:val>
            <c:numRef>
              <c:f>Sheet1!$B$2:$B$11</c:f>
              <c:numCache>
                <c:formatCode>General</c:formatCode>
                <c:ptCount val="10"/>
                <c:pt idx="0">
                  <c:v>0.2802691343644723</c:v>
                </c:pt>
                <c:pt idx="1">
                  <c:v>0.07719491902044955</c:v>
                </c:pt>
                <c:pt idx="2">
                  <c:v>0.07308837868800262</c:v>
                </c:pt>
                <c:pt idx="3">
                  <c:v>0.06143592522093945</c:v>
                </c:pt>
                <c:pt idx="4">
                  <c:v>0.061111351090061765</c:v>
                </c:pt>
                <c:pt idx="5">
                  <c:v>0.04511342843615549</c:v>
                </c:pt>
                <c:pt idx="6">
                  <c:v>0.04223644605066137</c:v>
                </c:pt>
                <c:pt idx="7">
                  <c:v>0.04105445977054148</c:v>
                </c:pt>
                <c:pt idx="8">
                  <c:v>0.029551727246056977</c:v>
                </c:pt>
                <c:pt idx="9">
                  <c:v>0.0258028871878035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Savian Extra Dry Bio 750ml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Bottega 750ml (2.6%)</c:v>
                </c:pt>
                <c:pt idx="3">
                  <c:v>Champagne E.Nicolas Brut 750ml (11.6%)</c:v>
                </c:pt>
                <c:pt idx="4">
                  <c:v>Prosecco Bottega Rosé 750ml (1.1%)</c:v>
                </c:pt>
                <c:pt idx="5">
                  <c:v>Crémant de Bourgogne Patriarche Brut 750ml (1.8%)</c:v>
                </c:pt>
                <c:pt idx="6">
                  <c:v>Crémant Saumur Bouvet Cuvée Saphir Brut 750ml (1.5%)</c:v>
                </c:pt>
                <c:pt idx="7">
                  <c:v>Crémant d'Alsace Muré Prestige Bio 750ml (1.3%)</c:v>
                </c:pt>
                <c:pt idx="8">
                  <c:v>Mousseux Château Moncontour Brut Vouvray 750ml (1.5%)</c:v>
                </c:pt>
                <c:pt idx="9">
                  <c:v>Champagne Malard Brut 1er Cru 750ml (4.1%)</c:v>
                </c:pt>
              </c:strCache>
            </c:strRef>
          </c:cat>
          <c:val>
            <c:numRef>
              <c:f>Sheet1!$B$2:$B$11</c:f>
              <c:numCache>
                <c:formatCode>General</c:formatCode>
                <c:ptCount val="10"/>
                <c:pt idx="0">
                  <c:v>0.4869215523866475</c:v>
                </c:pt>
                <c:pt idx="1">
                  <c:v>0.057297833200758416</c:v>
                </c:pt>
                <c:pt idx="2">
                  <c:v>0.05300715118841435</c:v>
                </c:pt>
                <c:pt idx="3">
                  <c:v>0.04539854939378681</c:v>
                </c:pt>
                <c:pt idx="4">
                  <c:v>0.04401086084969003</c:v>
                </c:pt>
                <c:pt idx="5">
                  <c:v>0.03698364673844442</c:v>
                </c:pt>
                <c:pt idx="6">
                  <c:v>0.03368123615063517</c:v>
                </c:pt>
                <c:pt idx="7">
                  <c:v>0.025236905432727257</c:v>
                </c:pt>
                <c:pt idx="8">
                  <c:v>0.020270157657120945</c:v>
                </c:pt>
                <c:pt idx="9">
                  <c:v>0.0161789461722075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Savian Extra Dry Bio 750ml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Bottega 750ml (2.6%)</c:v>
                </c:pt>
                <c:pt idx="2">
                  <c:v>Prosecco Bottega Rosé 750ml (1.1%)</c:v>
                </c:pt>
                <c:pt idx="3">
                  <c:v>Champagne E.Nicolas Brut 750ml (11.6%)</c:v>
                </c:pt>
                <c:pt idx="4">
                  <c:v>Mousseux Les Grumes Bulles 750ml (1.0%)</c:v>
                </c:pt>
                <c:pt idx="5">
                  <c:v>Crémant de Bourgogne Patriarche Brut 750ml (1.8%)</c:v>
                </c:pt>
                <c:pt idx="6">
                  <c:v>Crémant Saumur Bouvet Cuvée Saphir Brut 750ml (1.5%)</c:v>
                </c:pt>
                <c:pt idx="7">
                  <c:v>Crémant d'Alsace Muré Prestige Bio 750ml (1.3%)</c:v>
                </c:pt>
                <c:pt idx="8">
                  <c:v>Mousseux Château Moncontour Brut Vouvray 750ml (1.5%)</c:v>
                </c:pt>
                <c:pt idx="9">
                  <c:v>Champagne Malard Brut 1er Cru 750ml (4.1%)</c:v>
                </c:pt>
              </c:strCache>
            </c:strRef>
          </c:cat>
          <c:val>
            <c:numRef>
              <c:f>Sheet1!$B$2:$B$11</c:f>
              <c:numCache>
                <c:formatCode>General</c:formatCode>
                <c:ptCount val="10"/>
                <c:pt idx="0">
                  <c:v>0.4267690555898995</c:v>
                </c:pt>
                <c:pt idx="1">
                  <c:v>0.08368446274966194</c:v>
                </c:pt>
                <c:pt idx="2">
                  <c:v>0.057293240736174325</c:v>
                </c:pt>
                <c:pt idx="3">
                  <c:v>0.05422929947468322</c:v>
                </c:pt>
                <c:pt idx="4">
                  <c:v>0.0507323621265388</c:v>
                </c:pt>
                <c:pt idx="5">
                  <c:v>0.036688637150088424</c:v>
                </c:pt>
                <c:pt idx="6">
                  <c:v>0.03158471284138918</c:v>
                </c:pt>
                <c:pt idx="7">
                  <c:v>0.028424660333952984</c:v>
                </c:pt>
                <c:pt idx="8">
                  <c:v>0.02169565144877431</c:v>
                </c:pt>
                <c:pt idx="9">
                  <c:v>0.016134894709869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Contarini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Bottega 750ml (2.6%)</c:v>
                </c:pt>
                <c:pt idx="2">
                  <c:v>Champagne E.Nicolas Brut 750ml (11.6%)</c:v>
                </c:pt>
                <c:pt idx="3">
                  <c:v>Prosecco Savian Extra Dry Bio 750ml (2.1%)</c:v>
                </c:pt>
                <c:pt idx="4">
                  <c:v>Crémant d'Alsace Muré Prestige Bio 750ml (1.3%)</c:v>
                </c:pt>
                <c:pt idx="5">
                  <c:v>Champagne Heidsieck Monopole Silver Top 750ml (4.2%)</c:v>
                </c:pt>
                <c:pt idx="6">
                  <c:v>Crémant de Bourgogne Patriarche Brut 750ml (1.8%)</c:v>
                </c:pt>
                <c:pt idx="7">
                  <c:v>Champagne Malard Brut 1er Cru 750ml (4.1%)</c:v>
                </c:pt>
                <c:pt idx="8">
                  <c:v>Champagne Nicolas Feuillatte Réserve Exclusive Brut 750ml (3.0%)</c:v>
                </c:pt>
                <c:pt idx="9">
                  <c:v>Crémant Saumur Bouvet Cuvée Saphir Brut 750ml (1.5%)</c:v>
                </c:pt>
              </c:strCache>
            </c:strRef>
          </c:cat>
          <c:val>
            <c:numRef>
              <c:f>Sheet1!$B$2:$B$11</c:f>
              <c:numCache>
                <c:formatCode>General</c:formatCode>
                <c:ptCount val="10"/>
                <c:pt idx="0">
                  <c:v>0.183228968982733</c:v>
                </c:pt>
                <c:pt idx="1">
                  <c:v>0.14648164000519717</c:v>
                </c:pt>
                <c:pt idx="2">
                  <c:v>0.07229451754052642</c:v>
                </c:pt>
                <c:pt idx="3">
                  <c:v>0.052173648056400394</c:v>
                </c:pt>
                <c:pt idx="4">
                  <c:v>0.03994106661371526</c:v>
                </c:pt>
                <c:pt idx="5">
                  <c:v>0.039934081576037915</c:v>
                </c:pt>
                <c:pt idx="6">
                  <c:v>0.034946152391379375</c:v>
                </c:pt>
                <c:pt idx="7">
                  <c:v>0.02718348476095856</c:v>
                </c:pt>
                <c:pt idx="8">
                  <c:v>0.02345688754142352</c:v>
                </c:pt>
                <c:pt idx="9">
                  <c:v>0.022301813899673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Dea August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De Chance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ouvet Ladub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ru La Maqu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Patriarch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Muré</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Château Moncontour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Petit Coteau</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es Grumes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Veuve du Vern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Botteg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Carlo V</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Savia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Contarini</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5</c:f>
              <c:numCache>
                <c:formatCode>General</c:formatCode>
                <c:ptCount val="14"/>
                <c:pt idx="0">
                  <c:v>-3.0464350819460897</c:v>
                </c:pt>
                <c:pt idx="1">
                  <c:v>-1.7517004706972361</c:v>
                </c:pt>
                <c:pt idx="2">
                  <c:v>-1.922746158879736</c:v>
                </c:pt>
                <c:pt idx="3">
                  <c:v>-2.6451612233112463</c:v>
                </c:pt>
                <c:pt idx="4">
                  <c:v>-1.3988214624514914</c:v>
                </c:pt>
                <c:pt idx="5">
                  <c:v>-2.3344791848628947</c:v>
                </c:pt>
                <c:pt idx="6">
                  <c:v>-1.093974035596232</c:v>
                </c:pt>
                <c:pt idx="7">
                  <c:v>-1.2464321017946798</c:v>
                </c:pt>
                <c:pt idx="8">
                  <c:v>-0.6663463804190853</c:v>
                </c:pt>
                <c:pt idx="9">
                  <c:v>-1.5366588852993588</c:v>
                </c:pt>
                <c:pt idx="10">
                  <c:v>-2.2443894501346744</c:v>
                </c:pt>
                <c:pt idx="11">
                  <c:v>-0.7516861368682781</c:v>
                </c:pt>
                <c:pt idx="12">
                  <c:v>-3.3429564785406742</c:v>
                </c:pt>
                <c:pt idx="13">
                  <c:v>-2.117499888201595</c:v>
                </c:pt>
              </c:numCache>
            </c:numRef>
          </c:xVal>
          <c:yVal>
            <c:numRef>
              <c:f>Sheet1!$B$2:$B$15</c:f>
              <c:numCache>
                <c:formatCode>General</c:formatCode>
                <c:ptCount val="14"/>
                <c:pt idx="0">
                  <c:v>-1.6555260614709277</c:v>
                </c:pt>
                <c:pt idx="1">
                  <c:v>-1.3584283979476903</c:v>
                </c:pt>
                <c:pt idx="2">
                  <c:v>-1.2189711815930024</c:v>
                </c:pt>
                <c:pt idx="3">
                  <c:v>-1.493480822245214</c:v>
                </c:pt>
                <c:pt idx="4">
                  <c:v>-1.1035827154567517</c:v>
                </c:pt>
                <c:pt idx="5">
                  <c:v>-1.6346050407491504</c:v>
                </c:pt>
                <c:pt idx="6">
                  <c:v>-0.9164320225004672</c:v>
                </c:pt>
                <c:pt idx="7">
                  <c:v>-0.9847896868492356</c:v>
                </c:pt>
                <c:pt idx="8">
                  <c:v>-0.5800895045529948</c:v>
                </c:pt>
                <c:pt idx="9">
                  <c:v>-1.0847784643117298</c:v>
                </c:pt>
                <c:pt idx="10">
                  <c:v>-1.277441875594672</c:v>
                </c:pt>
                <c:pt idx="11">
                  <c:v>-1.6916224606601524</c:v>
                </c:pt>
                <c:pt idx="12">
                  <c:v>-2.1417855102743975</c:v>
                </c:pt>
                <c:pt idx="13">
                  <c:v>-1.378657935392466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4.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3.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Chancen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Carlo V (5.4%)</c:v>
                </c:pt>
                <c:pt idx="2">
                  <c:v>Patriarche (2.6%)</c:v>
                </c:pt>
                <c:pt idx="3">
                  <c:v>Bottega (3.7%)</c:v>
                </c:pt>
                <c:pt idx="4">
                  <c:v>Savian (2.1%)</c:v>
                </c:pt>
                <c:pt idx="5">
                  <c:v>Bouvet Ladubay (1.5%)</c:v>
                </c:pt>
                <c:pt idx="6">
                  <c:v>Château Moncontour  (1.5%)</c:v>
                </c:pt>
                <c:pt idx="7">
                  <c:v>Malard (6.0%)</c:v>
                </c:pt>
                <c:pt idx="8">
                  <c:v>Les Grumes  (1.0%)</c:v>
                </c:pt>
                <c:pt idx="9">
                  <c:v>Muré (1.3%)</c:v>
                </c:pt>
              </c:strCache>
            </c:strRef>
          </c:cat>
          <c:val>
            <c:numRef>
              <c:f>Sheet1!$B$2:$B$11</c:f>
              <c:numCache>
                <c:formatCode>General</c:formatCode>
                <c:ptCount val="10"/>
                <c:pt idx="0">
                  <c:v>0.1286767959710418</c:v>
                </c:pt>
                <c:pt idx="1">
                  <c:v>0.1195862574356487</c:v>
                </c:pt>
                <c:pt idx="2">
                  <c:v>0.10742558428217436</c:v>
                </c:pt>
                <c:pt idx="3">
                  <c:v>0.08088176463892191</c:v>
                </c:pt>
                <c:pt idx="4">
                  <c:v>0.06618660875890735</c:v>
                </c:pt>
                <c:pt idx="5">
                  <c:v>0.06348313869737283</c:v>
                </c:pt>
                <c:pt idx="6">
                  <c:v>0.06079084349678992</c:v>
                </c:pt>
                <c:pt idx="7">
                  <c:v>0.04670177478072325</c:v>
                </c:pt>
                <c:pt idx="8">
                  <c:v>0.038406885045391095</c:v>
                </c:pt>
                <c:pt idx="9">
                  <c:v>0.037286765083003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Contarini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Bottega 750ml (2.6%)</c:v>
                </c:pt>
                <c:pt idx="1">
                  <c:v>Prosecco Carlo V Cuvée Del Imperator 750ml (5.4%)</c:v>
                </c:pt>
                <c:pt idx="2">
                  <c:v>Champagne E.Nicolas Brut 750ml (11.6%)</c:v>
                </c:pt>
                <c:pt idx="3">
                  <c:v>Prosecco Savian Extra Dry Bio 750ml (2.1%)</c:v>
                </c:pt>
                <c:pt idx="4">
                  <c:v>Crémant d'Alsace Muré Prestige Bio 750ml (1.3%)</c:v>
                </c:pt>
                <c:pt idx="5">
                  <c:v>Crémant de Bourgogne Patriarche Brut 750ml (1.8%)</c:v>
                </c:pt>
                <c:pt idx="6">
                  <c:v>Champagne Heidsieck Monopole Silver Top 750ml (4.2%)</c:v>
                </c:pt>
                <c:pt idx="7">
                  <c:v>Champagne Malard Brut 1er Cru 750ml (4.1%)</c:v>
                </c:pt>
                <c:pt idx="8">
                  <c:v>Crémant Saumur Bouvet Cuvée Saphir Brut 750ml (1.5%)</c:v>
                </c:pt>
                <c:pt idx="9">
                  <c:v>Champagne Nicolas Feuillatte Réserve Exclusive Brut 750ml (3.0%)</c:v>
                </c:pt>
              </c:strCache>
            </c:strRef>
          </c:cat>
          <c:val>
            <c:numRef>
              <c:f>Sheet1!$B$2:$B$11</c:f>
              <c:numCache>
                <c:formatCode>General</c:formatCode>
                <c:ptCount val="10"/>
                <c:pt idx="0">
                  <c:v>0.1524476885748506</c:v>
                </c:pt>
                <c:pt idx="1">
                  <c:v>0.1490758342582335</c:v>
                </c:pt>
                <c:pt idx="2">
                  <c:v>0.08463845703598327</c:v>
                </c:pt>
                <c:pt idx="3">
                  <c:v>0.04572987966409676</c:v>
                </c:pt>
                <c:pt idx="4">
                  <c:v>0.04217735880310478</c:v>
                </c:pt>
                <c:pt idx="5">
                  <c:v>0.03865546080423411</c:v>
                </c:pt>
                <c:pt idx="6">
                  <c:v>0.029169254185667782</c:v>
                </c:pt>
                <c:pt idx="7">
                  <c:v>0.025076786037941414</c:v>
                </c:pt>
                <c:pt idx="8">
                  <c:v>0.024409917817970833</c:v>
                </c:pt>
                <c:pt idx="9">
                  <c:v>0.02306178689605918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Riccadonna Extra Dry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Les Grumes Bulles 750ml (1.0%)</c:v>
                </c:pt>
                <c:pt idx="5">
                  <c:v>Prosecco Bottega 750ml (2.6%)</c:v>
                </c:pt>
                <c:pt idx="6">
                  <c:v>Crémant de Bourgogne Patriarche Brut 750ml (1.8%)</c:v>
                </c:pt>
                <c:pt idx="7">
                  <c:v>Crémant d'Alsace Muré Prestige Bio 750ml (1.3%)</c:v>
                </c:pt>
                <c:pt idx="8">
                  <c:v>Champagne Malard Brut 1er Cru 750ml (4.1%)</c:v>
                </c:pt>
                <c:pt idx="9">
                  <c:v>Prosecco Bottega Rosé 750ml (1.1%)</c:v>
                </c:pt>
              </c:strCache>
            </c:strRef>
          </c:cat>
          <c:val>
            <c:numRef>
              <c:f>Sheet1!$B$2:$B$11</c:f>
              <c:numCache>
                <c:formatCode>General</c:formatCode>
                <c:ptCount val="10"/>
                <c:pt idx="0">
                  <c:v>0.2759446793083236</c:v>
                </c:pt>
                <c:pt idx="1">
                  <c:v>0.10182039619722377</c:v>
                </c:pt>
                <c:pt idx="2">
                  <c:v>0.0674265216545492</c:v>
                </c:pt>
                <c:pt idx="3">
                  <c:v>0.041018275196427104</c:v>
                </c:pt>
                <c:pt idx="4">
                  <c:v>0.03948625396034108</c:v>
                </c:pt>
                <c:pt idx="5">
                  <c:v>0.03653808433624677</c:v>
                </c:pt>
                <c:pt idx="6">
                  <c:v>0.03341973394813425</c:v>
                </c:pt>
                <c:pt idx="7">
                  <c:v>0.027707313556210988</c:v>
                </c:pt>
                <c:pt idx="8">
                  <c:v>0.02692611957020208</c:v>
                </c:pt>
                <c:pt idx="9">
                  <c:v>0.0244968261271771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Riccadonna Extra Dry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Crémant Saumur Bouvet Cuvée Saphir Brut 750ml (1.5%)</c:v>
                </c:pt>
                <c:pt idx="5">
                  <c:v>Prosecco Bottega 750ml (2.6%)</c:v>
                </c:pt>
                <c:pt idx="6">
                  <c:v>Crémant de Bourgogne Patriarche Brut 750ml (1.8%)</c:v>
                </c:pt>
                <c:pt idx="7">
                  <c:v>Crémant d'Alsace Muré Prestige Bio 750ml (1.3%)</c:v>
                </c:pt>
                <c:pt idx="8">
                  <c:v>Prosecco Bottega Rosé 750ml (1.1%)</c:v>
                </c:pt>
                <c:pt idx="9">
                  <c:v>Champagne Malard Brut 1er Cru 750ml (4.1%)</c:v>
                </c:pt>
              </c:strCache>
            </c:strRef>
          </c:cat>
          <c:val>
            <c:numRef>
              <c:f>Sheet1!$B$2:$B$11</c:f>
              <c:numCache>
                <c:formatCode>General</c:formatCode>
                <c:ptCount val="10"/>
                <c:pt idx="0">
                  <c:v>0.3042145154057189</c:v>
                </c:pt>
                <c:pt idx="1">
                  <c:v>0.09033049032739082</c:v>
                </c:pt>
                <c:pt idx="2">
                  <c:v>0.07329985411816063</c:v>
                </c:pt>
                <c:pt idx="3">
                  <c:v>0.03949413699827937</c:v>
                </c:pt>
                <c:pt idx="4">
                  <c:v>0.039253656529491705</c:v>
                </c:pt>
                <c:pt idx="5">
                  <c:v>0.037022683504318414</c:v>
                </c:pt>
                <c:pt idx="6">
                  <c:v>0.032632985266417794</c:v>
                </c:pt>
                <c:pt idx="7">
                  <c:v>0.02692021549380055</c:v>
                </c:pt>
                <c:pt idx="8">
                  <c:v>0.025698905018743497</c:v>
                </c:pt>
                <c:pt idx="9">
                  <c:v>0.024508866563798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Mionetto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Heidsieck Monopole Silver Top 750ml (4.2%)</c:v>
                </c:pt>
                <c:pt idx="5">
                  <c:v>Crémant d'Alsace Muré Prestige Bio 750ml (1.3%)</c:v>
                </c:pt>
                <c:pt idx="6">
                  <c:v>Champagne Malard Brut 1er Cru 750ml (4.1%)</c:v>
                </c:pt>
                <c:pt idx="7">
                  <c:v>Crémant Saumur Bouvet Cuvée Saphir Brut 750ml (1.5%)</c:v>
                </c:pt>
                <c:pt idx="8">
                  <c:v>Crémant de Bourgogne Patriarche Brut 750ml (1.8%)</c:v>
                </c:pt>
                <c:pt idx="9">
                  <c:v>Mousseux Les Grumes Bulles 750ml (1.0%)</c:v>
                </c:pt>
              </c:strCache>
            </c:strRef>
          </c:cat>
          <c:val>
            <c:numRef>
              <c:f>Sheet1!$B$2:$B$11</c:f>
              <c:numCache>
                <c:formatCode>General</c:formatCode>
                <c:ptCount val="10"/>
                <c:pt idx="0">
                  <c:v>0.17914453726496093</c:v>
                </c:pt>
                <c:pt idx="1">
                  <c:v>0.12735794882465376</c:v>
                </c:pt>
                <c:pt idx="2">
                  <c:v>0.04864083429944952</c:v>
                </c:pt>
                <c:pt idx="3">
                  <c:v>0.03625683309630621</c:v>
                </c:pt>
                <c:pt idx="4">
                  <c:v>0.033198670002908715</c:v>
                </c:pt>
                <c:pt idx="5">
                  <c:v>0.032578778766167674</c:v>
                </c:pt>
                <c:pt idx="6">
                  <c:v>0.029917073378319458</c:v>
                </c:pt>
                <c:pt idx="7">
                  <c:v>0.029210409847253996</c:v>
                </c:pt>
                <c:pt idx="8">
                  <c:v>0.027521738508635867</c:v>
                </c:pt>
                <c:pt idx="9">
                  <c:v>0.0253608939868028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Mionetto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Prosecco Bottega 750ml (2.6%)</c:v>
                </c:pt>
                <c:pt idx="5">
                  <c:v>Crémant d'Alsace Muré Prestige Bio 750ml (1.3%)</c:v>
                </c:pt>
                <c:pt idx="6">
                  <c:v>Crémant de Bourgogne Patriarche Brut 750ml (1.8%)</c:v>
                </c:pt>
                <c:pt idx="7">
                  <c:v>Champagne Heidsieck Monopole Silver Top 750ml (4.2%)</c:v>
                </c:pt>
                <c:pt idx="8">
                  <c:v>Crémant Saumur Bouvet Cuvée Saphir Brut 750ml (1.5%)</c:v>
                </c:pt>
                <c:pt idx="9">
                  <c:v>Champagne Malard Brut 1er Cru 750ml (4.1%)</c:v>
                </c:pt>
              </c:strCache>
            </c:strRef>
          </c:cat>
          <c:val>
            <c:numRef>
              <c:f>Sheet1!$B$2:$B$11</c:f>
              <c:numCache>
                <c:formatCode>General</c:formatCode>
                <c:ptCount val="10"/>
                <c:pt idx="0">
                  <c:v>0.2996878228562946</c:v>
                </c:pt>
                <c:pt idx="1">
                  <c:v>0.08354587571273928</c:v>
                </c:pt>
                <c:pt idx="2">
                  <c:v>0.07896549629461679</c:v>
                </c:pt>
                <c:pt idx="3">
                  <c:v>0.03882690256266379</c:v>
                </c:pt>
                <c:pt idx="4">
                  <c:v>0.03500853386524292</c:v>
                </c:pt>
                <c:pt idx="5">
                  <c:v>0.028791777197340856</c:v>
                </c:pt>
                <c:pt idx="6">
                  <c:v>0.028555944316294362</c:v>
                </c:pt>
                <c:pt idx="7">
                  <c:v>0.028330720173777704</c:v>
                </c:pt>
                <c:pt idx="8">
                  <c:v>0.027829418663234722</c:v>
                </c:pt>
                <c:pt idx="9">
                  <c:v>0.02292913869813005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Gold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Bottega 750ml (2.6%)</c:v>
                </c:pt>
                <c:pt idx="3">
                  <c:v>Prosecco Savian Extra Dry Bio 750ml (2.1%)</c:v>
                </c:pt>
                <c:pt idx="4">
                  <c:v>Champagne Vranken Demoiselle Rosé Prestige 750ml (2.0%)</c:v>
                </c:pt>
                <c:pt idx="5">
                  <c:v>Crémant d'Alsace Muré Prestige Bio 750ml (1.3%)</c:v>
                </c:pt>
                <c:pt idx="6">
                  <c:v>Crémant de Bourgogne Patriarche Brut 750ml (1.8%)</c:v>
                </c:pt>
                <c:pt idx="7">
                  <c:v>Champagne Heidsieck Monopole Silver Top 750ml (4.2%)</c:v>
                </c:pt>
                <c:pt idx="8">
                  <c:v>Champagne Malard Brut 1er Cru 750ml (4.1%)</c:v>
                </c:pt>
                <c:pt idx="9">
                  <c:v>Champagne Ruinart Brut 750ml (7.3%)</c:v>
                </c:pt>
              </c:strCache>
            </c:strRef>
          </c:cat>
          <c:val>
            <c:numRef>
              <c:f>Sheet1!$B$2:$B$11</c:f>
              <c:numCache>
                <c:formatCode>General</c:formatCode>
                <c:ptCount val="10"/>
                <c:pt idx="0">
                  <c:v>0.11682009228075124</c:v>
                </c:pt>
                <c:pt idx="1">
                  <c:v>0.10320362744760052</c:v>
                </c:pt>
                <c:pt idx="2">
                  <c:v>0.048081839037502655</c:v>
                </c:pt>
                <c:pt idx="3">
                  <c:v>0.046097213786397494</c:v>
                </c:pt>
                <c:pt idx="4">
                  <c:v>0.035253854378315984</c:v>
                </c:pt>
                <c:pt idx="5">
                  <c:v>0.03462426384120377</c:v>
                </c:pt>
                <c:pt idx="6">
                  <c:v>0.030378077674819672</c:v>
                </c:pt>
                <c:pt idx="7">
                  <c:v>0.029894200909491048</c:v>
                </c:pt>
                <c:pt idx="8">
                  <c:v>0.02520151968427285</c:v>
                </c:pt>
                <c:pt idx="9">
                  <c:v>0.0246356370840373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Gold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Bottega 750ml (2.6%)</c:v>
                </c:pt>
                <c:pt idx="3">
                  <c:v>Prosecco Savian Extra Dry Bio 750ml (2.1%)</c:v>
                </c:pt>
                <c:pt idx="4">
                  <c:v>Crémant d'Alsace Muré Prestige Bio 750ml (1.3%)</c:v>
                </c:pt>
                <c:pt idx="5">
                  <c:v>Champagne Malard Brut 1er Cru 750ml (4.1%)</c:v>
                </c:pt>
                <c:pt idx="6">
                  <c:v>Champagne Heidsieck Monopole Silver Top 750ml (4.2%)</c:v>
                </c:pt>
                <c:pt idx="7">
                  <c:v>Champagne Vranken Demoiselle Rosé Prestige 750ml (2.0%)</c:v>
                </c:pt>
                <c:pt idx="8">
                  <c:v>Crémant de Bourgogne Patriarche Brut 750ml (1.8%)</c:v>
                </c:pt>
                <c:pt idx="9">
                  <c:v>Champagne Ruinart Brut 750ml (7.3%)</c:v>
                </c:pt>
              </c:strCache>
            </c:strRef>
          </c:cat>
          <c:val>
            <c:numRef>
              <c:f>Sheet1!$B$2:$B$11</c:f>
              <c:numCache>
                <c:formatCode>General</c:formatCode>
                <c:ptCount val="10"/>
                <c:pt idx="0">
                  <c:v>0.15752191709636668</c:v>
                </c:pt>
                <c:pt idx="1">
                  <c:v>0.10631617174319527</c:v>
                </c:pt>
                <c:pt idx="2">
                  <c:v>0.05275671641649493</c:v>
                </c:pt>
                <c:pt idx="3">
                  <c:v>0.04056919307242804</c:v>
                </c:pt>
                <c:pt idx="4">
                  <c:v>0.03175584874827987</c:v>
                </c:pt>
                <c:pt idx="5">
                  <c:v>0.030678116593375694</c:v>
                </c:pt>
                <c:pt idx="6">
                  <c:v>0.029213895896597536</c:v>
                </c:pt>
                <c:pt idx="7">
                  <c:v>0.027378829157161073</c:v>
                </c:pt>
                <c:pt idx="8">
                  <c:v>0.026797550653618617</c:v>
                </c:pt>
                <c:pt idx="9">
                  <c:v>0.0233022400107832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perol Spritz Coffret pour l'apéro 750ml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Malard Brut 1er Cru 750ml (4.1%)</c:v>
                </c:pt>
                <c:pt idx="5">
                  <c:v>Prosecco Bottega Rosé 750ml (1.1%)</c:v>
                </c:pt>
                <c:pt idx="6">
                  <c:v>Champagne Vranken Demoiselle Rosé Prestige 750ml (2.0%)</c:v>
                </c:pt>
                <c:pt idx="7">
                  <c:v>Champagne Ruinart Brut 750ml (7.3%)</c:v>
                </c:pt>
                <c:pt idx="8">
                  <c:v>Crémant d'Alsace Muré Prestige Bio 750ml (1.3%)</c:v>
                </c:pt>
                <c:pt idx="9">
                  <c:v>Champagne Nicolas Feuillatte Réserve Exclusive Brut 750ml (3.0%)</c:v>
                </c:pt>
              </c:strCache>
            </c:strRef>
          </c:cat>
          <c:val>
            <c:numRef>
              <c:f>Sheet1!$B$2:$B$11</c:f>
              <c:numCache>
                <c:formatCode>General</c:formatCode>
                <c:ptCount val="10"/>
                <c:pt idx="0">
                  <c:v>0.22599861390112344</c:v>
                </c:pt>
                <c:pt idx="1">
                  <c:v>0.09127246644175258</c:v>
                </c:pt>
                <c:pt idx="2">
                  <c:v>0.0667671487397733</c:v>
                </c:pt>
                <c:pt idx="3">
                  <c:v>0.04461082005863825</c:v>
                </c:pt>
                <c:pt idx="4">
                  <c:v>0.04304900356329729</c:v>
                </c:pt>
                <c:pt idx="5">
                  <c:v>0.031587176813953406</c:v>
                </c:pt>
                <c:pt idx="6">
                  <c:v>0.029405830443338866</c:v>
                </c:pt>
                <c:pt idx="7">
                  <c:v>0.029006866010837285</c:v>
                </c:pt>
                <c:pt idx="8">
                  <c:v>0.026068600940732434</c:v>
                </c:pt>
                <c:pt idx="9">
                  <c:v>0.0257952806234847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perol Spritz Coffret pour l'apéro 750ml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Vranken Demoiselle Rosé Prestige 750ml (2.0%)</c:v>
                </c:pt>
                <c:pt idx="5">
                  <c:v>Champagne Ruinart Brut 750ml (7.3%)</c:v>
                </c:pt>
                <c:pt idx="6">
                  <c:v>Prosecco Bottega Rosé 750ml (1.1%)</c:v>
                </c:pt>
                <c:pt idx="7">
                  <c:v>Crémant d'Alsace Muré Prestige Bio 750ml (1.3%)</c:v>
                </c:pt>
                <c:pt idx="8">
                  <c:v>Champagne Malard Brut 1er Cru 750ml (4.1%)</c:v>
                </c:pt>
                <c:pt idx="9">
                  <c:v>Crémant de Bourgogne Patriarche Brut 750ml (1.8%)</c:v>
                </c:pt>
              </c:strCache>
            </c:strRef>
          </c:cat>
          <c:val>
            <c:numRef>
              <c:f>Sheet1!$B$2:$B$11</c:f>
              <c:numCache>
                <c:formatCode>General</c:formatCode>
                <c:ptCount val="10"/>
                <c:pt idx="0">
                  <c:v>0.185704728903788</c:v>
                </c:pt>
                <c:pt idx="1">
                  <c:v>0.09912446288871615</c:v>
                </c:pt>
                <c:pt idx="2">
                  <c:v>0.05402152133034946</c:v>
                </c:pt>
                <c:pt idx="3">
                  <c:v>0.04527339349539132</c:v>
                </c:pt>
                <c:pt idx="4">
                  <c:v>0.0348826176093908</c:v>
                </c:pt>
                <c:pt idx="5">
                  <c:v>0.033764688167314226</c:v>
                </c:pt>
                <c:pt idx="6">
                  <c:v>0.030520110281220324</c:v>
                </c:pt>
                <c:pt idx="7">
                  <c:v>0.028290862637694408</c:v>
                </c:pt>
                <c:pt idx="8">
                  <c:v>0.02791654967449966</c:v>
                </c:pt>
                <c:pt idx="9">
                  <c:v>0.0264007825718757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1ère Cuvée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95</c:v>
                </c:pt>
                <c:pt idx="1">
                  <c:v>19.95</c:v>
                </c:pt>
                <c:pt idx="2">
                  <c:v>22.5</c:v>
                </c:pt>
                <c:pt idx="3">
                  <c:v>24.95</c:v>
                </c:pt>
                <c:pt idx="4">
                  <c:v>26.95</c:v>
                </c:pt>
              </c:numCache>
            </c:numRef>
          </c:xVal>
          <c:yVal>
            <c:numRef>
              <c:f>Sheet1!$B$2:$B$6</c:f>
              <c:numCache>
                <c:formatCode>General</c:formatCode>
                <c:ptCount val="5"/>
                <c:pt idx="0">
                  <c:v>0.36198718056976764</c:v>
                </c:pt>
                <c:pt idx="1">
                  <c:v>0.17701998757965273</c:v>
                </c:pt>
                <c:pt idx="2">
                  <c:v>0.0</c:v>
                </c:pt>
                <c:pt idx="3">
                  <c:v>-0.13704107969953244</c:v>
                </c:pt>
                <c:pt idx="4">
                  <c:v>-0.356227831058284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Nicolas 1ère Cuvé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c:v>
                </c:pt>
                <c:pt idx="3">
                  <c:v>39.95</c:v>
                </c:pt>
                <c:pt idx="4">
                  <c:v>42.95</c:v>
                </c:pt>
              </c:numCache>
            </c:numRef>
          </c:xVal>
          <c:yVal>
            <c:numRef>
              <c:f>Sheet1!$B$9:$B$13</c:f>
              <c:numCache>
                <c:formatCode>General</c:formatCode>
                <c:ptCount val="5"/>
                <c:pt idx="0">
                  <c:v>1.2340536883461861</c:v>
                </c:pt>
                <c:pt idx="1">
                  <c:v>0.38433522059606107</c:v>
                </c:pt>
                <c:pt idx="2">
                  <c:v>0.0</c:v>
                </c:pt>
                <c:pt idx="3">
                  <c:v>-0.29385275764601154</c:v>
                </c:pt>
                <c:pt idx="4">
                  <c:v>-0.522434602468797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Nicolas Blanc de Blancs 375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8.95</c:v>
                </c:pt>
                <c:pt idx="1">
                  <c:v>21.5</c:v>
                </c:pt>
                <c:pt idx="2">
                  <c:v>23.95</c:v>
                </c:pt>
                <c:pt idx="3">
                  <c:v>25.95</c:v>
                </c:pt>
                <c:pt idx="4">
                  <c:v>28.95</c:v>
                </c:pt>
              </c:numCache>
            </c:numRef>
          </c:xVal>
          <c:yVal>
            <c:numRef>
              <c:f>Sheet1!$B$16:$B$20</c:f>
              <c:numCache>
                <c:formatCode>General</c:formatCode>
                <c:ptCount val="5"/>
                <c:pt idx="0">
                  <c:v>0.3866939850522575</c:v>
                </c:pt>
                <c:pt idx="1">
                  <c:v>0.1655993259553297</c:v>
                </c:pt>
                <c:pt idx="2">
                  <c:v>0.0</c:v>
                </c:pt>
                <c:pt idx="3">
                  <c:v>-0.18664652373913637</c:v>
                </c:pt>
                <c:pt idx="4">
                  <c:v>-0.4499414697695545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Nicolas Blanc de Blancs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1.95</c:v>
                </c:pt>
                <c:pt idx="1">
                  <c:v>34.95</c:v>
                </c:pt>
                <c:pt idx="2">
                  <c:v>39.95</c:v>
                </c:pt>
                <c:pt idx="3">
                  <c:v>42.95</c:v>
                </c:pt>
                <c:pt idx="4">
                  <c:v>47.95</c:v>
                </c:pt>
              </c:numCache>
            </c:numRef>
          </c:xVal>
          <c:yVal>
            <c:numRef>
              <c:f>Sheet1!$B$23:$B$27</c:f>
              <c:numCache>
                <c:formatCode>General</c:formatCode>
                <c:ptCount val="5"/>
                <c:pt idx="0">
                  <c:v>0.6878559404752805</c:v>
                </c:pt>
                <c:pt idx="1">
                  <c:v>0.29666820427162977</c:v>
                </c:pt>
                <c:pt idx="2">
                  <c:v>0.0</c:v>
                </c:pt>
                <c:pt idx="3">
                  <c:v>-0.276777567805604</c:v>
                </c:pt>
                <c:pt idx="4">
                  <c:v>-0.4837229643224035</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Nicolas Blanc de Blancs 150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69.0</c:v>
                </c:pt>
                <c:pt idx="1">
                  <c:v>75.0</c:v>
                </c:pt>
                <c:pt idx="2">
                  <c:v>85.0</c:v>
                </c:pt>
                <c:pt idx="3">
                  <c:v>95.0</c:v>
                </c:pt>
                <c:pt idx="4">
                  <c:v>99.0</c:v>
                </c:pt>
              </c:numCache>
            </c:numRef>
          </c:xVal>
          <c:yVal>
            <c:numRef>
              <c:f>Sheet1!$B$30:$B$34</c:f>
              <c:numCache>
                <c:formatCode>General</c:formatCode>
                <c:ptCount val="5"/>
                <c:pt idx="0">
                  <c:v>0.5042497193112476</c:v>
                </c:pt>
                <c:pt idx="1">
                  <c:v>0.19325288371552096</c:v>
                </c:pt>
                <c:pt idx="2">
                  <c:v>0.0</c:v>
                </c:pt>
                <c:pt idx="3">
                  <c:v>-0.1703260044902292</c:v>
                </c:pt>
                <c:pt idx="4">
                  <c:v>-0.235535471354197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0"/>
          <c:min val="1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Saint-Gal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Heidsieck &amp; C° Monopole (4.2%)</c:v>
                </c:pt>
                <c:pt idx="4">
                  <c:v>Demoiselle (3.5%)</c:v>
                </c:pt>
                <c:pt idx="5">
                  <c:v>Vesselle (1.0%)</c:v>
                </c:pt>
                <c:pt idx="6">
                  <c:v>Canard-Duchêne (3.1%)</c:v>
                </c:pt>
                <c:pt idx="7">
                  <c:v>Ruinart (12.8%)</c:v>
                </c:pt>
                <c:pt idx="8">
                  <c:v>Besserat De Bellefon (2.0%)</c:v>
                </c:pt>
                <c:pt idx="9">
                  <c:v>Patriarche (2.6%)</c:v>
                </c:pt>
              </c:strCache>
            </c:strRef>
          </c:cat>
          <c:val>
            <c:numRef>
              <c:f>Sheet1!$B$2:$B$11</c:f>
              <c:numCache>
                <c:formatCode>General</c:formatCode>
                <c:ptCount val="10"/>
                <c:pt idx="0">
                  <c:v>0.2762993668508168</c:v>
                </c:pt>
                <c:pt idx="1">
                  <c:v>0.15871951028956008</c:v>
                </c:pt>
                <c:pt idx="2">
                  <c:v>0.05089489191835541</c:v>
                </c:pt>
                <c:pt idx="3">
                  <c:v>0.042221711779267486</c:v>
                </c:pt>
                <c:pt idx="4">
                  <c:v>0.03290520357725759</c:v>
                </c:pt>
                <c:pt idx="5">
                  <c:v>0.03053166540896561</c:v>
                </c:pt>
                <c:pt idx="6">
                  <c:v>0.029190275311373443</c:v>
                </c:pt>
                <c:pt idx="7">
                  <c:v>0.027717621126628022</c:v>
                </c:pt>
                <c:pt idx="8">
                  <c:v>0.027338794032933513</c:v>
                </c:pt>
                <c:pt idx="9">
                  <c:v>0.026930599316063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Bulles Blanc de Blancs désalcoolisé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5</c:v>
                </c:pt>
                <c:pt idx="1">
                  <c:v>9.5</c:v>
                </c:pt>
                <c:pt idx="2">
                  <c:v>10.5</c:v>
                </c:pt>
                <c:pt idx="3">
                  <c:v>11.5</c:v>
                </c:pt>
                <c:pt idx="4">
                  <c:v>12.5</c:v>
                </c:pt>
              </c:numCache>
            </c:numRef>
          </c:xVal>
          <c:yVal>
            <c:numRef>
              <c:f>Sheet1!$B$2:$B$6</c:f>
              <c:numCache>
                <c:formatCode>General</c:formatCode>
                <c:ptCount val="5"/>
                <c:pt idx="0">
                  <c:v>0.30851370489420993</c:v>
                </c:pt>
                <c:pt idx="1">
                  <c:v>0.11675998921972236</c:v>
                </c:pt>
                <c:pt idx="2">
                  <c:v>0.0</c:v>
                </c:pt>
                <c:pt idx="3">
                  <c:v>-0.11232949898107897</c:v>
                </c:pt>
                <c:pt idx="4">
                  <c:v>-0.202563038919172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5"/>
          <c:min val="8.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95</c:v>
                </c:pt>
                <c:pt idx="2">
                  <c:v>21.95</c:v>
                </c:pt>
                <c:pt idx="3">
                  <c:v>23.95</c:v>
                </c:pt>
                <c:pt idx="4">
                  <c:v>25.95</c:v>
                </c:pt>
              </c:numCache>
            </c:numRef>
          </c:xVal>
          <c:yVal>
            <c:numRef>
              <c:f>Sheet1!$B$2:$B$6</c:f>
              <c:numCache>
                <c:formatCode>General</c:formatCode>
                <c:ptCount val="5"/>
                <c:pt idx="0">
                  <c:v>0.18599717708172092</c:v>
                </c:pt>
                <c:pt idx="1">
                  <c:v>0.058936413797040434</c:v>
                </c:pt>
                <c:pt idx="2">
                  <c:v>0.0</c:v>
                </c:pt>
                <c:pt idx="3">
                  <c:v>-0.05538367701723198</c:v>
                </c:pt>
                <c:pt idx="4">
                  <c:v>-0.162237650351025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E.Nicolas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c:v>
                </c:pt>
                <c:pt idx="1">
                  <c:v>39.95</c:v>
                </c:pt>
                <c:pt idx="2">
                  <c:v>44.95</c:v>
                </c:pt>
                <c:pt idx="3">
                  <c:v>49.95</c:v>
                </c:pt>
                <c:pt idx="4">
                  <c:v>54.95</c:v>
                </c:pt>
              </c:numCache>
            </c:numRef>
          </c:xVal>
          <c:yVal>
            <c:numRef>
              <c:f>Sheet1!$B$9:$B$13</c:f>
              <c:numCache>
                <c:formatCode>General</c:formatCode>
                <c:ptCount val="5"/>
                <c:pt idx="0">
                  <c:v>0.8978505002283262</c:v>
                </c:pt>
                <c:pt idx="1">
                  <c:v>0.482472059230549</c:v>
                </c:pt>
                <c:pt idx="2">
                  <c:v>0.0</c:v>
                </c:pt>
                <c:pt idx="3">
                  <c:v>-0.16285843726602023</c:v>
                </c:pt>
                <c:pt idx="4">
                  <c:v>-0.3579543694726229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E.Nicolas Rosé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9.95</c:v>
                </c:pt>
                <c:pt idx="1">
                  <c:v>22.5</c:v>
                </c:pt>
                <c:pt idx="2">
                  <c:v>24.95</c:v>
                </c:pt>
                <c:pt idx="3">
                  <c:v>26.95</c:v>
                </c:pt>
                <c:pt idx="4">
                  <c:v>29.95</c:v>
                </c:pt>
              </c:numCache>
            </c:numRef>
          </c:xVal>
          <c:yVal>
            <c:numRef>
              <c:f>Sheet1!$B$16:$B$20</c:f>
              <c:numCache>
                <c:formatCode>General</c:formatCode>
                <c:ptCount val="5"/>
                <c:pt idx="0">
                  <c:v>0.3276589074132898</c:v>
                </c:pt>
                <c:pt idx="1">
                  <c:v>0.14485257594626746</c:v>
                </c:pt>
                <c:pt idx="2">
                  <c:v>0.0</c:v>
                </c:pt>
                <c:pt idx="3">
                  <c:v>-0.21400927388787352</c:v>
                </c:pt>
                <c:pt idx="4">
                  <c:v>-0.428257068786982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17.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et Rosé 2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4.95</c:v>
                </c:pt>
                <c:pt idx="3">
                  <c:v>49.95</c:v>
                </c:pt>
                <c:pt idx="4">
                  <c:v>54.95</c:v>
                </c:pt>
              </c:numCache>
            </c:numRef>
          </c:xVal>
          <c:yVal>
            <c:numRef>
              <c:f>Sheet1!$B$2:$B$6</c:f>
              <c:numCache>
                <c:formatCode>General</c:formatCode>
                <c:ptCount val="5"/>
                <c:pt idx="0">
                  <c:v>1.2867623927219034</c:v>
                </c:pt>
                <c:pt idx="1">
                  <c:v>0.7134954316391747</c:v>
                </c:pt>
                <c:pt idx="2">
                  <c:v>0.0</c:v>
                </c:pt>
                <c:pt idx="3">
                  <c:v>-0.19503853143323185</c:v>
                </c:pt>
                <c:pt idx="4">
                  <c:v>-0.336453687137205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Malard Brut et Rosé 2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9.0</c:v>
                </c:pt>
                <c:pt idx="1">
                  <c:v>65.0</c:v>
                </c:pt>
                <c:pt idx="2">
                  <c:v>69.0</c:v>
                </c:pt>
                <c:pt idx="3">
                  <c:v>75.0</c:v>
                </c:pt>
                <c:pt idx="4">
                  <c:v>79.0</c:v>
                </c:pt>
              </c:numCache>
            </c:numRef>
          </c:xVal>
          <c:yVal>
            <c:numRef>
              <c:f>Sheet1!$B$9:$B$13</c:f>
              <c:numCache>
                <c:formatCode>General</c:formatCode>
                <c:ptCount val="5"/>
                <c:pt idx="0">
                  <c:v>0.48869312286395444</c:v>
                </c:pt>
                <c:pt idx="1">
                  <c:v>0.15845551395274607</c:v>
                </c:pt>
                <c:pt idx="2">
                  <c:v>0.0</c:v>
                </c:pt>
                <c:pt idx="3">
                  <c:v>-0.2637915540774039</c:v>
                </c:pt>
                <c:pt idx="4">
                  <c:v>-0.3322179697411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rut et Rosé 2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19.0</c:v>
                </c:pt>
                <c:pt idx="1">
                  <c:v>129.0</c:v>
                </c:pt>
                <c:pt idx="2">
                  <c:v>139.0</c:v>
                </c:pt>
                <c:pt idx="3">
                  <c:v>149.0</c:v>
                </c:pt>
                <c:pt idx="4">
                  <c:v>159.0</c:v>
                </c:pt>
              </c:numCache>
            </c:numRef>
          </c:xVal>
          <c:yVal>
            <c:numRef>
              <c:f>Sheet1!$B$16:$B$20</c:f>
              <c:numCache>
                <c:formatCode>General</c:formatCode>
                <c:ptCount val="5"/>
                <c:pt idx="0">
                  <c:v>0.23003938630522694</c:v>
                </c:pt>
                <c:pt idx="1">
                  <c:v>0.09131508441161842</c:v>
                </c:pt>
                <c:pt idx="2">
                  <c:v>0.0</c:v>
                </c:pt>
                <c:pt idx="3">
                  <c:v>-0.07962044085867809</c:v>
                </c:pt>
                <c:pt idx="4">
                  <c:v>-0.249621622251351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0"/>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Besserat de Bellefon Blanc de Blancs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0</c:v>
                </c:pt>
                <c:pt idx="3">
                  <c:v>65.0</c:v>
                </c:pt>
                <c:pt idx="4">
                  <c:v>69.0</c:v>
                </c:pt>
              </c:numCache>
            </c:numRef>
          </c:xVal>
          <c:yVal>
            <c:numRef>
              <c:f>Sheet1!$B$2:$B$6</c:f>
              <c:numCache>
                <c:formatCode>General</c:formatCode>
                <c:ptCount val="5"/>
                <c:pt idx="0">
                  <c:v>0.36409625436030174</c:v>
                </c:pt>
                <c:pt idx="1">
                  <c:v>0.07631801883999176</c:v>
                </c:pt>
                <c:pt idx="2">
                  <c:v>0.0</c:v>
                </c:pt>
                <c:pt idx="3">
                  <c:v>-0.19165487485793098</c:v>
                </c:pt>
                <c:pt idx="4">
                  <c:v>-0.288100196497378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Besserat de Bellefon Bleu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4.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95</c:v>
                </c:pt>
                <c:pt idx="1">
                  <c:v>34.95</c:v>
                </c:pt>
                <c:pt idx="2">
                  <c:v>39.95</c:v>
                </c:pt>
                <c:pt idx="3">
                  <c:v>42.95</c:v>
                </c:pt>
                <c:pt idx="4">
                  <c:v>47.95</c:v>
                </c:pt>
              </c:numCache>
            </c:numRef>
          </c:xVal>
          <c:yVal>
            <c:numRef>
              <c:f>Sheet1!$B$9:$B$13</c:f>
              <c:numCache>
                <c:formatCode>General</c:formatCode>
                <c:ptCount val="5"/>
                <c:pt idx="0">
                  <c:v>1.0940372765507453</c:v>
                </c:pt>
                <c:pt idx="1">
                  <c:v>0.5741828290699578</c:v>
                </c:pt>
                <c:pt idx="2">
                  <c:v>0.0</c:v>
                </c:pt>
                <c:pt idx="3">
                  <c:v>-0.3560750877893107</c:v>
                </c:pt>
                <c:pt idx="4">
                  <c:v>-0.592520894427552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0"/>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Ayala Brut Majeur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0.5962771306533422</c:v>
                </c:pt>
                <c:pt idx="1">
                  <c:v>0.36809073216751176</c:v>
                </c:pt>
                <c:pt idx="2">
                  <c:v>0.0</c:v>
                </c:pt>
                <c:pt idx="3">
                  <c:v>-0.23211833764004217</c:v>
                </c:pt>
                <c:pt idx="4">
                  <c:v>-0.390453905091707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Bollinger Special Cuvée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0</c:v>
                </c:pt>
                <c:pt idx="3">
                  <c:v>65.0</c:v>
                </c:pt>
                <c:pt idx="4">
                  <c:v>69.0</c:v>
                </c:pt>
              </c:numCache>
            </c:numRef>
          </c:xVal>
          <c:yVal>
            <c:numRef>
              <c:f>Sheet1!$B$2:$B$6</c:f>
              <c:numCache>
                <c:formatCode>General</c:formatCode>
                <c:ptCount val="5"/>
                <c:pt idx="0">
                  <c:v>0.7403234635868006</c:v>
                </c:pt>
                <c:pt idx="1">
                  <c:v>0.1458106302235152</c:v>
                </c:pt>
                <c:pt idx="2">
                  <c:v>0.0</c:v>
                </c:pt>
                <c:pt idx="3">
                  <c:v>-0.2949539696416633</c:v>
                </c:pt>
                <c:pt idx="4">
                  <c:v>-0.4214796844564428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Bollinger 1846 Special Cuvée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99.0</c:v>
                </c:pt>
                <c:pt idx="1">
                  <c:v>119.0</c:v>
                </c:pt>
                <c:pt idx="2">
                  <c:v>129.0</c:v>
                </c:pt>
                <c:pt idx="3">
                  <c:v>149.0</c:v>
                </c:pt>
                <c:pt idx="4">
                  <c:v>159.0</c:v>
                </c:pt>
              </c:numCache>
            </c:numRef>
          </c:xVal>
          <c:yVal>
            <c:numRef>
              <c:f>Sheet1!$B$9:$B$13</c:f>
              <c:numCache>
                <c:formatCode>General</c:formatCode>
                <c:ptCount val="5"/>
                <c:pt idx="0">
                  <c:v>0.7097710387093389</c:v>
                </c:pt>
                <c:pt idx="1">
                  <c:v>0.12259041853041101</c:v>
                </c:pt>
                <c:pt idx="2">
                  <c:v>0.0</c:v>
                </c:pt>
                <c:pt idx="3">
                  <c:v>-0.1607128298970749</c:v>
                </c:pt>
                <c:pt idx="4">
                  <c:v>-0.3382946490262272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0"/>
          <c:min val="4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anard-Duchêne Blanc Cuvée Léonie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6.95</c:v>
                </c:pt>
                <c:pt idx="1">
                  <c:v>18.95</c:v>
                </c:pt>
                <c:pt idx="2">
                  <c:v>20.95</c:v>
                </c:pt>
                <c:pt idx="3">
                  <c:v>22.95</c:v>
                </c:pt>
                <c:pt idx="4">
                  <c:v>24.95</c:v>
                </c:pt>
              </c:numCache>
            </c:numRef>
          </c:xVal>
          <c:yVal>
            <c:numRef>
              <c:f>Sheet1!$B$2:$B$6</c:f>
              <c:numCache>
                <c:formatCode>General</c:formatCode>
                <c:ptCount val="5"/>
                <c:pt idx="0">
                  <c:v>0.5114842363361385</c:v>
                </c:pt>
                <c:pt idx="1">
                  <c:v>0.18530652703766495</c:v>
                </c:pt>
                <c:pt idx="2">
                  <c:v>0.0</c:v>
                </c:pt>
                <c:pt idx="3">
                  <c:v>-0.11687602599901561</c:v>
                </c:pt>
                <c:pt idx="4">
                  <c:v>-0.2156844373152677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c:v>
                </c:pt>
                <c:pt idx="3">
                  <c:v>39.95</c:v>
                </c:pt>
                <c:pt idx="4">
                  <c:v>42.95</c:v>
                </c:pt>
              </c:numCache>
            </c:numRef>
          </c:xVal>
          <c:yVal>
            <c:numRef>
              <c:f>Sheet1!$B$9:$B$13</c:f>
              <c:numCache>
                <c:formatCode>General</c:formatCode>
                <c:ptCount val="5"/>
                <c:pt idx="0">
                  <c:v>0.7559739938596569</c:v>
                </c:pt>
                <c:pt idx="1">
                  <c:v>0.25146576201934645</c:v>
                </c:pt>
                <c:pt idx="2">
                  <c:v>0.0</c:v>
                </c:pt>
                <c:pt idx="3">
                  <c:v>-0.3688583526629412</c:v>
                </c:pt>
                <c:pt idx="4">
                  <c:v>-0.583386691766613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Canard-Duchêne Blanc Cuvée Léonie Brut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4.95</c:v>
                </c:pt>
                <c:pt idx="1">
                  <c:v>59.0</c:v>
                </c:pt>
                <c:pt idx="2">
                  <c:v>69.0</c:v>
                </c:pt>
                <c:pt idx="3">
                  <c:v>75.0</c:v>
                </c:pt>
                <c:pt idx="4">
                  <c:v>85.0</c:v>
                </c:pt>
              </c:numCache>
            </c:numRef>
          </c:xVal>
          <c:yVal>
            <c:numRef>
              <c:f>Sheet1!$B$16:$B$20</c:f>
              <c:numCache>
                <c:formatCode>General</c:formatCode>
                <c:ptCount val="5"/>
                <c:pt idx="0">
                  <c:v>0.5403957319864245</c:v>
                </c:pt>
                <c:pt idx="1">
                  <c:v>0.39811615944378875</c:v>
                </c:pt>
                <c:pt idx="2">
                  <c:v>0.0</c:v>
                </c:pt>
                <c:pt idx="3">
                  <c:v>-0.1953604329878184</c:v>
                </c:pt>
                <c:pt idx="4">
                  <c:v>-0.32599338117209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5.0"/>
          <c:min val="1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allier Blanc Série R.021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1.100883863500157</c:v>
                </c:pt>
                <c:pt idx="1">
                  <c:v>0.6142811150874706</c:v>
                </c:pt>
                <c:pt idx="2">
                  <c:v>0.0</c:v>
                </c:pt>
                <c:pt idx="3">
                  <c:v>-0.32948271776354576</c:v>
                </c:pt>
                <c:pt idx="4">
                  <c:v>-0.543149864637769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utz Brut Classique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1.95</c:v>
                </c:pt>
                <c:pt idx="1">
                  <c:v>24.95</c:v>
                </c:pt>
                <c:pt idx="2">
                  <c:v>27.95</c:v>
                </c:pt>
                <c:pt idx="3">
                  <c:v>30.95</c:v>
                </c:pt>
                <c:pt idx="4">
                  <c:v>33.95</c:v>
                </c:pt>
              </c:numCache>
            </c:numRef>
          </c:xVal>
          <c:yVal>
            <c:numRef>
              <c:f>Sheet1!$B$2:$B$6</c:f>
              <c:numCache>
                <c:formatCode>General</c:formatCode>
                <c:ptCount val="5"/>
                <c:pt idx="0">
                  <c:v>0.8861093130964787</c:v>
                </c:pt>
                <c:pt idx="1">
                  <c:v>0.6191577330437017</c:v>
                </c:pt>
                <c:pt idx="2">
                  <c:v>0.0</c:v>
                </c:pt>
                <c:pt idx="3">
                  <c:v>-0.32776434444517055</c:v>
                </c:pt>
                <c:pt idx="4">
                  <c:v>-0.510120246848203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utz Brut Classiqu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9.95</c:v>
                </c:pt>
                <c:pt idx="1">
                  <c:v>44.95</c:v>
                </c:pt>
                <c:pt idx="2">
                  <c:v>49.95</c:v>
                </c:pt>
                <c:pt idx="3">
                  <c:v>54.95</c:v>
                </c:pt>
                <c:pt idx="4">
                  <c:v>59.0</c:v>
                </c:pt>
              </c:numCache>
            </c:numRef>
          </c:xVal>
          <c:yVal>
            <c:numRef>
              <c:f>Sheet1!$B$9:$B$13</c:f>
              <c:numCache>
                <c:formatCode>General</c:formatCode>
                <c:ptCount val="5"/>
                <c:pt idx="0">
                  <c:v>0.7219916414437618</c:v>
                </c:pt>
                <c:pt idx="1">
                  <c:v>0.1649473107425488</c:v>
                </c:pt>
                <c:pt idx="2">
                  <c:v>0.0</c:v>
                </c:pt>
                <c:pt idx="3">
                  <c:v>-0.3504694700216451</c:v>
                </c:pt>
                <c:pt idx="4">
                  <c:v>-0.4348208517897877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9.0</c:v>
                </c:pt>
                <c:pt idx="1">
                  <c:v>89.0</c:v>
                </c:pt>
                <c:pt idx="2">
                  <c:v>99.0</c:v>
                </c:pt>
                <c:pt idx="3">
                  <c:v>109.0</c:v>
                </c:pt>
                <c:pt idx="4">
                  <c:v>119.0</c:v>
                </c:pt>
              </c:numCache>
            </c:numRef>
          </c:xVal>
          <c:yVal>
            <c:numRef>
              <c:f>Sheet1!$B$16:$B$20</c:f>
              <c:numCache>
                <c:formatCode>General</c:formatCode>
                <c:ptCount val="5"/>
                <c:pt idx="0">
                  <c:v>0.5558920238967167</c:v>
                </c:pt>
                <c:pt idx="1">
                  <c:v>0.281110849263073</c:v>
                </c:pt>
                <c:pt idx="2">
                  <c:v>0.0</c:v>
                </c:pt>
                <c:pt idx="3">
                  <c:v>-0.10580987507647358</c:v>
                </c:pt>
                <c:pt idx="4">
                  <c:v>-0.2856044322192401</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Deutz Rosé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4.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47.95</c:v>
                </c:pt>
                <c:pt idx="1">
                  <c:v>54.95</c:v>
                </c:pt>
                <c:pt idx="2">
                  <c:v>59.0</c:v>
                </c:pt>
                <c:pt idx="3">
                  <c:v>65.0</c:v>
                </c:pt>
                <c:pt idx="4">
                  <c:v>69.0</c:v>
                </c:pt>
              </c:numCache>
            </c:numRef>
          </c:xVal>
          <c:yVal>
            <c:numRef>
              <c:f>Sheet1!$B$23:$B$27</c:f>
              <c:numCache>
                <c:formatCode>General</c:formatCode>
                <c:ptCount val="5"/>
                <c:pt idx="0">
                  <c:v>0.8138057189769129</c:v>
                </c:pt>
                <c:pt idx="1">
                  <c:v>0.13408068921226396</c:v>
                </c:pt>
                <c:pt idx="2">
                  <c:v>0.0</c:v>
                </c:pt>
                <c:pt idx="3">
                  <c:v>-0.3112790041208364</c:v>
                </c:pt>
                <c:pt idx="4">
                  <c:v>-0.4480193712945701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0"/>
          <c:min val="2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Gosset Grande Réserv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0.6688747514517239</c:v>
                </c:pt>
                <c:pt idx="1">
                  <c:v>0.15019983689503488</c:v>
                </c:pt>
                <c:pt idx="2">
                  <c:v>0.0</c:v>
                </c:pt>
                <c:pt idx="3">
                  <c:v>-0.13989802028193044</c:v>
                </c:pt>
                <c:pt idx="4">
                  <c:v>-0.1924606411331618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 Venoge Cordon Bleu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5.0</c:v>
                </c:pt>
                <c:pt idx="1">
                  <c:v>69.0</c:v>
                </c:pt>
                <c:pt idx="2">
                  <c:v>79.0</c:v>
                </c:pt>
                <c:pt idx="3">
                  <c:v>89.0</c:v>
                </c:pt>
                <c:pt idx="4">
                  <c:v>95.0</c:v>
                </c:pt>
              </c:numCache>
            </c:numRef>
          </c:xVal>
          <c:yVal>
            <c:numRef>
              <c:f>Sheet1!$B$9:$B$13</c:f>
              <c:numCache>
                <c:formatCode>General</c:formatCode>
                <c:ptCount val="5"/>
                <c:pt idx="0">
                  <c:v>0.6491516962566166</c:v>
                </c:pt>
                <c:pt idx="1">
                  <c:v>0.41610848622058244</c:v>
                </c:pt>
                <c:pt idx="2">
                  <c:v>0.0</c:v>
                </c:pt>
                <c:pt idx="3">
                  <c:v>-0.14240109233240922</c:v>
                </c:pt>
                <c:pt idx="4">
                  <c:v>-0.266483581407886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5.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Saint-Gal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Vesselle (1.0%)</c:v>
                </c:pt>
                <c:pt idx="8">
                  <c:v>De Bligny (1.3%)</c:v>
                </c:pt>
                <c:pt idx="9">
                  <c:v>Ruinart (12.8%)</c:v>
                </c:pt>
              </c:strCache>
            </c:strRef>
          </c:cat>
          <c:val>
            <c:numRef>
              <c:f>Sheet1!$B$2:$B$11</c:f>
              <c:numCache>
                <c:formatCode>General</c:formatCode>
                <c:ptCount val="10"/>
                <c:pt idx="0">
                  <c:v>0.19007395338006844</c:v>
                </c:pt>
                <c:pt idx="1">
                  <c:v>0.1636199358504572</c:v>
                </c:pt>
                <c:pt idx="2">
                  <c:v>0.06289979144686705</c:v>
                </c:pt>
                <c:pt idx="3">
                  <c:v>0.059663302032576485</c:v>
                </c:pt>
                <c:pt idx="4">
                  <c:v>0.04611880080345016</c:v>
                </c:pt>
                <c:pt idx="5">
                  <c:v>0.03880210807176256</c:v>
                </c:pt>
                <c:pt idx="6">
                  <c:v>0.03872325762158965</c:v>
                </c:pt>
                <c:pt idx="7">
                  <c:v>0.034338144406000616</c:v>
                </c:pt>
                <c:pt idx="8">
                  <c:v>0.03336834873705385</c:v>
                </c:pt>
                <c:pt idx="9">
                  <c:v>0.02964746658312585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Henriot Brut Souverain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8.95</c:v>
                </c:pt>
                <c:pt idx="1">
                  <c:v>20.95</c:v>
                </c:pt>
                <c:pt idx="2">
                  <c:v>23.5</c:v>
                </c:pt>
                <c:pt idx="3">
                  <c:v>25.95</c:v>
                </c:pt>
                <c:pt idx="4">
                  <c:v>27.95</c:v>
                </c:pt>
              </c:numCache>
            </c:numRef>
          </c:xVal>
          <c:yVal>
            <c:numRef>
              <c:f>Sheet1!$B$2:$B$6</c:f>
              <c:numCache>
                <c:formatCode>General</c:formatCode>
                <c:ptCount val="5"/>
                <c:pt idx="0">
                  <c:v>0.45437683867601925</c:v>
                </c:pt>
                <c:pt idx="1">
                  <c:v>0.206750956991115</c:v>
                </c:pt>
                <c:pt idx="2">
                  <c:v>0.0</c:v>
                </c:pt>
                <c:pt idx="3">
                  <c:v>-0.2394312745805823</c:v>
                </c:pt>
                <c:pt idx="4">
                  <c:v>-0.442702827797039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Henriot Brut Souverain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8.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c:v>
                </c:pt>
                <c:pt idx="1">
                  <c:v>39.95</c:v>
                </c:pt>
                <c:pt idx="2">
                  <c:v>44.95</c:v>
                </c:pt>
                <c:pt idx="3">
                  <c:v>49.95</c:v>
                </c:pt>
                <c:pt idx="4">
                  <c:v>54.95</c:v>
                </c:pt>
              </c:numCache>
            </c:numRef>
          </c:xVal>
          <c:yVal>
            <c:numRef>
              <c:f>Sheet1!$B$9:$B$13</c:f>
              <c:numCache>
                <c:formatCode>General</c:formatCode>
                <c:ptCount val="5"/>
                <c:pt idx="0">
                  <c:v>2.3069715135766953</c:v>
                </c:pt>
                <c:pt idx="1">
                  <c:v>0.9499370004732632</c:v>
                </c:pt>
                <c:pt idx="2">
                  <c:v>0.0</c:v>
                </c:pt>
                <c:pt idx="3">
                  <c:v>-0.2534816446010682</c:v>
                </c:pt>
                <c:pt idx="4">
                  <c:v>-0.4926726214990781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1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aurent-Perrier Blanc La Cuvé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2.95</c:v>
                </c:pt>
                <c:pt idx="3">
                  <c:v>47.95</c:v>
                </c:pt>
                <c:pt idx="4">
                  <c:v>49.95</c:v>
                </c:pt>
              </c:numCache>
            </c:numRef>
          </c:xVal>
          <c:yVal>
            <c:numRef>
              <c:f>Sheet1!$B$2:$B$6</c:f>
              <c:numCache>
                <c:formatCode>General</c:formatCode>
                <c:ptCount val="5"/>
                <c:pt idx="0">
                  <c:v>0.7990887409115383</c:v>
                </c:pt>
                <c:pt idx="1">
                  <c:v>0.3695447839228113</c:v>
                </c:pt>
                <c:pt idx="2">
                  <c:v>0.0</c:v>
                </c:pt>
                <c:pt idx="3">
                  <c:v>-0.2800621507953023</c:v>
                </c:pt>
                <c:pt idx="4">
                  <c:v>-0.34530386933948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Laurent-Perrier Blanc La Cuvée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5.0</c:v>
                </c:pt>
                <c:pt idx="1">
                  <c:v>69.0</c:v>
                </c:pt>
                <c:pt idx="2">
                  <c:v>79.0</c:v>
                </c:pt>
                <c:pt idx="3">
                  <c:v>89.0</c:v>
                </c:pt>
                <c:pt idx="4">
                  <c:v>95.0</c:v>
                </c:pt>
              </c:numCache>
            </c:numRef>
          </c:xVal>
          <c:yVal>
            <c:numRef>
              <c:f>Sheet1!$B$9:$B$13</c:f>
              <c:numCache>
                <c:formatCode>General</c:formatCode>
                <c:ptCount val="5"/>
                <c:pt idx="0">
                  <c:v>0.4035188705032493</c:v>
                </c:pt>
                <c:pt idx="1">
                  <c:v>0.23188474587818042</c:v>
                </c:pt>
                <c:pt idx="2">
                  <c:v>0.0</c:v>
                </c:pt>
                <c:pt idx="3">
                  <c:v>-0.14856547651769186</c:v>
                </c:pt>
                <c:pt idx="4">
                  <c:v>-0.2430198172426408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Laurent-Perrier Blanc Rosé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5.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9.0</c:v>
                </c:pt>
                <c:pt idx="1">
                  <c:v>69.0</c:v>
                </c:pt>
                <c:pt idx="2">
                  <c:v>75.0</c:v>
                </c:pt>
                <c:pt idx="3">
                  <c:v>79.0</c:v>
                </c:pt>
                <c:pt idx="4">
                  <c:v>89.0</c:v>
                </c:pt>
              </c:numCache>
            </c:numRef>
          </c:xVal>
          <c:yVal>
            <c:numRef>
              <c:f>Sheet1!$B$16:$B$20</c:f>
              <c:numCache>
                <c:formatCode>General</c:formatCode>
                <c:ptCount val="5"/>
                <c:pt idx="0">
                  <c:v>1.2275427291252798</c:v>
                </c:pt>
                <c:pt idx="1">
                  <c:v>0.2827407925068884</c:v>
                </c:pt>
                <c:pt idx="2">
                  <c:v>0.0</c:v>
                </c:pt>
                <c:pt idx="3">
                  <c:v>-0.10450938995915629</c:v>
                </c:pt>
                <c:pt idx="4">
                  <c:v>-0.29649448405871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5.0"/>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hristophe Lefèvre Cuvée Prestig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5.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1.4976468785884474</c:v>
                </c:pt>
                <c:pt idx="1">
                  <c:v>0.4719229554593802</c:v>
                </c:pt>
                <c:pt idx="2">
                  <c:v>0.0</c:v>
                </c:pt>
                <c:pt idx="3">
                  <c:v>-0.48427576701718095</c:v>
                </c:pt>
                <c:pt idx="4">
                  <c:v>-0.705190483328202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Malard Brut Millésime 201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0.8565517959527952</c:v>
                </c:pt>
                <c:pt idx="1">
                  <c:v>0.42910108144710635</c:v>
                </c:pt>
                <c:pt idx="2">
                  <c:v>0.0</c:v>
                </c:pt>
                <c:pt idx="3">
                  <c:v>-0.30861628307876987</c:v>
                </c:pt>
                <c:pt idx="4">
                  <c:v>-0.520831373673028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Malard Grand Cru Blanc de Blancs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c:v>
                </c:pt>
                <c:pt idx="3">
                  <c:v>39.95</c:v>
                </c:pt>
                <c:pt idx="4">
                  <c:v>42.95</c:v>
                </c:pt>
              </c:numCache>
            </c:numRef>
          </c:xVal>
          <c:yVal>
            <c:numRef>
              <c:f>Sheet1!$B$9:$B$13</c:f>
              <c:numCache>
                <c:formatCode>General</c:formatCode>
                <c:ptCount val="5"/>
                <c:pt idx="0">
                  <c:v>1.0885100162802774</c:v>
                </c:pt>
                <c:pt idx="1">
                  <c:v>0.36056812969170104</c:v>
                </c:pt>
                <c:pt idx="2">
                  <c:v>0.0</c:v>
                </c:pt>
                <c:pt idx="3">
                  <c:v>-0.3476962882917989</c:v>
                </c:pt>
                <c:pt idx="4">
                  <c:v>-0.587423858404896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Malard Grand Cru Blanc de Noirs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4.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95</c:v>
                </c:pt>
                <c:pt idx="1">
                  <c:v>31.95</c:v>
                </c:pt>
                <c:pt idx="2">
                  <c:v>34.95</c:v>
                </c:pt>
                <c:pt idx="3">
                  <c:v>39.95</c:v>
                </c:pt>
                <c:pt idx="4">
                  <c:v>42.95</c:v>
                </c:pt>
              </c:numCache>
            </c:numRef>
          </c:xVal>
          <c:yVal>
            <c:numRef>
              <c:f>Sheet1!$B$16:$B$20</c:f>
              <c:numCache>
                <c:formatCode>General</c:formatCode>
                <c:ptCount val="5"/>
                <c:pt idx="0">
                  <c:v>1.2344507574318677</c:v>
                </c:pt>
                <c:pt idx="1">
                  <c:v>0.3962151645221695</c:v>
                </c:pt>
                <c:pt idx="2">
                  <c:v>0.0</c:v>
                </c:pt>
                <c:pt idx="3">
                  <c:v>-0.36709986849396065</c:v>
                </c:pt>
                <c:pt idx="4">
                  <c:v>-0.6022180824426451</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23.95</c:v>
                </c:pt>
                <c:pt idx="1">
                  <c:v>26.95</c:v>
                </c:pt>
                <c:pt idx="2">
                  <c:v>29.95</c:v>
                </c:pt>
                <c:pt idx="3">
                  <c:v>32.95</c:v>
                </c:pt>
                <c:pt idx="4">
                  <c:v>34.95</c:v>
                </c:pt>
              </c:numCache>
            </c:numRef>
          </c:xVal>
          <c:yVal>
            <c:numRef>
              <c:f>Sheet1!$B$23:$B$27</c:f>
              <c:numCache>
                <c:formatCode>General</c:formatCode>
                <c:ptCount val="5"/>
                <c:pt idx="0">
                  <c:v>0.6787750736875777</c:v>
                </c:pt>
                <c:pt idx="1">
                  <c:v>0.3315429466335175</c:v>
                </c:pt>
                <c:pt idx="2">
                  <c:v>0.0</c:v>
                </c:pt>
                <c:pt idx="3">
                  <c:v>-0.3447826575364159</c:v>
                </c:pt>
                <c:pt idx="4">
                  <c:v>-0.48689577243734183</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Malard 1er Cru Rosé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29.95</c:v>
                </c:pt>
                <c:pt idx="1">
                  <c:v>33.95</c:v>
                </c:pt>
                <c:pt idx="2">
                  <c:v>37.95</c:v>
                </c:pt>
                <c:pt idx="3">
                  <c:v>39.95</c:v>
                </c:pt>
                <c:pt idx="4">
                  <c:v>44.95</c:v>
                </c:pt>
              </c:numCache>
            </c:numRef>
          </c:xVal>
          <c:yVal>
            <c:numRef>
              <c:f>Sheet1!$B$30:$B$34</c:f>
              <c:numCache>
                <c:formatCode>General</c:formatCode>
                <c:ptCount val="5"/>
                <c:pt idx="0">
                  <c:v>1.1433544772547728</c:v>
                </c:pt>
                <c:pt idx="1">
                  <c:v>0.314708713645346</c:v>
                </c:pt>
                <c:pt idx="2">
                  <c:v>0.0</c:v>
                </c:pt>
                <c:pt idx="3">
                  <c:v>-0.09535991075557833</c:v>
                </c:pt>
                <c:pt idx="4">
                  <c:v>-0.471524872628932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23.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hâteau de Bligny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1.2847701624768593</c:v>
                </c:pt>
                <c:pt idx="1">
                  <c:v>0.37037837598947665</c:v>
                </c:pt>
                <c:pt idx="2">
                  <c:v>0.0</c:v>
                </c:pt>
                <c:pt idx="3">
                  <c:v>-0.3158859170854978</c:v>
                </c:pt>
                <c:pt idx="4">
                  <c:v>-0.536090682940155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ouis Martin Brut 1er Cru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9.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95</c:v>
                </c:pt>
                <c:pt idx="1">
                  <c:v>29.95</c:v>
                </c:pt>
                <c:pt idx="2">
                  <c:v>32.95</c:v>
                </c:pt>
                <c:pt idx="3">
                  <c:v>34.95</c:v>
                </c:pt>
                <c:pt idx="4">
                  <c:v>39.95</c:v>
                </c:pt>
              </c:numCache>
            </c:numRef>
          </c:xVal>
          <c:yVal>
            <c:numRef>
              <c:f>Sheet1!$B$2:$B$6</c:f>
              <c:numCache>
                <c:formatCode>General</c:formatCode>
                <c:ptCount val="5"/>
                <c:pt idx="0">
                  <c:v>1.7526943707768674</c:v>
                </c:pt>
                <c:pt idx="1">
                  <c:v>0.8229978010195673</c:v>
                </c:pt>
                <c:pt idx="2">
                  <c:v>0.0</c:v>
                </c:pt>
                <c:pt idx="3">
                  <c:v>-0.32302259899129826</c:v>
                </c:pt>
                <c:pt idx="4">
                  <c:v>-0.742497975664187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25.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0.5606125261542386</c:v>
                </c:pt>
                <c:pt idx="1">
                  <c:v>0.17996051536748212</c:v>
                </c:pt>
                <c:pt idx="2">
                  <c:v>0.0</c:v>
                </c:pt>
                <c:pt idx="3">
                  <c:v>-0.2729895740477941</c:v>
                </c:pt>
                <c:pt idx="4">
                  <c:v>-0.442580534618795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Ruinart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4.95</c:v>
                </c:pt>
                <c:pt idx="1">
                  <c:v>49.95</c:v>
                </c:pt>
                <c:pt idx="2">
                  <c:v>54.95</c:v>
                </c:pt>
                <c:pt idx="3">
                  <c:v>59.0</c:v>
                </c:pt>
                <c:pt idx="4">
                  <c:v>65.0</c:v>
                </c:pt>
              </c:numCache>
            </c:numRef>
          </c:xVal>
          <c:yVal>
            <c:numRef>
              <c:f>Sheet1!$B$9:$B$13</c:f>
              <c:numCache>
                <c:formatCode>General</c:formatCode>
                <c:ptCount val="5"/>
                <c:pt idx="0">
                  <c:v>0.3416412861071431</c:v>
                </c:pt>
                <c:pt idx="1">
                  <c:v>0.20811948586722293</c:v>
                </c:pt>
                <c:pt idx="2">
                  <c:v>0.0</c:v>
                </c:pt>
                <c:pt idx="3">
                  <c:v>-0.09220419444556198</c:v>
                </c:pt>
                <c:pt idx="4">
                  <c:v>-0.2678512553361276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rut (étui)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7.95</c:v>
                </c:pt>
                <c:pt idx="1">
                  <c:v>54.95</c:v>
                </c:pt>
                <c:pt idx="2">
                  <c:v>59.0</c:v>
                </c:pt>
                <c:pt idx="3">
                  <c:v>65.0</c:v>
                </c:pt>
                <c:pt idx="4">
                  <c:v>69.0</c:v>
                </c:pt>
              </c:numCache>
            </c:numRef>
          </c:xVal>
          <c:yVal>
            <c:numRef>
              <c:f>Sheet1!$B$16:$B$20</c:f>
              <c:numCache>
                <c:formatCode>General</c:formatCode>
                <c:ptCount val="5"/>
                <c:pt idx="0">
                  <c:v>0.5814292557700481</c:v>
                </c:pt>
                <c:pt idx="1">
                  <c:v>0.1631849921257918</c:v>
                </c:pt>
                <c:pt idx="2">
                  <c:v>0.0</c:v>
                </c:pt>
                <c:pt idx="3">
                  <c:v>-0.2582264035260132</c:v>
                </c:pt>
                <c:pt idx="4">
                  <c:v>-0.3742505774893087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0"/>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rut (étui) 15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9.0</c:v>
                </c:pt>
                <c:pt idx="1">
                  <c:v>119.0</c:v>
                </c:pt>
                <c:pt idx="2">
                  <c:v>129.0</c:v>
                </c:pt>
                <c:pt idx="3">
                  <c:v>149.0</c:v>
                </c:pt>
                <c:pt idx="4">
                  <c:v>159.0</c:v>
                </c:pt>
              </c:numCache>
            </c:numRef>
          </c:xVal>
          <c:yVal>
            <c:numRef>
              <c:f>Sheet1!$B$2:$B$6</c:f>
              <c:numCache>
                <c:formatCode>General</c:formatCode>
                <c:ptCount val="5"/>
                <c:pt idx="0">
                  <c:v>0.5157409005704999</c:v>
                </c:pt>
                <c:pt idx="1">
                  <c:v>0.1055914037068197</c:v>
                </c:pt>
                <c:pt idx="2">
                  <c:v>0.0</c:v>
                </c:pt>
                <c:pt idx="3">
                  <c:v>-0.14335699500999713</c:v>
                </c:pt>
                <c:pt idx="4">
                  <c:v>-0.290088360897381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0"/>
          <c:min val="99.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lanc de Blancs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4.95</c:v>
                </c:pt>
                <c:pt idx="1">
                  <c:v>49.95</c:v>
                </c:pt>
                <c:pt idx="2">
                  <c:v>54.95</c:v>
                </c:pt>
                <c:pt idx="3">
                  <c:v>59.0</c:v>
                </c:pt>
                <c:pt idx="4">
                  <c:v>65.0</c:v>
                </c:pt>
              </c:numCache>
            </c:numRef>
          </c:xVal>
          <c:yVal>
            <c:numRef>
              <c:f>Sheet1!$B$2:$B$6</c:f>
              <c:numCache>
                <c:formatCode>General</c:formatCode>
                <c:ptCount val="5"/>
                <c:pt idx="0">
                  <c:v>0.6705935702477847</c:v>
                </c:pt>
                <c:pt idx="1">
                  <c:v>0.3059613581997257</c:v>
                </c:pt>
                <c:pt idx="2">
                  <c:v>0.0</c:v>
                </c:pt>
                <c:pt idx="3">
                  <c:v>-0.11715968840596978</c:v>
                </c:pt>
                <c:pt idx="4">
                  <c:v>-0.322943176764443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Ruinart Blanc de Blancs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0</c:v>
                </c:pt>
                <c:pt idx="1">
                  <c:v>85.0</c:v>
                </c:pt>
                <c:pt idx="2">
                  <c:v>95.0</c:v>
                </c:pt>
                <c:pt idx="3">
                  <c:v>99.0</c:v>
                </c:pt>
                <c:pt idx="4">
                  <c:v>109.0</c:v>
                </c:pt>
              </c:numCache>
            </c:numRef>
          </c:xVal>
          <c:yVal>
            <c:numRef>
              <c:f>Sheet1!$B$9:$B$13</c:f>
              <c:numCache>
                <c:formatCode>General</c:formatCode>
                <c:ptCount val="5"/>
                <c:pt idx="0">
                  <c:v>0.5416140308376958</c:v>
                </c:pt>
                <c:pt idx="1">
                  <c:v>0.2638882349939201</c:v>
                </c:pt>
                <c:pt idx="2">
                  <c:v>0.0</c:v>
                </c:pt>
                <c:pt idx="3">
                  <c:v>-0.0973892496604848</c:v>
                </c:pt>
                <c:pt idx="4">
                  <c:v>-0.227889280884314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lanc de Blancs (étui)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9.0</c:v>
                </c:pt>
                <c:pt idx="1">
                  <c:v>89.0</c:v>
                </c:pt>
                <c:pt idx="2">
                  <c:v>99.0</c:v>
                </c:pt>
                <c:pt idx="3">
                  <c:v>109.0</c:v>
                </c:pt>
                <c:pt idx="4">
                  <c:v>119.0</c:v>
                </c:pt>
              </c:numCache>
            </c:numRef>
          </c:xVal>
          <c:yVal>
            <c:numRef>
              <c:f>Sheet1!$B$16:$B$20</c:f>
              <c:numCache>
                <c:formatCode>General</c:formatCode>
                <c:ptCount val="5"/>
                <c:pt idx="0">
                  <c:v>0.5113150992130496</c:v>
                </c:pt>
                <c:pt idx="1">
                  <c:v>0.2624379452077268</c:v>
                </c:pt>
                <c:pt idx="2">
                  <c:v>0.0</c:v>
                </c:pt>
                <c:pt idx="3">
                  <c:v>-0.1185159213497797</c:v>
                </c:pt>
                <c:pt idx="4">
                  <c:v>-0.2553456737630774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0"/>
          <c:min val="4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Rosé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9.0</c:v>
                </c:pt>
                <c:pt idx="1">
                  <c:v>79.0</c:v>
                </c:pt>
                <c:pt idx="2">
                  <c:v>89.0</c:v>
                </c:pt>
                <c:pt idx="3">
                  <c:v>99.0</c:v>
                </c:pt>
                <c:pt idx="4">
                  <c:v>109.0</c:v>
                </c:pt>
              </c:numCache>
            </c:numRef>
          </c:xVal>
          <c:yVal>
            <c:numRef>
              <c:f>Sheet1!$B$2:$B$6</c:f>
              <c:numCache>
                <c:formatCode>General</c:formatCode>
                <c:ptCount val="5"/>
                <c:pt idx="0">
                  <c:v>0.7224507878045056</c:v>
                </c:pt>
                <c:pt idx="1">
                  <c:v>0.25130065008171615</c:v>
                </c:pt>
                <c:pt idx="2">
                  <c:v>0.0</c:v>
                </c:pt>
                <c:pt idx="3">
                  <c:v>-0.2979049166557704</c:v>
                </c:pt>
                <c:pt idx="4">
                  <c:v>-0.40324720432508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9.0"/>
          <c:min val="69.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Venog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Heidsieck &amp; C° Monopole (4.2%)</c:v>
                </c:pt>
                <c:pt idx="2">
                  <c:v>Malard (6.0%)</c:v>
                </c:pt>
                <c:pt idx="3">
                  <c:v>Besserat De Bellefon (2.0%)</c:v>
                </c:pt>
                <c:pt idx="4">
                  <c:v>Nicolas Feuillatte (4.5%)</c:v>
                </c:pt>
                <c:pt idx="5">
                  <c:v>Deutz (4.8%)</c:v>
                </c:pt>
                <c:pt idx="6">
                  <c:v>Demoiselle (3.5%)</c:v>
                </c:pt>
                <c:pt idx="7">
                  <c:v>Vesselle (1.0%)</c:v>
                </c:pt>
                <c:pt idx="8">
                  <c:v>Laurent Perrier (3.9%)</c:v>
                </c:pt>
                <c:pt idx="9">
                  <c:v>Ruinart (12.8%)</c:v>
                </c:pt>
              </c:strCache>
            </c:strRef>
          </c:cat>
          <c:val>
            <c:numRef>
              <c:f>Sheet1!$B$2:$B$11</c:f>
              <c:numCache>
                <c:formatCode>General</c:formatCode>
                <c:ptCount val="10"/>
                <c:pt idx="0">
                  <c:v>0.12382547277961234</c:v>
                </c:pt>
                <c:pt idx="1">
                  <c:v>0.12166875515479203</c:v>
                </c:pt>
                <c:pt idx="2">
                  <c:v>0.09197154762224323</c:v>
                </c:pt>
                <c:pt idx="3">
                  <c:v>0.06541164413125178</c:v>
                </c:pt>
                <c:pt idx="4">
                  <c:v>0.061873565999110994</c:v>
                </c:pt>
                <c:pt idx="5">
                  <c:v>0.05800222583452391</c:v>
                </c:pt>
                <c:pt idx="6">
                  <c:v>0.03910079596103336</c:v>
                </c:pt>
                <c:pt idx="7">
                  <c:v>0.03487746107910914</c:v>
                </c:pt>
                <c:pt idx="8">
                  <c:v>0.03482742848929426</c:v>
                </c:pt>
                <c:pt idx="9">
                  <c:v>0.0316237501124931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Moët &amp; Chandon Réserve Impérial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2.95</c:v>
                </c:pt>
                <c:pt idx="3">
                  <c:v>47.95</c:v>
                </c:pt>
                <c:pt idx="4">
                  <c:v>49.95</c:v>
                </c:pt>
              </c:numCache>
            </c:numRef>
          </c:xVal>
          <c:yVal>
            <c:numRef>
              <c:f>Sheet1!$B$2:$B$6</c:f>
              <c:numCache>
                <c:formatCode>General</c:formatCode>
                <c:ptCount val="5"/>
                <c:pt idx="0">
                  <c:v>0.7582311616836777</c:v>
                </c:pt>
                <c:pt idx="1">
                  <c:v>0.37155467478717874</c:v>
                </c:pt>
                <c:pt idx="2">
                  <c:v>0.0</c:v>
                </c:pt>
                <c:pt idx="3">
                  <c:v>-0.29364934546691834</c:v>
                </c:pt>
                <c:pt idx="4">
                  <c:v>-0.3628452567527984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95"/>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Veuve Clicquot Réserve Cuvé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6.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1.178105584622102</c:v>
                </c:pt>
                <c:pt idx="1">
                  <c:v>0.2976010877691327</c:v>
                </c:pt>
                <c:pt idx="2">
                  <c:v>0.0</c:v>
                </c:pt>
                <c:pt idx="3">
                  <c:v>-0.3483253720940183</c:v>
                </c:pt>
                <c:pt idx="4">
                  <c:v>-0.43517085788552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errier-Jouët Blanc Grand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0.7262419152598383</c:v>
                </c:pt>
                <c:pt idx="1">
                  <c:v>0.1677813356185631</c:v>
                </c:pt>
                <c:pt idx="2">
                  <c:v>0.0</c:v>
                </c:pt>
                <c:pt idx="3">
                  <c:v>-0.261439290840776</c:v>
                </c:pt>
                <c:pt idx="4">
                  <c:v>-0.341024645579508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iper-Heidsieck Essential by Nicolas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1.3523887016327043</c:v>
                </c:pt>
                <c:pt idx="1">
                  <c:v>0.8529484433743229</c:v>
                </c:pt>
                <c:pt idx="2">
                  <c:v>0.0</c:v>
                </c:pt>
                <c:pt idx="3">
                  <c:v>-0.42265788363113704</c:v>
                </c:pt>
                <c:pt idx="4">
                  <c:v>-0.635314100094377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ol Roger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7.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1.3762084727264607</c:v>
                </c:pt>
                <c:pt idx="1">
                  <c:v>0.3066592524142434</c:v>
                </c:pt>
                <c:pt idx="2">
                  <c:v>0.0</c:v>
                </c:pt>
                <c:pt idx="3">
                  <c:v>-0.2372300919104242</c:v>
                </c:pt>
                <c:pt idx="4">
                  <c:v>-0.30875048289951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ouis Roederer Brut Collection 24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0</c:v>
                </c:pt>
                <c:pt idx="3">
                  <c:v>65.0</c:v>
                </c:pt>
                <c:pt idx="4">
                  <c:v>69.0</c:v>
                </c:pt>
              </c:numCache>
            </c:numRef>
          </c:xVal>
          <c:yVal>
            <c:numRef>
              <c:f>Sheet1!$B$2:$B$6</c:f>
              <c:numCache>
                <c:formatCode>General</c:formatCode>
                <c:ptCount val="5"/>
                <c:pt idx="0">
                  <c:v>0.5723012723331117</c:v>
                </c:pt>
                <c:pt idx="1">
                  <c:v>0.12158491637986214</c:v>
                </c:pt>
                <c:pt idx="2">
                  <c:v>0.0</c:v>
                </c:pt>
                <c:pt idx="3">
                  <c:v>-0.2030139002665694</c:v>
                </c:pt>
                <c:pt idx="4">
                  <c:v>-0.298035720816782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0"/>
          <c:min val="4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Taittinger Prestige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7.95</c:v>
                </c:pt>
                <c:pt idx="1">
                  <c:v>42.95</c:v>
                </c:pt>
                <c:pt idx="2">
                  <c:v>47.95</c:v>
                </c:pt>
                <c:pt idx="3">
                  <c:v>54.95</c:v>
                </c:pt>
                <c:pt idx="4">
                  <c:v>59.0</c:v>
                </c:pt>
              </c:numCache>
            </c:numRef>
          </c:xVal>
          <c:yVal>
            <c:numRef>
              <c:f>Sheet1!$B$2:$B$6</c:f>
              <c:numCache>
                <c:formatCode>General</c:formatCode>
                <c:ptCount val="5"/>
                <c:pt idx="0">
                  <c:v>0.9994659155786081</c:v>
                </c:pt>
                <c:pt idx="1">
                  <c:v>0.35564032343241886</c:v>
                </c:pt>
                <c:pt idx="2">
                  <c:v>0.0</c:v>
                </c:pt>
                <c:pt idx="3">
                  <c:v>-0.4339805445603997</c:v>
                </c:pt>
                <c:pt idx="4">
                  <c:v>-0.50885672967335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Taittinger Prestige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0</c:v>
                </c:pt>
                <c:pt idx="1">
                  <c:v>85.0</c:v>
                </c:pt>
                <c:pt idx="2">
                  <c:v>95.0</c:v>
                </c:pt>
                <c:pt idx="3">
                  <c:v>99.0</c:v>
                </c:pt>
                <c:pt idx="4">
                  <c:v>109.0</c:v>
                </c:pt>
              </c:numCache>
            </c:numRef>
          </c:xVal>
          <c:yVal>
            <c:numRef>
              <c:f>Sheet1!$B$9:$B$13</c:f>
              <c:numCache>
                <c:formatCode>General</c:formatCode>
                <c:ptCount val="5"/>
                <c:pt idx="0">
                  <c:v>0.45884903746228767</c:v>
                </c:pt>
                <c:pt idx="1">
                  <c:v>0.20824813851716512</c:v>
                </c:pt>
                <c:pt idx="2">
                  <c:v>0.0</c:v>
                </c:pt>
                <c:pt idx="3">
                  <c:v>-0.07355004941026218</c:v>
                </c:pt>
                <c:pt idx="4">
                  <c:v>-0.1564262297737544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9.0"/>
          <c:min val="3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Feuillatte Extra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7.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2.95</c:v>
                </c:pt>
                <c:pt idx="3">
                  <c:v>47.95</c:v>
                </c:pt>
                <c:pt idx="4">
                  <c:v>49.95</c:v>
                </c:pt>
              </c:numCache>
            </c:numRef>
          </c:xVal>
          <c:yVal>
            <c:numRef>
              <c:f>Sheet1!$B$2:$B$6</c:f>
              <c:numCache>
                <c:formatCode>General</c:formatCode>
                <c:ptCount val="5"/>
                <c:pt idx="0">
                  <c:v>1.2442315606433458</c:v>
                </c:pt>
                <c:pt idx="1">
                  <c:v>0.5319348730290924</c:v>
                </c:pt>
                <c:pt idx="2">
                  <c:v>0.0</c:v>
                </c:pt>
                <c:pt idx="3">
                  <c:v>-0.3398745008946213</c:v>
                </c:pt>
                <c:pt idx="4">
                  <c:v>-0.4090099293868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Nicolas Feuillatte Réserve Exclusive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95</c:v>
                </c:pt>
                <c:pt idx="1">
                  <c:v>30.95</c:v>
                </c:pt>
                <c:pt idx="2">
                  <c:v>33.95</c:v>
                </c:pt>
                <c:pt idx="3">
                  <c:v>37.95</c:v>
                </c:pt>
                <c:pt idx="4">
                  <c:v>39.95</c:v>
                </c:pt>
              </c:numCache>
            </c:numRef>
          </c:xVal>
          <c:yVal>
            <c:numRef>
              <c:f>Sheet1!$B$9:$B$13</c:f>
              <c:numCache>
                <c:formatCode>General</c:formatCode>
                <c:ptCount val="5"/>
                <c:pt idx="0">
                  <c:v>0.9149215384717142</c:v>
                </c:pt>
                <c:pt idx="1">
                  <c:v>0.34054642340091124</c:v>
                </c:pt>
                <c:pt idx="2">
                  <c:v>0.0</c:v>
                </c:pt>
                <c:pt idx="3">
                  <c:v>-0.27346174094548054</c:v>
                </c:pt>
                <c:pt idx="4">
                  <c:v>-0.361745770079553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Nicolas Feuillatte Réserve Exclusive Brut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4.95</c:v>
                </c:pt>
                <c:pt idx="1">
                  <c:v>59.0</c:v>
                </c:pt>
                <c:pt idx="2">
                  <c:v>69.0</c:v>
                </c:pt>
                <c:pt idx="3">
                  <c:v>75.0</c:v>
                </c:pt>
                <c:pt idx="4">
                  <c:v>85.0</c:v>
                </c:pt>
              </c:numCache>
            </c:numRef>
          </c:xVal>
          <c:yVal>
            <c:numRef>
              <c:f>Sheet1!$B$16:$B$20</c:f>
              <c:numCache>
                <c:formatCode>General</c:formatCode>
                <c:ptCount val="5"/>
                <c:pt idx="0">
                  <c:v>0.7121516906898393</c:v>
                </c:pt>
                <c:pt idx="1">
                  <c:v>0.5055438591078749</c:v>
                </c:pt>
                <c:pt idx="2">
                  <c:v>0.0</c:v>
                </c:pt>
                <c:pt idx="3">
                  <c:v>-0.21414425579351598</c:v>
                </c:pt>
                <c:pt idx="4">
                  <c:v>-0.3599675190853688</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Nicolas Feuillatte Réserve Exclusive Rosé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29.95</c:v>
                </c:pt>
                <c:pt idx="1">
                  <c:v>33.95</c:v>
                </c:pt>
                <c:pt idx="2">
                  <c:v>37.95</c:v>
                </c:pt>
                <c:pt idx="3">
                  <c:v>39.95</c:v>
                </c:pt>
                <c:pt idx="4">
                  <c:v>44.95</c:v>
                </c:pt>
              </c:numCache>
            </c:numRef>
          </c:xVal>
          <c:yVal>
            <c:numRef>
              <c:f>Sheet1!$B$23:$B$27</c:f>
              <c:numCache>
                <c:formatCode>General</c:formatCode>
                <c:ptCount val="5"/>
                <c:pt idx="0">
                  <c:v>1.038248683050411</c:v>
                </c:pt>
                <c:pt idx="1">
                  <c:v>0.3668639452175014</c:v>
                </c:pt>
                <c:pt idx="2">
                  <c:v>0.0</c:v>
                </c:pt>
                <c:pt idx="3">
                  <c:v>-0.11757589064163557</c:v>
                </c:pt>
                <c:pt idx="4">
                  <c:v>-0.51799572055663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5.0"/>
          <c:min val="2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 Saint-Gall Tradition 1er Cru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95</c:v>
                </c:pt>
                <c:pt idx="1">
                  <c:v>30.95</c:v>
                </c:pt>
                <c:pt idx="2">
                  <c:v>33.95</c:v>
                </c:pt>
                <c:pt idx="3">
                  <c:v>37.95</c:v>
                </c:pt>
                <c:pt idx="4">
                  <c:v>39.95</c:v>
                </c:pt>
              </c:numCache>
            </c:numRef>
          </c:xVal>
          <c:yVal>
            <c:numRef>
              <c:f>Sheet1!$B$2:$B$6</c:f>
              <c:numCache>
                <c:formatCode>General</c:formatCode>
                <c:ptCount val="5"/>
                <c:pt idx="0">
                  <c:v>1.0494541825725965</c:v>
                </c:pt>
                <c:pt idx="1">
                  <c:v>0.3486637639815391</c:v>
                </c:pt>
                <c:pt idx="2">
                  <c:v>0.0</c:v>
                </c:pt>
                <c:pt idx="3">
                  <c:v>-0.2564390964707666</c:v>
                </c:pt>
                <c:pt idx="4">
                  <c:v>-0.338493233932768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2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 Venoge Cordon Bleu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8.95</c:v>
                </c:pt>
                <c:pt idx="1">
                  <c:v>21.5</c:v>
                </c:pt>
                <c:pt idx="2">
                  <c:v>23.95</c:v>
                </c:pt>
                <c:pt idx="3">
                  <c:v>25.95</c:v>
                </c:pt>
                <c:pt idx="4">
                  <c:v>28.95</c:v>
                </c:pt>
              </c:numCache>
            </c:numRef>
          </c:xVal>
          <c:yVal>
            <c:numRef>
              <c:f>Sheet1!$B$2:$B$6</c:f>
              <c:numCache>
                <c:formatCode>General</c:formatCode>
                <c:ptCount val="5"/>
                <c:pt idx="0">
                  <c:v>0.4061657978346876</c:v>
                </c:pt>
                <c:pt idx="1">
                  <c:v>0.15263911265657068</c:v>
                </c:pt>
                <c:pt idx="2">
                  <c:v>0.0</c:v>
                </c:pt>
                <c:pt idx="3">
                  <c:v>-0.18610903912835547</c:v>
                </c:pt>
                <c:pt idx="4">
                  <c:v>-0.452896234954590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 Venoge Cordon Bleu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c:v>
                </c:pt>
                <c:pt idx="1">
                  <c:v>39.95</c:v>
                </c:pt>
                <c:pt idx="2">
                  <c:v>42.95</c:v>
                </c:pt>
                <c:pt idx="3">
                  <c:v>47.95</c:v>
                </c:pt>
                <c:pt idx="4">
                  <c:v>49.95</c:v>
                </c:pt>
              </c:numCache>
            </c:numRef>
          </c:xVal>
          <c:yVal>
            <c:numRef>
              <c:f>Sheet1!$B$9:$B$13</c:f>
              <c:numCache>
                <c:formatCode>General</c:formatCode>
                <c:ptCount val="5"/>
                <c:pt idx="0">
                  <c:v>0.9901173596992298</c:v>
                </c:pt>
                <c:pt idx="1">
                  <c:v>0.3405100263061873</c:v>
                </c:pt>
                <c:pt idx="2">
                  <c:v>0.0</c:v>
                </c:pt>
                <c:pt idx="3">
                  <c:v>-0.23522732545278113</c:v>
                </c:pt>
                <c:pt idx="4">
                  <c:v>-0.288573577629506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95"/>
          <c:min val="1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Venog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Deutz (4.8%)</c:v>
                </c:pt>
                <c:pt idx="2">
                  <c:v>Malard (6.0%)</c:v>
                </c:pt>
                <c:pt idx="3">
                  <c:v>Heidsieck &amp; C° Monopole (4.2%)</c:v>
                </c:pt>
                <c:pt idx="4">
                  <c:v>Besserat De Bellefon (2.0%)</c:v>
                </c:pt>
                <c:pt idx="5">
                  <c:v>Nicolas Feuillatte (4.5%)</c:v>
                </c:pt>
                <c:pt idx="6">
                  <c:v>Ruinart (12.8%)</c:v>
                </c:pt>
                <c:pt idx="7">
                  <c:v>Laurent Perrier (3.9%)</c:v>
                </c:pt>
                <c:pt idx="8">
                  <c:v>Demoiselle (3.5%)</c:v>
                </c:pt>
                <c:pt idx="9">
                  <c:v>Vesselle (1.0%)</c:v>
                </c:pt>
              </c:strCache>
            </c:strRef>
          </c:cat>
          <c:val>
            <c:numRef>
              <c:f>Sheet1!$B$2:$B$11</c:f>
              <c:numCache>
                <c:formatCode>General</c:formatCode>
                <c:ptCount val="10"/>
                <c:pt idx="0">
                  <c:v>0.1663260277496444</c:v>
                </c:pt>
                <c:pt idx="1">
                  <c:v>0.08318909091971881</c:v>
                </c:pt>
                <c:pt idx="2">
                  <c:v>0.0791564955387996</c:v>
                </c:pt>
                <c:pt idx="3">
                  <c:v>0.062456262142973125</c:v>
                </c:pt>
                <c:pt idx="4">
                  <c:v>0.05346385485678936</c:v>
                </c:pt>
                <c:pt idx="5">
                  <c:v>0.0429538748174916</c:v>
                </c:pt>
                <c:pt idx="6">
                  <c:v>0.04026380686081022</c:v>
                </c:pt>
                <c:pt idx="7">
                  <c:v>0.03948717431311275</c:v>
                </c:pt>
                <c:pt idx="8">
                  <c:v>0.03706411817152331</c:v>
                </c:pt>
                <c:pt idx="9">
                  <c:v>0.0265145151020026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Georges Vesselle Grand Cru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95</c:v>
                </c:pt>
                <c:pt idx="1">
                  <c:v>29.95</c:v>
                </c:pt>
                <c:pt idx="2">
                  <c:v>32.95</c:v>
                </c:pt>
                <c:pt idx="3">
                  <c:v>34.95</c:v>
                </c:pt>
                <c:pt idx="4">
                  <c:v>39.95</c:v>
                </c:pt>
              </c:numCache>
            </c:numRef>
          </c:xVal>
          <c:yVal>
            <c:numRef>
              <c:f>Sheet1!$B$2:$B$6</c:f>
              <c:numCache>
                <c:formatCode>General</c:formatCode>
                <c:ptCount val="5"/>
                <c:pt idx="0">
                  <c:v>1.436275590442226</c:v>
                </c:pt>
                <c:pt idx="1">
                  <c:v>0.5703890246236151</c:v>
                </c:pt>
                <c:pt idx="2">
                  <c:v>0.0</c:v>
                </c:pt>
                <c:pt idx="3">
                  <c:v>-0.2179016027502736</c:v>
                </c:pt>
                <c:pt idx="4">
                  <c:v>-0.530290083471358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25.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Vranken Demoiselle Rosé Prestig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0.575400448839186</c:v>
                </c:pt>
                <c:pt idx="1">
                  <c:v>0.24528064742841943</c:v>
                </c:pt>
                <c:pt idx="2">
                  <c:v>0.0</c:v>
                </c:pt>
                <c:pt idx="3">
                  <c:v>-0.23905985552416864</c:v>
                </c:pt>
                <c:pt idx="4">
                  <c:v>-0.42048537050457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Vranken Demoiselle Tête de Cuvé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5.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95</c:v>
                </c:pt>
                <c:pt idx="1">
                  <c:v>34.95</c:v>
                </c:pt>
                <c:pt idx="2">
                  <c:v>39.95</c:v>
                </c:pt>
                <c:pt idx="3">
                  <c:v>42.95</c:v>
                </c:pt>
                <c:pt idx="4">
                  <c:v>47.95</c:v>
                </c:pt>
              </c:numCache>
            </c:numRef>
          </c:xVal>
          <c:yVal>
            <c:numRef>
              <c:f>Sheet1!$B$9:$B$13</c:f>
              <c:numCache>
                <c:formatCode>General</c:formatCode>
                <c:ptCount val="5"/>
                <c:pt idx="0">
                  <c:v>1.1283378226834524</c:v>
                </c:pt>
                <c:pt idx="1">
                  <c:v>0.595668828760402</c:v>
                </c:pt>
                <c:pt idx="2">
                  <c:v>0.0</c:v>
                </c:pt>
                <c:pt idx="3">
                  <c:v>-0.3769100609789848</c:v>
                </c:pt>
                <c:pt idx="4">
                  <c:v>-0.60394353908842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Heidsieck Monopole Silver Top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5.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0.6583545122931252</c:v>
                </c:pt>
                <c:pt idx="1">
                  <c:v>0.23893001997646743</c:v>
                </c:pt>
                <c:pt idx="2">
                  <c:v>0.0</c:v>
                </c:pt>
                <c:pt idx="3">
                  <c:v>-0.3812492993132074</c:v>
                </c:pt>
                <c:pt idx="4">
                  <c:v>-0.646030508529590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ommery Brut Silver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7.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4.95</c:v>
                </c:pt>
                <c:pt idx="3">
                  <c:v>49.95</c:v>
                </c:pt>
                <c:pt idx="4">
                  <c:v>54.95</c:v>
                </c:pt>
              </c:numCache>
            </c:numRef>
          </c:xVal>
          <c:yVal>
            <c:numRef>
              <c:f>Sheet1!$B$2:$B$6</c:f>
              <c:numCache>
                <c:formatCode>General</c:formatCode>
                <c:ptCount val="5"/>
                <c:pt idx="0">
                  <c:v>1.7515889094051298</c:v>
                </c:pt>
                <c:pt idx="1">
                  <c:v>0.8529562107064612</c:v>
                </c:pt>
                <c:pt idx="2">
                  <c:v>0.0</c:v>
                </c:pt>
                <c:pt idx="3">
                  <c:v>-0.2598320717512335</c:v>
                </c:pt>
                <c:pt idx="4">
                  <c:v>-0.528421288747679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lairette de Die Cuvée Dea Augusta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95</c:v>
                </c:pt>
                <c:pt idx="1">
                  <c:v>9.95</c:v>
                </c:pt>
                <c:pt idx="2">
                  <c:v>10.95</c:v>
                </c:pt>
                <c:pt idx="3">
                  <c:v>11.95</c:v>
                </c:pt>
                <c:pt idx="4">
                  <c:v>12.95</c:v>
                </c:pt>
              </c:numCache>
            </c:numRef>
          </c:xVal>
          <c:yVal>
            <c:numRef>
              <c:f>Sheet1!$B$2:$B$6</c:f>
              <c:numCache>
                <c:formatCode>General</c:formatCode>
                <c:ptCount val="5"/>
                <c:pt idx="0">
                  <c:v>0.7264627641399176</c:v>
                </c:pt>
                <c:pt idx="1">
                  <c:v>0.2696003093242995</c:v>
                </c:pt>
                <c:pt idx="2">
                  <c:v>0.0</c:v>
                </c:pt>
                <c:pt idx="3">
                  <c:v>-0.16618180348181563</c:v>
                </c:pt>
                <c:pt idx="4">
                  <c:v>-0.286245419237251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95"/>
          <c:min val="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rémant de Loire De Chanceny Brut 201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5</c:v>
                </c:pt>
                <c:pt idx="1">
                  <c:v>12.95</c:v>
                </c:pt>
                <c:pt idx="2">
                  <c:v>14.5</c:v>
                </c:pt>
                <c:pt idx="3">
                  <c:v>15.95</c:v>
                </c:pt>
                <c:pt idx="4">
                  <c:v>17.5</c:v>
                </c:pt>
              </c:numCache>
            </c:numRef>
          </c:xVal>
          <c:yVal>
            <c:numRef>
              <c:f>Sheet1!$B$2:$B$6</c:f>
              <c:numCache>
                <c:formatCode>General</c:formatCode>
                <c:ptCount val="5"/>
                <c:pt idx="0">
                  <c:v>0.47139039408805783</c:v>
                </c:pt>
                <c:pt idx="1">
                  <c:v>0.18895268602528126</c:v>
                </c:pt>
                <c:pt idx="2">
                  <c:v>0.0</c:v>
                </c:pt>
                <c:pt idx="3">
                  <c:v>-0.1373242487013679</c:v>
                </c:pt>
                <c:pt idx="4">
                  <c:v>-0.2703083635668581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rémant Saumur Bouvet Cuvée Saphir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9.5</c:v>
                </c:pt>
                <c:pt idx="1">
                  <c:v>10.95</c:v>
                </c:pt>
                <c:pt idx="2">
                  <c:v>11.95</c:v>
                </c:pt>
                <c:pt idx="3">
                  <c:v>12.95</c:v>
                </c:pt>
                <c:pt idx="4">
                  <c:v>13.95</c:v>
                </c:pt>
              </c:numCache>
            </c:numRef>
          </c:xVal>
          <c:yVal>
            <c:numRef>
              <c:f>Sheet1!$B$9:$B$13</c:f>
              <c:numCache>
                <c:formatCode>General</c:formatCode>
                <c:ptCount val="5"/>
                <c:pt idx="0">
                  <c:v>0.6042559919551674</c:v>
                </c:pt>
                <c:pt idx="1">
                  <c:v>0.15623559551156485</c:v>
                </c:pt>
                <c:pt idx="2">
                  <c:v>0.0</c:v>
                </c:pt>
                <c:pt idx="3">
                  <c:v>-0.11306814416443885</c:v>
                </c:pt>
                <c:pt idx="4">
                  <c:v>-0.1998191241147402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rémant de Bordeaux La Maqueline Brut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95</c:v>
                </c:pt>
                <c:pt idx="1">
                  <c:v>10.5</c:v>
                </c:pt>
                <c:pt idx="2">
                  <c:v>11.5</c:v>
                </c:pt>
                <c:pt idx="3">
                  <c:v>12.5</c:v>
                </c:pt>
                <c:pt idx="4">
                  <c:v>13.95</c:v>
                </c:pt>
              </c:numCache>
            </c:numRef>
          </c:xVal>
          <c:yVal>
            <c:numRef>
              <c:f>Sheet1!$B$16:$B$20</c:f>
              <c:numCache>
                <c:formatCode>General</c:formatCode>
                <c:ptCount val="5"/>
                <c:pt idx="0">
                  <c:v>0.8878234133423207</c:v>
                </c:pt>
                <c:pt idx="1">
                  <c:v>0.22102168943956868</c:v>
                </c:pt>
                <c:pt idx="2">
                  <c:v>0.0</c:v>
                </c:pt>
                <c:pt idx="3">
                  <c:v>-0.1538077692998808</c:v>
                </c:pt>
                <c:pt idx="4">
                  <c:v>-0.2857538978975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rémant de Bourgogne Patriarche Rosé Brut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1.5</c:v>
                </c:pt>
                <c:pt idx="1">
                  <c:v>12.95</c:v>
                </c:pt>
                <c:pt idx="2">
                  <c:v>14.5</c:v>
                </c:pt>
                <c:pt idx="3">
                  <c:v>15.95</c:v>
                </c:pt>
                <c:pt idx="4">
                  <c:v>17.5</c:v>
                </c:pt>
              </c:numCache>
            </c:numRef>
          </c:xVal>
          <c:yVal>
            <c:numRef>
              <c:f>Sheet1!$B$23:$B$27</c:f>
              <c:numCache>
                <c:formatCode>General</c:formatCode>
                <c:ptCount val="5"/>
                <c:pt idx="0">
                  <c:v>0.4051628835089987</c:v>
                </c:pt>
                <c:pt idx="1">
                  <c:v>0.16564032416628657</c:v>
                </c:pt>
                <c:pt idx="2">
                  <c:v>0.0</c:v>
                </c:pt>
                <c:pt idx="3">
                  <c:v>-0.12293338150351553</c:v>
                </c:pt>
                <c:pt idx="4">
                  <c:v>-0.2356689857515952</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rémant de Bourgogne Patriarche Brut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0.95</c:v>
                </c:pt>
                <c:pt idx="1">
                  <c:v>12.5</c:v>
                </c:pt>
                <c:pt idx="2">
                  <c:v>13.95</c:v>
                </c:pt>
                <c:pt idx="3">
                  <c:v>14.95</c:v>
                </c:pt>
                <c:pt idx="4">
                  <c:v>16.95</c:v>
                </c:pt>
              </c:numCache>
            </c:numRef>
          </c:xVal>
          <c:yVal>
            <c:numRef>
              <c:f>Sheet1!$B$30:$B$34</c:f>
              <c:numCache>
                <c:formatCode>General</c:formatCode>
                <c:ptCount val="5"/>
                <c:pt idx="0">
                  <c:v>0.43949401359226287</c:v>
                </c:pt>
                <c:pt idx="1">
                  <c:v>0.1526032636361227</c:v>
                </c:pt>
                <c:pt idx="2">
                  <c:v>0.0</c:v>
                </c:pt>
                <c:pt idx="3">
                  <c:v>-0.08688608528645234</c:v>
                </c:pt>
                <c:pt idx="4">
                  <c:v>-0.2386949386255216</c:v>
                </c:pt>
              </c:numCache>
            </c:numRef>
          </c:yVal>
          <c:smooth val="0"/>
          <c:extLst>
            <c:ext xmlns:c16="http://schemas.microsoft.com/office/drawing/2014/chart" uri="{C3380CC4-5D6E-409C-BE32-E72D297353CC}">
              <c16:uniqueId val="{0000007D-1ABB-4592-8776-98B59FCA8F1B}"/>
            </c:ext>
          </c:extLst>
        </c:ser>
        <c:ser>
          <c:idx val="7"/>
          <c:order val="5"/>
          <c:tx>
            <c:strRef>
              <c:f>Sheet1!$B$36</c:f>
              <c:strCache>
                <c:ptCount val="1"/>
                <c:pt idx="0">
                  <c:v>Crémant d'Alsace Muré Prestige Bio 750ml</c:v>
                </c:pt>
              </c:strCache>
            </c:strRef>
          </c:tx>
          <c:spPr>
            <a:ln w="19050" cap="rnd">
              <a:solidFill>
                <a:srgbClr val="B8B60D"/>
              </a:solidFill>
              <a:round/>
            </a:ln>
            <a:effectLst/>
          </c:spPr>
          <c:marker>
            <c:symbol val="circle"/>
            <c:size val="5"/>
            <c:spPr>
              <a:solidFill>
                <a:srgbClr val="B8B60D"/>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7:$A$41</c:f>
              <c:numCache>
                <c:formatCode>General</c:formatCode>
                <c:ptCount val="5"/>
                <c:pt idx="0">
                  <c:v>13.95</c:v>
                </c:pt>
                <c:pt idx="1">
                  <c:v>15.95</c:v>
                </c:pt>
                <c:pt idx="2">
                  <c:v>17.5</c:v>
                </c:pt>
                <c:pt idx="3">
                  <c:v>18.95</c:v>
                </c:pt>
                <c:pt idx="4">
                  <c:v>20.95</c:v>
                </c:pt>
              </c:numCache>
            </c:numRef>
          </c:xVal>
          <c:yVal>
            <c:numRef>
              <c:f>Sheet1!$B$37:$B$41</c:f>
              <c:numCache>
                <c:formatCode>General</c:formatCode>
                <c:ptCount val="5"/>
                <c:pt idx="0">
                  <c:v>0.5232929007745056</c:v>
                </c:pt>
                <c:pt idx="1">
                  <c:v>0.20639046238993994</c:v>
                </c:pt>
                <c:pt idx="2">
                  <c:v>0.0</c:v>
                </c:pt>
                <c:pt idx="3">
                  <c:v>-0.14996484990618889</c:v>
                </c:pt>
                <c:pt idx="4">
                  <c:v>-0.292715348864229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0.95"/>
          <c:min val="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rémant de Bourgogne Louis Picamelot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5</c:v>
                </c:pt>
                <c:pt idx="1">
                  <c:v>12.95</c:v>
                </c:pt>
                <c:pt idx="2">
                  <c:v>14.5</c:v>
                </c:pt>
                <c:pt idx="3">
                  <c:v>15.95</c:v>
                </c:pt>
                <c:pt idx="4">
                  <c:v>17.5</c:v>
                </c:pt>
              </c:numCache>
            </c:numRef>
          </c:xVal>
          <c:yVal>
            <c:numRef>
              <c:f>Sheet1!$B$2:$B$6</c:f>
              <c:numCache>
                <c:formatCode>General</c:formatCode>
                <c:ptCount val="5"/>
                <c:pt idx="0">
                  <c:v>0.4136593196177543</c:v>
                </c:pt>
                <c:pt idx="1">
                  <c:v>0.168626449701957</c:v>
                </c:pt>
                <c:pt idx="2">
                  <c:v>0.0</c:v>
                </c:pt>
                <c:pt idx="3">
                  <c:v>-0.12446590111992963</c:v>
                </c:pt>
                <c:pt idx="4">
                  <c:v>-0.240899668275411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rémant d'Alsace Wolfberger AOP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95</c:v>
                </c:pt>
                <c:pt idx="1">
                  <c:v>6.95</c:v>
                </c:pt>
                <c:pt idx="2">
                  <c:v>7.5</c:v>
                </c:pt>
                <c:pt idx="3">
                  <c:v>8.5</c:v>
                </c:pt>
                <c:pt idx="4">
                  <c:v>8.95</c:v>
                </c:pt>
              </c:numCache>
            </c:numRef>
          </c:xVal>
          <c:yVal>
            <c:numRef>
              <c:f>Sheet1!$B$9:$B$13</c:f>
              <c:numCache>
                <c:formatCode>General</c:formatCode>
                <c:ptCount val="5"/>
                <c:pt idx="0">
                  <c:v>0.14131891627538948</c:v>
                </c:pt>
                <c:pt idx="1">
                  <c:v>0.04722184616475863</c:v>
                </c:pt>
                <c:pt idx="2">
                  <c:v>0.0</c:v>
                </c:pt>
                <c:pt idx="3">
                  <c:v>-0.07899470731839277</c:v>
                </c:pt>
                <c:pt idx="4">
                  <c:v>-0.1675445441231943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Prosecco Riccadonna Extra Dry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5</c:v>
                </c:pt>
                <c:pt idx="1">
                  <c:v>6.5</c:v>
                </c:pt>
                <c:pt idx="2">
                  <c:v>6.95</c:v>
                </c:pt>
                <c:pt idx="3">
                  <c:v>7.5</c:v>
                </c:pt>
                <c:pt idx="4">
                  <c:v>8.5</c:v>
                </c:pt>
              </c:numCache>
            </c:numRef>
          </c:xVal>
          <c:yVal>
            <c:numRef>
              <c:f>Sheet1!$B$16:$B$20</c:f>
              <c:numCache>
                <c:formatCode>General</c:formatCode>
                <c:ptCount val="5"/>
                <c:pt idx="0">
                  <c:v>0.13446040201565831</c:v>
                </c:pt>
                <c:pt idx="1">
                  <c:v>0.039563816745439684</c:v>
                </c:pt>
                <c:pt idx="2">
                  <c:v>0.0</c:v>
                </c:pt>
                <c:pt idx="3">
                  <c:v>-0.045981156007016216</c:v>
                </c:pt>
                <c:pt idx="4">
                  <c:v>-0.1233089794576264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Prosecco Mionetto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5</c:v>
                </c:pt>
                <c:pt idx="1">
                  <c:v>7.5</c:v>
                </c:pt>
                <c:pt idx="2">
                  <c:v>7.95</c:v>
                </c:pt>
                <c:pt idx="3">
                  <c:v>8.95</c:v>
                </c:pt>
                <c:pt idx="4">
                  <c:v>9.5</c:v>
                </c:pt>
              </c:numCache>
            </c:numRef>
          </c:xVal>
          <c:yVal>
            <c:numRef>
              <c:f>Sheet1!$B$23:$B$27</c:f>
              <c:numCache>
                <c:formatCode>General</c:formatCode>
                <c:ptCount val="5"/>
                <c:pt idx="0">
                  <c:v>0.13394540195385438</c:v>
                </c:pt>
                <c:pt idx="1">
                  <c:v>0.039136573810078824</c:v>
                </c:pt>
                <c:pt idx="2">
                  <c:v>0.0</c:v>
                </c:pt>
                <c:pt idx="3">
                  <c:v>-0.12235579127214696</c:v>
                </c:pt>
                <c:pt idx="4">
                  <c:v>-0.2149050134324265</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Prosecco Bottega Gold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9.95</c:v>
                </c:pt>
                <c:pt idx="1">
                  <c:v>22.5</c:v>
                </c:pt>
                <c:pt idx="2">
                  <c:v>24.95</c:v>
                </c:pt>
                <c:pt idx="3">
                  <c:v>26.95</c:v>
                </c:pt>
                <c:pt idx="4">
                  <c:v>29.95</c:v>
                </c:pt>
              </c:numCache>
            </c:numRef>
          </c:xVal>
          <c:yVal>
            <c:numRef>
              <c:f>Sheet1!$B$30:$B$34</c:f>
              <c:numCache>
                <c:formatCode>General</c:formatCode>
                <c:ptCount val="5"/>
                <c:pt idx="0">
                  <c:v>0.2993470710398767</c:v>
                </c:pt>
                <c:pt idx="1">
                  <c:v>0.13287955043309124</c:v>
                </c:pt>
                <c:pt idx="2">
                  <c:v>0.0</c:v>
                </c:pt>
                <c:pt idx="3">
                  <c:v>-0.2009329608512727</c:v>
                </c:pt>
                <c:pt idx="4">
                  <c:v>-0.40830803378688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95"/>
          <c:min val="5.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Mousseux Château Moncontour Brut Vouvray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5</c:v>
                </c:pt>
                <c:pt idx="1">
                  <c:v>10.95</c:v>
                </c:pt>
                <c:pt idx="2">
                  <c:v>11.95</c:v>
                </c:pt>
                <c:pt idx="3">
                  <c:v>12.95</c:v>
                </c:pt>
                <c:pt idx="4">
                  <c:v>13.95</c:v>
                </c:pt>
              </c:numCache>
            </c:numRef>
          </c:xVal>
          <c:yVal>
            <c:numRef>
              <c:f>Sheet1!$B$2:$B$6</c:f>
              <c:numCache>
                <c:formatCode>General</c:formatCode>
                <c:ptCount val="5"/>
                <c:pt idx="0">
                  <c:v>0.34162329926064644</c:v>
                </c:pt>
                <c:pt idx="1">
                  <c:v>0.08937762693534204</c:v>
                </c:pt>
                <c:pt idx="2">
                  <c:v>0.0</c:v>
                </c:pt>
                <c:pt idx="3">
                  <c:v>-0.07794450215959074</c:v>
                </c:pt>
                <c:pt idx="4">
                  <c:v>-0.152160693622875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Mousseux Vouvray Domaine du Petit Coteau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95</c:v>
                </c:pt>
                <c:pt idx="1">
                  <c:v>12.5</c:v>
                </c:pt>
                <c:pt idx="2">
                  <c:v>13.95</c:v>
                </c:pt>
                <c:pt idx="3">
                  <c:v>14.95</c:v>
                </c:pt>
                <c:pt idx="4">
                  <c:v>16.95</c:v>
                </c:pt>
              </c:numCache>
            </c:numRef>
          </c:xVal>
          <c:yVal>
            <c:numRef>
              <c:f>Sheet1!$B$9:$B$13</c:f>
              <c:numCache>
                <c:formatCode>General</c:formatCode>
                <c:ptCount val="5"/>
                <c:pt idx="0">
                  <c:v>0.3253049995845935</c:v>
                </c:pt>
                <c:pt idx="1">
                  <c:v>0.13009211481818186</c:v>
                </c:pt>
                <c:pt idx="2">
                  <c:v>0.0</c:v>
                </c:pt>
                <c:pt idx="3">
                  <c:v>-0.0755514897469805</c:v>
                </c:pt>
                <c:pt idx="4">
                  <c:v>-0.2024923208239774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Mousseux Les Grumes Bulles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95</c:v>
                </c:pt>
                <c:pt idx="1">
                  <c:v>5.5</c:v>
                </c:pt>
                <c:pt idx="2">
                  <c:v>5.95</c:v>
                </c:pt>
                <c:pt idx="3">
                  <c:v>6.5</c:v>
                </c:pt>
                <c:pt idx="4">
                  <c:v>6.95</c:v>
                </c:pt>
              </c:numCache>
            </c:numRef>
          </c:xVal>
          <c:yVal>
            <c:numRef>
              <c:f>Sheet1!$B$16:$B$20</c:f>
              <c:numCache>
                <c:formatCode>General</c:formatCode>
                <c:ptCount val="5"/>
                <c:pt idx="0">
                  <c:v>0.11666662665233679</c:v>
                </c:pt>
                <c:pt idx="1">
                  <c:v>0.049678654675672604</c:v>
                </c:pt>
                <c:pt idx="2">
                  <c:v>0.0</c:v>
                </c:pt>
                <c:pt idx="3">
                  <c:v>-0.0552659684274481</c:v>
                </c:pt>
                <c:pt idx="4">
                  <c:v>-0.096595497422589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Mousseux Veuve du Vernay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5</c:v>
                </c:pt>
                <c:pt idx="1">
                  <c:v>8.5</c:v>
                </c:pt>
                <c:pt idx="2">
                  <c:v>9.5</c:v>
                </c:pt>
                <c:pt idx="3">
                  <c:v>10.5</c:v>
                </c:pt>
                <c:pt idx="4">
                  <c:v>11.5</c:v>
                </c:pt>
              </c:numCache>
            </c:numRef>
          </c:xVal>
          <c:yVal>
            <c:numRef>
              <c:f>Sheet1!$B$23:$B$27</c:f>
              <c:numCache>
                <c:formatCode>General</c:formatCode>
                <c:ptCount val="5"/>
                <c:pt idx="0">
                  <c:v>0.2768394657109637</c:v>
                </c:pt>
                <c:pt idx="1">
                  <c:v>0.16337070374892512</c:v>
                </c:pt>
                <c:pt idx="2">
                  <c:v>0.0</c:v>
                </c:pt>
                <c:pt idx="3">
                  <c:v>-0.11680768532737103</c:v>
                </c:pt>
                <c:pt idx="4">
                  <c:v>-0.217794221000621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6.95"/>
          <c:min val="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Mousseux Veuve du Vernay Sans Alcool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5</c:v>
                </c:pt>
                <c:pt idx="1">
                  <c:v>8.5</c:v>
                </c:pt>
                <c:pt idx="2">
                  <c:v>9.5</c:v>
                </c:pt>
                <c:pt idx="3">
                  <c:v>10.5</c:v>
                </c:pt>
                <c:pt idx="4">
                  <c:v>11.5</c:v>
                </c:pt>
              </c:numCache>
            </c:numRef>
          </c:xVal>
          <c:yVal>
            <c:numRef>
              <c:f>Sheet1!$B$2:$B$6</c:f>
              <c:numCache>
                <c:formatCode>General</c:formatCode>
                <c:ptCount val="5"/>
                <c:pt idx="0">
                  <c:v>0.3971195693419352</c:v>
                </c:pt>
                <c:pt idx="1">
                  <c:v>0.2217067608239814</c:v>
                </c:pt>
                <c:pt idx="2">
                  <c:v>0.0</c:v>
                </c:pt>
                <c:pt idx="3">
                  <c:v>-0.13929632084754126</c:v>
                </c:pt>
                <c:pt idx="4">
                  <c:v>-0.25686897052687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Mousseux French Bloom Blanc Bio Sans Alcool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2.95</c:v>
                </c:pt>
                <c:pt idx="1">
                  <c:v>25.95</c:v>
                </c:pt>
                <c:pt idx="2">
                  <c:v>28.95</c:v>
                </c:pt>
                <c:pt idx="3">
                  <c:v>31.95</c:v>
                </c:pt>
                <c:pt idx="4">
                  <c:v>34.95</c:v>
                </c:pt>
              </c:numCache>
            </c:numRef>
          </c:xVal>
          <c:yVal>
            <c:numRef>
              <c:f>Sheet1!$B$9:$B$13</c:f>
              <c:numCache>
                <c:formatCode>General</c:formatCode>
                <c:ptCount val="5"/>
                <c:pt idx="0">
                  <c:v>0.35784066896946504</c:v>
                </c:pt>
                <c:pt idx="1">
                  <c:v>0.18376984868844887</c:v>
                </c:pt>
                <c:pt idx="2">
                  <c:v>0.0</c:v>
                </c:pt>
                <c:pt idx="3">
                  <c:v>-0.13455420552286887</c:v>
                </c:pt>
                <c:pt idx="4">
                  <c:v>-0.2333614594011456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Mousseux French Bloom Rosé Bio Sans Alcool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95</c:v>
                </c:pt>
                <c:pt idx="1">
                  <c:v>30.95</c:v>
                </c:pt>
                <c:pt idx="2">
                  <c:v>33.95</c:v>
                </c:pt>
                <c:pt idx="3">
                  <c:v>37.95</c:v>
                </c:pt>
                <c:pt idx="4">
                  <c:v>39.95</c:v>
                </c:pt>
              </c:numCache>
            </c:numRef>
          </c:xVal>
          <c:yVal>
            <c:numRef>
              <c:f>Sheet1!$B$16:$B$20</c:f>
              <c:numCache>
                <c:formatCode>General</c:formatCode>
                <c:ptCount val="5"/>
                <c:pt idx="0">
                  <c:v>0.6209491928689584</c:v>
                </c:pt>
                <c:pt idx="1">
                  <c:v>0.21755461855544725</c:v>
                </c:pt>
                <c:pt idx="2">
                  <c:v>0.0</c:v>
                </c:pt>
                <c:pt idx="3">
                  <c:v>-0.14056427132482696</c:v>
                </c:pt>
                <c:pt idx="4">
                  <c:v>-0.1871702263638016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Mousseux Lyre's Classico Sans Alcool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95</c:v>
                </c:pt>
                <c:pt idx="1">
                  <c:v>10.5</c:v>
                </c:pt>
                <c:pt idx="2">
                  <c:v>11.5</c:v>
                </c:pt>
                <c:pt idx="3">
                  <c:v>12.5</c:v>
                </c:pt>
                <c:pt idx="4">
                  <c:v>13.95</c:v>
                </c:pt>
              </c:numCache>
            </c:numRef>
          </c:xVal>
          <c:yVal>
            <c:numRef>
              <c:f>Sheet1!$B$23:$B$27</c:f>
              <c:numCache>
                <c:formatCode>General</c:formatCode>
                <c:ptCount val="5"/>
                <c:pt idx="0">
                  <c:v>0.1988444454694394</c:v>
                </c:pt>
                <c:pt idx="1">
                  <c:v>0.07927223695318102</c:v>
                </c:pt>
                <c:pt idx="2">
                  <c:v>0.0</c:v>
                </c:pt>
                <c:pt idx="3">
                  <c:v>-0.07101695894158773</c:v>
                </c:pt>
                <c:pt idx="4">
                  <c:v>-0.1717869120981854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7.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Prosecco Bottega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5</c:v>
                </c:pt>
                <c:pt idx="1">
                  <c:v>10.95</c:v>
                </c:pt>
                <c:pt idx="2">
                  <c:v>11.95</c:v>
                </c:pt>
                <c:pt idx="3">
                  <c:v>12.95</c:v>
                </c:pt>
                <c:pt idx="4">
                  <c:v>13.95</c:v>
                </c:pt>
              </c:numCache>
            </c:numRef>
          </c:xVal>
          <c:yVal>
            <c:numRef>
              <c:f>Sheet1!$B$2:$B$6</c:f>
              <c:numCache>
                <c:formatCode>General</c:formatCode>
                <c:ptCount val="5"/>
                <c:pt idx="0">
                  <c:v>0.5472339212560593</c:v>
                </c:pt>
                <c:pt idx="1">
                  <c:v>0.19902065539909447</c:v>
                </c:pt>
                <c:pt idx="2">
                  <c:v>0.0</c:v>
                </c:pt>
                <c:pt idx="3">
                  <c:v>-0.12040127983198684</c:v>
                </c:pt>
                <c:pt idx="4">
                  <c:v>-0.1885606589548687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Prosecco Bottega Rosé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95</c:v>
                </c:pt>
                <c:pt idx="1">
                  <c:v>8.95</c:v>
                </c:pt>
                <c:pt idx="2">
                  <c:v>9.95</c:v>
                </c:pt>
                <c:pt idx="3">
                  <c:v>10.95</c:v>
                </c:pt>
                <c:pt idx="4">
                  <c:v>11.95</c:v>
                </c:pt>
              </c:numCache>
            </c:numRef>
          </c:xVal>
          <c:yVal>
            <c:numRef>
              <c:f>Sheet1!$B$9:$B$13</c:f>
              <c:numCache>
                <c:formatCode>General</c:formatCode>
                <c:ptCount val="5"/>
                <c:pt idx="0">
                  <c:v>0.43014055489196995</c:v>
                </c:pt>
                <c:pt idx="1">
                  <c:v>0.22368197644953738</c:v>
                </c:pt>
                <c:pt idx="2">
                  <c:v>0.0</c:v>
                </c:pt>
                <c:pt idx="3">
                  <c:v>-0.17769411929603335</c:v>
                </c:pt>
                <c:pt idx="4">
                  <c:v>-0.3298353471764075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Prosecco Carlo V Cuvée Del Imperator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95</c:v>
                </c:pt>
                <c:pt idx="1">
                  <c:v>7.95</c:v>
                </c:pt>
                <c:pt idx="2">
                  <c:v>8.5</c:v>
                </c:pt>
                <c:pt idx="3">
                  <c:v>9.5</c:v>
                </c:pt>
                <c:pt idx="4">
                  <c:v>9.95</c:v>
                </c:pt>
              </c:numCache>
            </c:numRef>
          </c:xVal>
          <c:yVal>
            <c:numRef>
              <c:f>Sheet1!$B$16:$B$20</c:f>
              <c:numCache>
                <c:formatCode>General</c:formatCode>
                <c:ptCount val="5"/>
                <c:pt idx="0">
                  <c:v>0.14320860890283688</c:v>
                </c:pt>
                <c:pt idx="1">
                  <c:v>0.04778179161083005</c:v>
                </c:pt>
                <c:pt idx="2">
                  <c:v>0.0</c:v>
                </c:pt>
                <c:pt idx="3">
                  <c:v>-0.20165716853257584</c:v>
                </c:pt>
                <c:pt idx="4">
                  <c:v>-0.2854030579300806</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Prosecco Savian Extra Dry Bio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5</c:v>
                </c:pt>
                <c:pt idx="1">
                  <c:v>8.5</c:v>
                </c:pt>
                <c:pt idx="2">
                  <c:v>9.5</c:v>
                </c:pt>
                <c:pt idx="3">
                  <c:v>10.5</c:v>
                </c:pt>
                <c:pt idx="4">
                  <c:v>11.5</c:v>
                </c:pt>
              </c:numCache>
            </c:numRef>
          </c:xVal>
          <c:yVal>
            <c:numRef>
              <c:f>Sheet1!$B$23:$B$27</c:f>
              <c:numCache>
                <c:formatCode>General</c:formatCode>
                <c:ptCount val="5"/>
                <c:pt idx="0">
                  <c:v>0.5107940089106535</c:v>
                </c:pt>
                <c:pt idx="1">
                  <c:v>0.35508649822356375</c:v>
                </c:pt>
                <c:pt idx="2">
                  <c:v>0.0</c:v>
                </c:pt>
                <c:pt idx="3">
                  <c:v>-0.23371189366094836</c:v>
                </c:pt>
                <c:pt idx="4">
                  <c:v>-0.418335052000609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Prosecco Contarini Brut 150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4.5</c:v>
                </c:pt>
                <c:pt idx="1">
                  <c:v>15.95</c:v>
                </c:pt>
                <c:pt idx="2">
                  <c:v>17.95</c:v>
                </c:pt>
                <c:pt idx="3">
                  <c:v>19.95</c:v>
                </c:pt>
                <c:pt idx="4">
                  <c:v>21.5</c:v>
                </c:pt>
              </c:numCache>
            </c:numRef>
          </c:xVal>
          <c:yVal>
            <c:numRef>
              <c:f>Sheet1!$B$30:$B$34</c:f>
              <c:numCache>
                <c:formatCode>General</c:formatCode>
                <c:ptCount val="5"/>
                <c:pt idx="0">
                  <c:v>0.41412357859316246</c:v>
                </c:pt>
                <c:pt idx="1">
                  <c:v>0.24071700395176066</c:v>
                </c:pt>
                <c:pt idx="2">
                  <c:v>0.0</c:v>
                </c:pt>
                <c:pt idx="3">
                  <c:v>-0.17201954112630852</c:v>
                </c:pt>
                <c:pt idx="4">
                  <c:v>-0.247336681867661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1.5"/>
          <c:min val="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a Augusta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Patriarche (2.6%)</c:v>
                </c:pt>
                <c:pt idx="2">
                  <c:v>Les Grumes  (1.0%)</c:v>
                </c:pt>
                <c:pt idx="3">
                  <c:v>Savian (2.1%)</c:v>
                </c:pt>
                <c:pt idx="4">
                  <c:v>Bouvet Ladubay (1.5%)</c:v>
                </c:pt>
                <c:pt idx="5">
                  <c:v>Nicolas (14.4%)</c:v>
                </c:pt>
                <c:pt idx="6">
                  <c:v>Muré (1.3%)</c:v>
                </c:pt>
                <c:pt idx="7">
                  <c:v>Bottega (3.7%)</c:v>
                </c:pt>
                <c:pt idx="8">
                  <c:v>Château Moncontour  (1.5%)</c:v>
                </c:pt>
                <c:pt idx="9">
                  <c:v>Veuve du Vernay (0.7%)</c:v>
                </c:pt>
              </c:strCache>
            </c:strRef>
          </c:cat>
          <c:val>
            <c:numRef>
              <c:f>Sheet1!$B$2:$B$11</c:f>
              <c:numCache>
                <c:formatCode>General</c:formatCode>
                <c:ptCount val="10"/>
                <c:pt idx="0">
                  <c:v>0.26814633674301935</c:v>
                </c:pt>
                <c:pt idx="1">
                  <c:v>0.09216277265502211</c:v>
                </c:pt>
                <c:pt idx="2">
                  <c:v>0.08244724048189957</c:v>
                </c:pt>
                <c:pt idx="3">
                  <c:v>0.07352251542103597</c:v>
                </c:pt>
                <c:pt idx="4">
                  <c:v>0.06982587604787423</c:v>
                </c:pt>
                <c:pt idx="5">
                  <c:v>0.06300620135165605</c:v>
                </c:pt>
                <c:pt idx="6">
                  <c:v>0.05386596418479838</c:v>
                </c:pt>
                <c:pt idx="7">
                  <c:v>0.049069637100048955</c:v>
                </c:pt>
                <c:pt idx="8">
                  <c:v>0.04165744736482083</c:v>
                </c:pt>
                <c:pt idx="9">
                  <c:v>0.032938684837336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Aperol Spritz Coffret pour l'apéro 750ml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5.95</c:v>
                </c:pt>
                <c:pt idx="1">
                  <c:v>17.95</c:v>
                </c:pt>
                <c:pt idx="2">
                  <c:v>19.95</c:v>
                </c:pt>
                <c:pt idx="3">
                  <c:v>21.95</c:v>
                </c:pt>
                <c:pt idx="4">
                  <c:v>23.95</c:v>
                </c:pt>
              </c:numCache>
            </c:numRef>
          </c:xVal>
          <c:yVal>
            <c:numRef>
              <c:f>Sheet1!$B$2:$B$6</c:f>
              <c:numCache>
                <c:formatCode>General</c:formatCode>
                <c:ptCount val="5"/>
                <c:pt idx="0">
                  <c:v>0.47346799452580046</c:v>
                </c:pt>
                <c:pt idx="1">
                  <c:v>0.20347711740209112</c:v>
                </c:pt>
                <c:pt idx="2">
                  <c:v>0.0</c:v>
                </c:pt>
                <c:pt idx="3">
                  <c:v>-0.10466025110323163</c:v>
                </c:pt>
                <c:pt idx="4">
                  <c:v>-0.195930315813338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3.95"/>
          <c:min val="15.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2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3.95</c:v>
                </c:pt>
                <c:pt idx="2">
                  <c:v>34.95</c:v>
                </c:pt>
                <c:pt idx="3">
                  <c:v>35.85</c:v>
                </c:pt>
                <c:pt idx="4">
                  <c:v>37.95</c:v>
                </c:pt>
              </c:numCache>
            </c:numRef>
          </c:xVal>
          <c:yVal>
            <c:numRef>
              <c:f>Sheet1!$B$2:$B$6</c:f>
              <c:numCache>
                <c:formatCode>General</c:formatCode>
                <c:ptCount val="5"/>
                <c:pt idx="0">
                  <c:v>0.3322352605652431</c:v>
                </c:pt>
                <c:pt idx="1">
                  <c:v>0.09552218763357591</c:v>
                </c:pt>
                <c:pt idx="2">
                  <c:v>0.0</c:v>
                </c:pt>
                <c:pt idx="3">
                  <c:v>-0.04824997277646353</c:v>
                </c:pt>
                <c:pt idx="4">
                  <c:v>-0.14267432759600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2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9.95</c:v>
                </c:pt>
                <c:pt idx="1">
                  <c:v>53.85</c:v>
                </c:pt>
                <c:pt idx="2">
                  <c:v>55.85</c:v>
                </c:pt>
                <c:pt idx="3">
                  <c:v>57.45</c:v>
                </c:pt>
                <c:pt idx="4">
                  <c:v>59.0</c:v>
                </c:pt>
              </c:numCache>
            </c:numRef>
          </c:xVal>
          <c:yVal>
            <c:numRef>
              <c:f>Sheet1!$B$9:$B$13</c:f>
              <c:numCache>
                <c:formatCode>General</c:formatCode>
                <c:ptCount val="5"/>
                <c:pt idx="0">
                  <c:v>0.26959752398630527</c:v>
                </c:pt>
                <c:pt idx="1">
                  <c:v>0.06286208384353212</c:v>
                </c:pt>
                <c:pt idx="2">
                  <c:v>0.0</c:v>
                </c:pt>
                <c:pt idx="3">
                  <c:v>-0.028464783667516595</c:v>
                </c:pt>
                <c:pt idx="4">
                  <c:v>-0.0545571957995751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2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2.0</c:v>
                </c:pt>
                <c:pt idx="1">
                  <c:v>75.0</c:v>
                </c:pt>
                <c:pt idx="2">
                  <c:v>79.0</c:v>
                </c:pt>
                <c:pt idx="3">
                  <c:v>85.0</c:v>
                </c:pt>
                <c:pt idx="4">
                  <c:v>89.0</c:v>
                </c:pt>
              </c:numCache>
            </c:numRef>
          </c:xVal>
          <c:yVal>
            <c:numRef>
              <c:f>Sheet1!$B$16:$B$20</c:f>
              <c:numCache>
                <c:formatCode>General</c:formatCode>
                <c:ptCount val="5"/>
                <c:pt idx="0">
                  <c:v>0.20924805268961139</c:v>
                </c:pt>
                <c:pt idx="1">
                  <c:v>0.10859352302223121</c:v>
                </c:pt>
                <c:pt idx="2">
                  <c:v>0.0</c:v>
                </c:pt>
                <c:pt idx="3">
                  <c:v>-0.10553862646826102</c:v>
                </c:pt>
                <c:pt idx="4">
                  <c:v>-0.1669134428248868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2x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42.95</c:v>
                </c:pt>
                <c:pt idx="1">
                  <c:v>44.95</c:v>
                </c:pt>
                <c:pt idx="2">
                  <c:v>47.95</c:v>
                </c:pt>
                <c:pt idx="3">
                  <c:v>49.95</c:v>
                </c:pt>
                <c:pt idx="4">
                  <c:v>51.85</c:v>
                </c:pt>
              </c:numCache>
            </c:numRef>
          </c:xVal>
          <c:yVal>
            <c:numRef>
              <c:f>Sheet1!$B$23:$B$27</c:f>
              <c:numCache>
                <c:formatCode>General</c:formatCode>
                <c:ptCount val="5"/>
                <c:pt idx="0">
                  <c:v>0.36606905028373377</c:v>
                </c:pt>
                <c:pt idx="1">
                  <c:v>0.13418034150022054</c:v>
                </c:pt>
                <c:pt idx="2">
                  <c:v>0.0</c:v>
                </c:pt>
                <c:pt idx="3">
                  <c:v>-0.07364039565545889</c:v>
                </c:pt>
                <c:pt idx="4">
                  <c:v>-0.1624626258903660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9.0"/>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3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49.95</c:v>
                </c:pt>
                <c:pt idx="2">
                  <c:v>52.45</c:v>
                </c:pt>
                <c:pt idx="3">
                  <c:v>53.85</c:v>
                </c:pt>
                <c:pt idx="4">
                  <c:v>55.85</c:v>
                </c:pt>
              </c:numCache>
            </c:numRef>
          </c:xVal>
          <c:yVal>
            <c:numRef>
              <c:f>Sheet1!$B$2:$B$6</c:f>
              <c:numCache>
                <c:formatCode>General</c:formatCode>
                <c:ptCount val="5"/>
                <c:pt idx="0">
                  <c:v>0.16321231575548306</c:v>
                </c:pt>
                <c:pt idx="1">
                  <c:v>0.08867545608994173</c:v>
                </c:pt>
                <c:pt idx="2">
                  <c:v>0.0</c:v>
                </c:pt>
                <c:pt idx="3">
                  <c:v>-0.04403666502436862</c:v>
                </c:pt>
                <c:pt idx="4">
                  <c:v>-0.0903508737837809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3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0</c:v>
                </c:pt>
                <c:pt idx="1">
                  <c:v>79.0</c:v>
                </c:pt>
                <c:pt idx="2">
                  <c:v>83.0</c:v>
                </c:pt>
                <c:pt idx="3">
                  <c:v>85.0</c:v>
                </c:pt>
                <c:pt idx="4">
                  <c:v>91.0</c:v>
                </c:pt>
              </c:numCache>
            </c:numRef>
          </c:xVal>
          <c:yVal>
            <c:numRef>
              <c:f>Sheet1!$B$9:$B$13</c:f>
              <c:numCache>
                <c:formatCode>General</c:formatCode>
                <c:ptCount val="5"/>
                <c:pt idx="0">
                  <c:v>0.1331595803424065</c:v>
                </c:pt>
                <c:pt idx="1">
                  <c:v>0.059800471374407</c:v>
                </c:pt>
                <c:pt idx="2">
                  <c:v>0.0</c:v>
                </c:pt>
                <c:pt idx="3">
                  <c:v>-0.027957963379451</c:v>
                </c:pt>
                <c:pt idx="4">
                  <c:v>-0.1177828792832538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3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09.0</c:v>
                </c:pt>
                <c:pt idx="1">
                  <c:v>114.0</c:v>
                </c:pt>
                <c:pt idx="2">
                  <c:v>119.0</c:v>
                </c:pt>
                <c:pt idx="3">
                  <c:v>121.0</c:v>
                </c:pt>
                <c:pt idx="4">
                  <c:v>128.0</c:v>
                </c:pt>
              </c:numCache>
            </c:numRef>
          </c:xVal>
          <c:yVal>
            <c:numRef>
              <c:f>Sheet1!$B$16:$B$20</c:f>
              <c:numCache>
                <c:formatCode>General</c:formatCode>
                <c:ptCount val="5"/>
                <c:pt idx="0">
                  <c:v>0.24256320433020453</c:v>
                </c:pt>
                <c:pt idx="1">
                  <c:v>0.11560670504118273</c:v>
                </c:pt>
                <c:pt idx="2">
                  <c:v>0.0</c:v>
                </c:pt>
                <c:pt idx="3">
                  <c:v>-0.021530620075904314</c:v>
                </c:pt>
                <c:pt idx="4">
                  <c:v>-0.0926986134806928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3x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5.0</c:v>
                </c:pt>
                <c:pt idx="1">
                  <c:v>69.0</c:v>
                </c:pt>
                <c:pt idx="2">
                  <c:v>72.0</c:v>
                </c:pt>
                <c:pt idx="3">
                  <c:v>75.0</c:v>
                </c:pt>
                <c:pt idx="4">
                  <c:v>79.0</c:v>
                </c:pt>
              </c:numCache>
            </c:numRef>
          </c:xVal>
          <c:yVal>
            <c:numRef>
              <c:f>Sheet1!$B$23:$B$27</c:f>
              <c:numCache>
                <c:formatCode>General</c:formatCode>
                <c:ptCount val="5"/>
                <c:pt idx="0">
                  <c:v>0.24751172200036728</c:v>
                </c:pt>
                <c:pt idx="1">
                  <c:v>0.12836241132125512</c:v>
                </c:pt>
                <c:pt idx="2">
                  <c:v>0.0</c:v>
                </c:pt>
                <c:pt idx="3">
                  <c:v>-0.10297401000070336</c:v>
                </c:pt>
                <c:pt idx="4">
                  <c:v>-0.169430849877357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Ruinart Brut 3x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1.0</c:v>
                </c:pt>
                <c:pt idx="1">
                  <c:v>128.0</c:v>
                </c:pt>
                <c:pt idx="2">
                  <c:v>135.0</c:v>
                </c:pt>
                <c:pt idx="3">
                  <c:v>142.0</c:v>
                </c:pt>
                <c:pt idx="4">
                  <c:v>149.0</c:v>
                </c:pt>
              </c:numCache>
            </c:numRef>
          </c:xVal>
          <c:yVal>
            <c:numRef>
              <c:f>Sheet1!$B$30:$B$34</c:f>
              <c:numCache>
                <c:formatCode>General</c:formatCode>
                <c:ptCount val="5"/>
                <c:pt idx="0">
                  <c:v>0.12019796811797172</c:v>
                </c:pt>
                <c:pt idx="1">
                  <c:v>0.05409349701513448</c:v>
                </c:pt>
                <c:pt idx="2">
                  <c:v>0.0</c:v>
                </c:pt>
                <c:pt idx="3">
                  <c:v>-0.049365397280403414</c:v>
                </c:pt>
                <c:pt idx="4">
                  <c:v>-0.0954304848835469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0"/>
          <c:min val="4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B$2:$B$19</c:f>
              <c:numCache>
                <c:formatCode>General</c:formatCode>
                <c:ptCount val="18"/>
                <c:pt idx="0">
                  <c:v>135.5782146967896</c:v>
                </c:pt>
                <c:pt idx="1">
                  <c:v>130.48154620210553</c:v>
                </c:pt>
                <c:pt idx="2">
                  <c:v>125.75723492862278</c:v>
                </c:pt>
                <c:pt idx="3">
                  <c:v>121.36267316209155</c:v>
                </c:pt>
                <c:pt idx="4">
                  <c:v>117.27283352313509</c:v>
                </c:pt>
                <c:pt idx="5">
                  <c:v>113.50259718457652</c:v>
                </c:pt>
                <c:pt idx="6">
                  <c:v>109.89927091651424</c:v>
                </c:pt>
                <c:pt idx="7">
                  <c:v>106.45349827829588</c:v>
                </c:pt>
                <c:pt idx="8">
                  <c:v>103.15649094441461</c:v>
                </c:pt>
                <c:pt idx="9">
                  <c:v>100.0</c:v>
                </c:pt>
                <c:pt idx="10">
                  <c:v>96.97628719865162</c:v>
                </c:pt>
                <c:pt idx="11">
                  <c:v>94.07809651005245</c:v>
                </c:pt>
                <c:pt idx="12">
                  <c:v>91.29862622268577</c:v>
                </c:pt>
                <c:pt idx="13">
                  <c:v>88.63150181131435</c:v>
                </c:pt>
                <c:pt idx="14">
                  <c:v>85.66152496706003</c:v>
                </c:pt>
                <c:pt idx="15">
                  <c:v>79.41324157622725</c:v>
                </c:pt>
                <c:pt idx="16">
                  <c:v>73.76234104087644</c:v>
                </c:pt>
                <c:pt idx="17">
                  <c:v>68.639379113590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C$2:$C$19</c:f>
              <c:numCache>
                <c:formatCode>General</c:formatCode>
                <c:ptCount val="18"/>
                <c:pt idx="0">
                  <c:v>108.48328586781435</c:v>
                </c:pt>
                <c:pt idx="1">
                  <c:v>107.30238925090919</c:v>
                </c:pt>
                <c:pt idx="2">
                  <c:v>106.20964630706801</c:v>
                </c:pt>
                <c:pt idx="3">
                  <c:v>105.19293125434703</c:v>
                </c:pt>
                <c:pt idx="4">
                  <c:v>104.2519664421572</c:v>
                </c:pt>
                <c:pt idx="5">
                  <c:v>103.42066866829758</c:v>
                </c:pt>
                <c:pt idx="6">
                  <c:v>102.57778479306498</c:v>
                </c:pt>
                <c:pt idx="7">
                  <c:v>101.72548732487583</c:v>
                </c:pt>
                <c:pt idx="8">
                  <c:v>100.86567357025153</c:v>
                </c:pt>
                <c:pt idx="9">
                  <c:v>100.0</c:v>
                </c:pt>
                <c:pt idx="10">
                  <c:v>99.12991274684225</c:v>
                </c:pt>
                <c:pt idx="11">
                  <c:v>98.25667457253957</c:v>
                </c:pt>
                <c:pt idx="12">
                  <c:v>97.38138863402466</c:v>
                </c:pt>
                <c:pt idx="13">
                  <c:v>96.50501936419523</c:v>
                </c:pt>
                <c:pt idx="14">
                  <c:v>95.17411387734656</c:v>
                </c:pt>
                <c:pt idx="15">
                  <c:v>89.99913707202151</c:v>
                </c:pt>
                <c:pt idx="16">
                  <c:v>85.23631678069056</c:v>
                </c:pt>
                <c:pt idx="17">
                  <c:v>80.84376092434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D$2:$D$19</c:f>
              <c:numCache>
                <c:formatCode>General</c:formatCode>
                <c:ptCount val="18"/>
                <c:pt idx="0">
                  <c:v>84.50816159206735</c:v>
                </c:pt>
                <c:pt idx="1">
                  <c:v>86.7924590422241</c:v>
                </c:pt>
                <c:pt idx="2">
                  <c:v>88.9133931135269</c:v>
                </c:pt>
                <c:pt idx="3">
                  <c:v>90.88580942121001</c:v>
                </c:pt>
                <c:pt idx="4">
                  <c:v>92.73132174231128</c:v>
                </c:pt>
                <c:pt idx="5">
                  <c:v>94.50058116926566</c:v>
                </c:pt>
                <c:pt idx="6">
                  <c:v>96.10019654843649</c:v>
                </c:pt>
                <c:pt idx="7">
                  <c:v>97.5425520561555</c:v>
                </c:pt>
                <c:pt idx="8">
                  <c:v>98.83900979942058</c:v>
                </c:pt>
                <c:pt idx="9">
                  <c:v>100.0</c:v>
                </c:pt>
                <c:pt idx="10">
                  <c:v>101.03510393096282</c:v>
                </c:pt>
                <c:pt idx="11">
                  <c:v>101.9531299494498</c:v>
                </c:pt>
                <c:pt idx="12">
                  <c:v>102.76218300922007</c:v>
                </c:pt>
                <c:pt idx="13">
                  <c:v>103.46972806036536</c:v>
                </c:pt>
                <c:pt idx="14">
                  <c:v>103.58778513308312</c:v>
                </c:pt>
                <c:pt idx="15">
                  <c:v>99.35567098784621</c:v>
                </c:pt>
                <c:pt idx="16">
                  <c:v>95.372930894921</c:v>
                </c:pt>
                <c:pt idx="17">
                  <c:v>91.621876669596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E$2:$E$19</c:f>
              <c:numCache>
                <c:formatCode>General</c:formatCode>
                <c:ptCount val="18"/>
                <c:pt idx="0">
                  <c:v>0.41368745700527404</c:v>
                </c:pt>
                <c:pt idx="1">
                  <c:v>0.42953374195107746</c:v>
                </c:pt>
                <c:pt idx="2">
                  <c:v>0.44454601189973325</c:v>
                </c:pt>
                <c:pt idx="3">
                  <c:v>0.4587884218510222</c:v>
                </c:pt>
                <c:pt idx="4">
                  <c:v>0.4723187113047466</c:v>
                </c:pt>
                <c:pt idx="5">
                  <c:v>0.4851889866387772</c:v>
                </c:pt>
                <c:pt idx="6">
                  <c:v>0.4974463917188063</c:v>
                </c:pt>
                <c:pt idx="7">
                  <c:v>0.5091336849346481</c:v>
                </c:pt>
                <c:pt idx="8">
                  <c:v>0.5202897375497697</c:v>
                </c:pt>
                <c:pt idx="9">
                  <c:v>0.5309499656042193</c:v>
                </c:pt>
                <c:pt idx="10">
                  <c:v>0.5411467054823883</c:v>
                </c:pt>
                <c:pt idx="11">
                  <c:v>0.5509095415359546</c:v>
                </c:pt>
                <c:pt idx="12">
                  <c:v>0.5602655927539556</c:v>
                </c:pt>
                <c:pt idx="13">
                  <c:v>0.5692397643304055</c:v>
                </c:pt>
                <c:pt idx="14">
                  <c:v>0.5778549690437973</c:v>
                </c:pt>
                <c:pt idx="15">
                  <c:v>0.5861323225919581</c:v>
                </c:pt>
                <c:pt idx="16">
                  <c:v>0.5940913163882666</c:v>
                </c:pt>
                <c:pt idx="17">
                  <c:v>0.60174997079603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B$2:$B$31</c:f>
              <c:numCache>
                <c:formatCode>General</c:formatCode>
                <c:ptCount val="30"/>
                <c:pt idx="0">
                  <c:v>248.6073793118023</c:v>
                </c:pt>
                <c:pt idx="1">
                  <c:v>236.0444165781313</c:v>
                </c:pt>
                <c:pt idx="2">
                  <c:v>224.42337543117787</c:v>
                </c:pt>
                <c:pt idx="3">
                  <c:v>213.65348803073587</c:v>
                </c:pt>
                <c:pt idx="4">
                  <c:v>198.97907946444016</c:v>
                </c:pt>
                <c:pt idx="5">
                  <c:v>185.4946965984028</c:v>
                </c:pt>
                <c:pt idx="6">
                  <c:v>173.52703933054192</c:v>
                </c:pt>
                <c:pt idx="7">
                  <c:v>162.85824425869</c:v>
                </c:pt>
                <c:pt idx="8">
                  <c:v>153.3027271638548</c:v>
                </c:pt>
                <c:pt idx="9">
                  <c:v>144.7035414839828</c:v>
                </c:pt>
                <c:pt idx="10">
                  <c:v>136.92851917865164</c:v>
                </c:pt>
                <c:pt idx="11">
                  <c:v>129.86656986996667</c:v>
                </c:pt>
                <c:pt idx="12">
                  <c:v>123.42432927689906</c:v>
                </c:pt>
                <c:pt idx="13">
                  <c:v>117.52323095707575</c:v>
                </c:pt>
                <c:pt idx="14">
                  <c:v>112.49468936649407</c:v>
                </c:pt>
                <c:pt idx="15">
                  <c:v>107.95484706829532</c:v>
                </c:pt>
                <c:pt idx="16">
                  <c:v>103.80583610555848</c:v>
                </c:pt>
                <c:pt idx="17">
                  <c:v>100.0</c:v>
                </c:pt>
                <c:pt idx="18">
                  <c:v>96.49629519809703</c:v>
                </c:pt>
                <c:pt idx="19">
                  <c:v>93.25936770310142</c:v>
                </c:pt>
                <c:pt idx="20">
                  <c:v>90.25873967559043</c:v>
                </c:pt>
                <c:pt idx="21">
                  <c:v>87.46810177002932</c:v>
                </c:pt>
                <c:pt idx="22">
                  <c:v>84.86470309395536</c:v>
                </c:pt>
                <c:pt idx="23">
                  <c:v>82.42882881668605</c:v>
                </c:pt>
                <c:pt idx="24">
                  <c:v>77.04282700588337</c:v>
                </c:pt>
                <c:pt idx="25">
                  <c:v>71.88739519771458</c:v>
                </c:pt>
                <c:pt idx="26">
                  <c:v>67.25264102772745</c:v>
                </c:pt>
                <c:pt idx="27">
                  <c:v>63.071152676668106</c:v>
                </c:pt>
                <c:pt idx="28">
                  <c:v>59.285951813199546</c:v>
                </c:pt>
                <c:pt idx="29">
                  <c:v>55.848673936959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C$2:$C$31</c:f>
              <c:numCache>
                <c:formatCode>General</c:formatCode>
                <c:ptCount val="30"/>
                <c:pt idx="0">
                  <c:v>191.72103427205053</c:v>
                </c:pt>
                <c:pt idx="1">
                  <c:v>185.1984178850744</c:v>
                </c:pt>
                <c:pt idx="2">
                  <c:v>179.09209559842998</c:v>
                </c:pt>
                <c:pt idx="3">
                  <c:v>173.3659605184372</c:v>
                </c:pt>
                <c:pt idx="4">
                  <c:v>164.13106274562594</c:v>
                </c:pt>
                <c:pt idx="5">
                  <c:v>155.50134210791356</c:v>
                </c:pt>
                <c:pt idx="6">
                  <c:v>147.80246925128355</c:v>
                </c:pt>
                <c:pt idx="7">
                  <c:v>140.90664682406106</c:v>
                </c:pt>
                <c:pt idx="8">
                  <c:v>134.70286075164847</c:v>
                </c:pt>
                <c:pt idx="9">
                  <c:v>129.09576147372002</c:v>
                </c:pt>
                <c:pt idx="10">
                  <c:v>124.00406591465394</c:v>
                </c:pt>
                <c:pt idx="11">
                  <c:v>119.35880199877387</c:v>
                </c:pt>
                <c:pt idx="12">
                  <c:v>115.10158631051526</c:v>
                </c:pt>
                <c:pt idx="13">
                  <c:v>111.18303601060934</c:v>
                </c:pt>
                <c:pt idx="14">
                  <c:v>107.94253601401837</c:v>
                </c:pt>
                <c:pt idx="15">
                  <c:v>105.04225712216635</c:v>
                </c:pt>
                <c:pt idx="16">
                  <c:v>102.40538320021817</c:v>
                </c:pt>
                <c:pt idx="17">
                  <c:v>100.0</c:v>
                </c:pt>
                <c:pt idx="18">
                  <c:v>97.79834093128017</c:v>
                </c:pt>
                <c:pt idx="19">
                  <c:v>95.77628076648608</c:v>
                </c:pt>
                <c:pt idx="20">
                  <c:v>93.91287001636056</c:v>
                </c:pt>
                <c:pt idx="21">
                  <c:v>92.18991565688113</c:v>
                </c:pt>
                <c:pt idx="22">
                  <c:v>90.59160934694565</c:v>
                </c:pt>
                <c:pt idx="23">
                  <c:v>89.10420143587126</c:v>
                </c:pt>
                <c:pt idx="24">
                  <c:v>84.32340202720144</c:v>
                </c:pt>
                <c:pt idx="25">
                  <c:v>79.65278223942434</c:v>
                </c:pt>
                <c:pt idx="26">
                  <c:v>75.42686737233481</c:v>
                </c:pt>
                <c:pt idx="27">
                  <c:v>71.59021309799076</c:v>
                </c:pt>
                <c:pt idx="28">
                  <c:v>68.09572569291666</c:v>
                </c:pt>
                <c:pt idx="29">
                  <c:v>64.903249301762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D$2:$D$31</c:f>
              <c:numCache>
                <c:formatCode>General</c:formatCode>
                <c:ptCount val="30"/>
                <c:pt idx="0">
                  <c:v>123.87807285334785</c:v>
                </c:pt>
                <c:pt idx="1">
                  <c:v>124.5843532835964</c:v>
                </c:pt>
                <c:pt idx="2">
                  <c:v>125.07405065833707</c:v>
                </c:pt>
                <c:pt idx="3">
                  <c:v>125.3772954026787</c:v>
                </c:pt>
                <c:pt idx="4">
                  <c:v>122.63834387646799</c:v>
                </c:pt>
                <c:pt idx="5">
                  <c:v>119.8018147563482</c:v>
                </c:pt>
                <c:pt idx="6">
                  <c:v>117.1937108032529</c:v>
                </c:pt>
                <c:pt idx="7">
                  <c:v>114.79475244786484</c:v>
                </c:pt>
                <c:pt idx="8">
                  <c:v>112.58364680878377</c:v>
                </c:pt>
                <c:pt idx="9">
                  <c:v>110.53906912204185</c:v>
                </c:pt>
                <c:pt idx="10">
                  <c:v>108.64082669419668</c:v>
                </c:pt>
                <c:pt idx="11">
                  <c:v>106.87046974918799</c:v>
                </c:pt>
                <c:pt idx="12">
                  <c:v>105.21154469709629</c:v>
                </c:pt>
                <c:pt idx="13">
                  <c:v>103.64962726105477</c:v>
                </c:pt>
                <c:pt idx="14">
                  <c:v>102.53470065531909</c:v>
                </c:pt>
                <c:pt idx="15">
                  <c:v>101.58281852086245</c:v>
                </c:pt>
                <c:pt idx="16">
                  <c:v>100.74226939680153</c:v>
                </c:pt>
                <c:pt idx="17">
                  <c:v>100.0</c:v>
                </c:pt>
                <c:pt idx="18">
                  <c:v>99.34413929413289</c:v>
                </c:pt>
                <c:pt idx="19">
                  <c:v>98.76399643870391</c:v>
                </c:pt>
                <c:pt idx="20">
                  <c:v>98.25001493770542</c:v>
                </c:pt>
                <c:pt idx="21">
                  <c:v>97.79370097384833</c:v>
                </c:pt>
                <c:pt idx="22">
                  <c:v>97.38753846145867</c:v>
                </c:pt>
                <c:pt idx="23">
                  <c:v>97.02489924655116</c:v>
                </c:pt>
                <c:pt idx="24">
                  <c:v>92.95889629187373</c:v>
                </c:pt>
                <c:pt idx="25">
                  <c:v>88.85999242109422</c:v>
                </c:pt>
                <c:pt idx="26">
                  <c:v>85.11576547933505</c:v>
                </c:pt>
                <c:pt idx="27">
                  <c:v>81.68500820466411</c:v>
                </c:pt>
                <c:pt idx="28">
                  <c:v>78.53237596375651</c:v>
                </c:pt>
                <c:pt idx="29">
                  <c:v>75.627462254122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E$2:$E$31</c:f>
              <c:numCache>
                <c:formatCode>General</c:formatCode>
                <c:ptCount val="30"/>
                <c:pt idx="0">
                  <c:v>0.29725318635424103</c:v>
                </c:pt>
                <c:pt idx="1">
                  <c:v>0.309411435725275</c:v>
                </c:pt>
                <c:pt idx="2">
                  <c:v>0.32115613919933494</c:v>
                </c:pt>
                <c:pt idx="3">
                  <c:v>0.3325080432261018</c:v>
                </c:pt>
                <c:pt idx="4">
                  <c:v>0.3434865293572515</c:v>
                </c:pt>
                <c:pt idx="5">
                  <c:v>0.35410972467509544</c:v>
                </c:pt>
                <c:pt idx="6">
                  <c:v>0.3643946016707147</c:v>
                </c:pt>
                <c:pt idx="7">
                  <c:v>0.3743570687291676</c:v>
                </c:pt>
                <c:pt idx="8">
                  <c:v>0.3840120522364336</c:v>
                </c:pt>
                <c:pt idx="9">
                  <c:v>0.3933735711994057</c:v>
                </c:pt>
                <c:pt idx="10">
                  <c:v>0.4024548051634864</c:v>
                </c:pt>
                <c:pt idx="11">
                  <c:v>0.41126815611977713</c:v>
                </c:pt>
                <c:pt idx="12">
                  <c:v>0.41982530501338505</c:v>
                </c:pt>
                <c:pt idx="13">
                  <c:v>0.4281372633942821</c:v>
                </c:pt>
                <c:pt idx="14">
                  <c:v>0.4362144206909731</c:v>
                </c:pt>
                <c:pt idx="15">
                  <c:v>0.44406658753371725</c:v>
                </c:pt>
                <c:pt idx="16">
                  <c:v>0.4517030355071551</c:v>
                </c:pt>
                <c:pt idx="17">
                  <c:v>0.45913253367101475</c:v>
                </c:pt>
                <c:pt idx="18">
                  <c:v>0.46636338215134887</c:v>
                </c:pt>
                <c:pt idx="19">
                  <c:v>0.473403443072835</c:v>
                </c:pt>
                <c:pt idx="20">
                  <c:v>0.4802601690744908</c:v>
                </c:pt>
                <c:pt idx="21">
                  <c:v>0.4869406296262326</c:v>
                </c:pt>
                <c:pt idx="22">
                  <c:v>0.49345153534163566</c:v>
                </c:pt>
                <c:pt idx="23">
                  <c:v>0.49979926046266776</c:v>
                </c:pt>
                <c:pt idx="24">
                  <c:v>0.5059898636747635</c:v>
                </c:pt>
                <c:pt idx="25">
                  <c:v>0.512029107395121</c:v>
                </c:pt>
                <c:pt idx="26">
                  <c:v>0.5179224756632957</c:v>
                </c:pt>
                <c:pt idx="27">
                  <c:v>0.523675190750846</c:v>
                </c:pt>
                <c:pt idx="28">
                  <c:v>0.5292922285957653</c:v>
                </c:pt>
                <c:pt idx="29">
                  <c:v>0.5347783331575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B$2:$B$21</c:f>
              <c:numCache>
                <c:formatCode>General</c:formatCode>
                <c:ptCount val="20"/>
                <c:pt idx="0">
                  <c:v>138.52942796050053</c:v>
                </c:pt>
                <c:pt idx="1">
                  <c:v>133.57465627689504</c:v>
                </c:pt>
                <c:pt idx="2">
                  <c:v>128.9616005362441</c:v>
                </c:pt>
                <c:pt idx="3">
                  <c:v>124.75532601017427</c:v>
                </c:pt>
                <c:pt idx="4">
                  <c:v>120.7362379917225</c:v>
                </c:pt>
                <c:pt idx="5">
                  <c:v>116.89361997176375</c:v>
                </c:pt>
                <c:pt idx="6">
                  <c:v>113.217473210204</c:v>
                </c:pt>
                <c:pt idx="7">
                  <c:v>109.69846608078515</c:v>
                </c:pt>
                <c:pt idx="8">
                  <c:v>106.32788669481211</c:v>
                </c:pt>
                <c:pt idx="9">
                  <c:v>103.09759868330693</c:v>
                </c:pt>
                <c:pt idx="10">
                  <c:v>100.0</c:v>
                </c:pt>
                <c:pt idx="11">
                  <c:v>97.02798459651702</c:v>
                </c:pt>
                <c:pt idx="12">
                  <c:v>93.74661279453011</c:v>
                </c:pt>
                <c:pt idx="13">
                  <c:v>87.05696995804642</c:v>
                </c:pt>
                <c:pt idx="14">
                  <c:v>81.02385292041198</c:v>
                </c:pt>
                <c:pt idx="15">
                  <c:v>75.56896407298152</c:v>
                </c:pt>
                <c:pt idx="16">
                  <c:v>70.62425113300202</c:v>
                </c:pt>
                <c:pt idx="17">
                  <c:v>66.13055803842288</c:v>
                </c:pt>
                <c:pt idx="18">
                  <c:v>62.03643835811835</c:v>
                </c:pt>
                <c:pt idx="19">
                  <c:v>58.297116127854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C$2:$C$21</c:f>
              <c:numCache>
                <c:formatCode>General</c:formatCode>
                <c:ptCount val="20"/>
                <c:pt idx="0">
                  <c:v>109.68201628189125</c:v>
                </c:pt>
                <c:pt idx="1">
                  <c:v>108.54035159723428</c:v>
                </c:pt>
                <c:pt idx="2">
                  <c:v>107.47715242600968</c:v>
                </c:pt>
                <c:pt idx="3">
                  <c:v>106.56941459406195</c:v>
                </c:pt>
                <c:pt idx="4">
                  <c:v>105.6503467810689</c:v>
                </c:pt>
                <c:pt idx="5">
                  <c:v>104.72203749353228</c:v>
                </c:pt>
                <c:pt idx="6">
                  <c:v>103.78634087586438</c:v>
                </c:pt>
                <c:pt idx="7">
                  <c:v>102.84490394483842</c:v>
                </c:pt>
                <c:pt idx="8">
                  <c:v>101.8991906348234</c:v>
                </c:pt>
                <c:pt idx="9">
                  <c:v>100.95050301470559</c:v>
                </c:pt>
                <c:pt idx="10">
                  <c:v>100.0</c:v>
                </c:pt>
                <c:pt idx="11">
                  <c:v>99.04871384927515</c:v>
                </c:pt>
                <c:pt idx="12">
                  <c:v>97.65172954477754</c:v>
                </c:pt>
                <c:pt idx="13">
                  <c:v>92.49926242367958</c:v>
                </c:pt>
                <c:pt idx="14">
                  <c:v>87.77890659418752</c:v>
                </c:pt>
                <c:pt idx="15">
                  <c:v>83.44530832507273</c:v>
                </c:pt>
                <c:pt idx="16">
                  <c:v>79.45810337210354</c:v>
                </c:pt>
                <c:pt idx="17">
                  <c:v>75.78144034096992</c:v>
                </c:pt>
                <c:pt idx="18">
                  <c:v>72.38352470883451</c:v>
                </c:pt>
                <c:pt idx="19">
                  <c:v>69.236189318783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D$2:$D$21</c:f>
              <c:numCache>
                <c:formatCode>General</c:formatCode>
                <c:ptCount val="20"/>
                <c:pt idx="0">
                  <c:v>85.77801598504638</c:v>
                </c:pt>
                <c:pt idx="1">
                  <c:v>87.79646572321592</c:v>
                </c:pt>
                <c:pt idx="2">
                  <c:v>89.67518107111148</c:v>
                </c:pt>
                <c:pt idx="3">
                  <c:v>91.50092088652153</c:v>
                </c:pt>
                <c:pt idx="4">
                  <c:v>93.15073305850127</c:v>
                </c:pt>
                <c:pt idx="5">
                  <c:v>94.63732542404169</c:v>
                </c:pt>
                <c:pt idx="6">
                  <c:v>95.97238193953372</c:v>
                </c:pt>
                <c:pt idx="7">
                  <c:v>97.1666544740422</c:v>
                </c:pt>
                <c:pt idx="8">
                  <c:v>98.23004605821214</c:v>
                </c:pt>
                <c:pt idx="9">
                  <c:v>99.17168634692318</c:v>
                </c:pt>
                <c:pt idx="10">
                  <c:v>100.0</c:v>
                </c:pt>
                <c:pt idx="11">
                  <c:v>100.72276863190497</c:v>
                </c:pt>
                <c:pt idx="12">
                  <c:v>100.8862744038131</c:v>
                </c:pt>
                <c:pt idx="13">
                  <c:v>97.00224618246232</c:v>
                </c:pt>
                <c:pt idx="14">
                  <c:v>93.36526718355886</c:v>
                </c:pt>
                <c:pt idx="15">
                  <c:v>89.95713276414507</c:v>
                </c:pt>
                <c:pt idx="16">
                  <c:v>86.7602982754353</c:v>
                </c:pt>
                <c:pt idx="17">
                  <c:v>83.75812103227528</c:v>
                </c:pt>
                <c:pt idx="18">
                  <c:v>80.93500606606888</c:v>
                </c:pt>
                <c:pt idx="19">
                  <c:v>78.276478719652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E$2:$E$21</c:f>
              <c:numCache>
                <c:formatCode>General</c:formatCode>
                <c:ptCount val="20"/>
                <c:pt idx="0">
                  <c:v>0.4279157894736841</c:v>
                </c:pt>
                <c:pt idx="1">
                  <c:v>0.4425846153846153</c:v>
                </c:pt>
                <c:pt idx="2">
                  <c:v>0.4565199999999999</c:v>
                </c:pt>
                <c:pt idx="3">
                  <c:v>0.4697756097560975</c:v>
                </c:pt>
                <c:pt idx="4">
                  <c:v>0.4823999999999999</c:v>
                </c:pt>
                <c:pt idx="5">
                  <c:v>0.49443720930232554</c:v>
                </c:pt>
                <c:pt idx="6">
                  <c:v>0.5059272727272727</c:v>
                </c:pt>
                <c:pt idx="7">
                  <c:v>0.5169066666666665</c:v>
                </c:pt>
                <c:pt idx="8">
                  <c:v>0.5274086956521739</c:v>
                </c:pt>
                <c:pt idx="9">
                  <c:v>0.537463829787234</c:v>
                </c:pt>
                <c:pt idx="10">
                  <c:v>0.5471</c:v>
                </c:pt>
                <c:pt idx="11">
                  <c:v>0.5563428571428571</c:v>
                </c:pt>
                <c:pt idx="12">
                  <c:v>0.5652159999999998</c:v>
                </c:pt>
                <c:pt idx="13">
                  <c:v>0.5737411764705882</c:v>
                </c:pt>
                <c:pt idx="14">
                  <c:v>0.5819384615384614</c:v>
                </c:pt>
                <c:pt idx="15">
                  <c:v>0.5898264150943396</c:v>
                </c:pt>
                <c:pt idx="16">
                  <c:v>0.5974222222222222</c:v>
                </c:pt>
                <c:pt idx="17">
                  <c:v>0.604741818181818</c:v>
                </c:pt>
                <c:pt idx="18">
                  <c:v>0.6117999999999999</c:v>
                </c:pt>
                <c:pt idx="19">
                  <c:v>0.618610526315789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B$2:$B$33</c:f>
              <c:numCache>
                <c:formatCode>General</c:formatCode>
                <c:ptCount val="32"/>
                <c:pt idx="0">
                  <c:v>161.04618801675417</c:v>
                </c:pt>
                <c:pt idx="1">
                  <c:v>153.62061207012005</c:v>
                </c:pt>
                <c:pt idx="2">
                  <c:v>146.75599800527735</c:v>
                </c:pt>
                <c:pt idx="3">
                  <c:v>140.390872986558</c:v>
                </c:pt>
                <c:pt idx="4">
                  <c:v>134.4724924333679</c:v>
                </c:pt>
                <c:pt idx="5">
                  <c:v>128.95543288096744</c:v>
                </c:pt>
                <c:pt idx="6">
                  <c:v>123.92175499505049</c:v>
                </c:pt>
                <c:pt idx="7">
                  <c:v>120.26676095210414</c:v>
                </c:pt>
                <c:pt idx="8">
                  <c:v>116.83878506273086</c:v>
                </c:pt>
                <c:pt idx="9">
                  <c:v>113.61665580576667</c:v>
                </c:pt>
                <c:pt idx="10">
                  <c:v>110.58148968481987</c:v>
                </c:pt>
                <c:pt idx="11">
                  <c:v>107.71645135578626</c:v>
                </c:pt>
                <c:pt idx="12">
                  <c:v>105.00653421227032</c:v>
                </c:pt>
                <c:pt idx="13">
                  <c:v>102.43836048859825</c:v>
                </c:pt>
                <c:pt idx="14">
                  <c:v>100.0</c:v>
                </c:pt>
                <c:pt idx="15">
                  <c:v>97.68080658862945</c:v>
                </c:pt>
                <c:pt idx="16">
                  <c:v>95.12073802261854</c:v>
                </c:pt>
                <c:pt idx="17">
                  <c:v>89.72833841064819</c:v>
                </c:pt>
                <c:pt idx="18">
                  <c:v>84.79839594276878</c:v>
                </c:pt>
                <c:pt idx="19">
                  <c:v>80.28126773485761</c:v>
                </c:pt>
                <c:pt idx="20">
                  <c:v>76.13367562930381</c:v>
                </c:pt>
                <c:pt idx="21">
                  <c:v>72.31779116496384</c:v>
                </c:pt>
                <c:pt idx="22">
                  <c:v>68.80045537827007</c:v>
                </c:pt>
                <c:pt idx="23">
                  <c:v>65.55251503377193</c:v>
                </c:pt>
                <c:pt idx="24">
                  <c:v>62.54825889501691</c:v>
                </c:pt>
                <c:pt idx="25">
                  <c:v>59.764939579477016</c:v>
                </c:pt>
                <c:pt idx="26">
                  <c:v>57.27916666989555</c:v>
                </c:pt>
                <c:pt idx="27">
                  <c:v>55.78567899120027</c:v>
                </c:pt>
                <c:pt idx="28">
                  <c:v>54.35528190727194</c:v>
                </c:pt>
                <c:pt idx="29">
                  <c:v>52.98464570672241</c:v>
                </c:pt>
                <c:pt idx="30">
                  <c:v>51.67064196120283</c:v>
                </c:pt>
                <c:pt idx="31">
                  <c:v>50.410329472430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C$2:$C$33</c:f>
              <c:numCache>
                <c:formatCode>General</c:formatCode>
                <c:ptCount val="32"/>
                <c:pt idx="0">
                  <c:v>132.32504202056253</c:v>
                </c:pt>
                <c:pt idx="1">
                  <c:v>128.17935062309883</c:v>
                </c:pt>
                <c:pt idx="2">
                  <c:v>124.32032587631976</c:v>
                </c:pt>
                <c:pt idx="3">
                  <c:v>120.71644330863423</c:v>
                </c:pt>
                <c:pt idx="4">
                  <c:v>117.3406800551237</c:v>
                </c:pt>
                <c:pt idx="5">
                  <c:v>114.1698211752641</c:v>
                </c:pt>
                <c:pt idx="6">
                  <c:v>111.29264588311891</c:v>
                </c:pt>
                <c:pt idx="7">
                  <c:v>109.54151616272763</c:v>
                </c:pt>
                <c:pt idx="8">
                  <c:v>107.90720320057672</c:v>
                </c:pt>
                <c:pt idx="9">
                  <c:v>106.3785150327052</c:v>
                </c:pt>
                <c:pt idx="10">
                  <c:v>104.94536054470633</c:v>
                </c:pt>
                <c:pt idx="11">
                  <c:v>103.59866292216591</c:v>
                </c:pt>
                <c:pt idx="12">
                  <c:v>102.33027500211513</c:v>
                </c:pt>
                <c:pt idx="13">
                  <c:v>101.13289736752674</c:v>
                </c:pt>
                <c:pt idx="14">
                  <c:v>100.0</c:v>
                </c:pt>
                <c:pt idx="15">
                  <c:v>98.92574817216286</c:v>
                </c:pt>
                <c:pt idx="16">
                  <c:v>97.54611700014871</c:v>
                </c:pt>
                <c:pt idx="17">
                  <c:v>93.1661620904608</c:v>
                </c:pt>
                <c:pt idx="18">
                  <c:v>89.13418947194208</c:v>
                </c:pt>
                <c:pt idx="19">
                  <c:v>85.41513424684202</c:v>
                </c:pt>
                <c:pt idx="20">
                  <c:v>81.97824635355211</c:v>
                </c:pt>
                <c:pt idx="21">
                  <c:v>78.79649991058464</c:v>
                </c:pt>
                <c:pt idx="22">
                  <c:v>75.84608123063101</c:v>
                </c:pt>
                <c:pt idx="23">
                  <c:v>73.10594696483753</c:v>
                </c:pt>
                <c:pt idx="24">
                  <c:v>70.55744425584109</c:v>
                </c:pt>
                <c:pt idx="25">
                  <c:v>68.18398532667163</c:v>
                </c:pt>
                <c:pt idx="26">
                  <c:v>66.08226720275215</c:v>
                </c:pt>
                <c:pt idx="27">
                  <c:v>65.07280761030026</c:v>
                </c:pt>
                <c:pt idx="28">
                  <c:v>64.09959593271888</c:v>
                </c:pt>
                <c:pt idx="29">
                  <c:v>63.16107665851198</c:v>
                </c:pt>
                <c:pt idx="30">
                  <c:v>62.255767265827814</c:v>
                </c:pt>
                <c:pt idx="31">
                  <c:v>61.382253892354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D$2:$D$33</c:f>
              <c:numCache>
                <c:formatCode>General</c:formatCode>
                <c:ptCount val="32"/>
                <c:pt idx="0">
                  <c:v>103.39084882659829</c:v>
                </c:pt>
                <c:pt idx="1">
                  <c:v>102.55201941557542</c:v>
                </c:pt>
                <c:pt idx="2">
                  <c:v>101.72224386102877</c:v>
                </c:pt>
                <c:pt idx="3">
                  <c:v>100.9003753889726</c:v>
                </c:pt>
                <c:pt idx="4">
                  <c:v>100.08547562928669</c:v>
                </c:pt>
                <c:pt idx="5">
                  <c:v>99.2768473093688</c:v>
                </c:pt>
                <c:pt idx="6">
                  <c:v>98.57055107641982</c:v>
                </c:pt>
                <c:pt idx="7">
                  <c:v>98.73871057914656</c:v>
                </c:pt>
                <c:pt idx="8">
                  <c:v>98.91212723427701</c:v>
                </c:pt>
                <c:pt idx="9">
                  <c:v>99.08975226691713</c:v>
                </c:pt>
                <c:pt idx="10">
                  <c:v>99.27042531707508</c:v>
                </c:pt>
                <c:pt idx="11">
                  <c:v>99.45294551346808</c:v>
                </c:pt>
                <c:pt idx="12">
                  <c:v>99.63612515513938</c:v>
                </c:pt>
                <c:pt idx="13">
                  <c:v>99.81882874663292</c:v>
                </c:pt>
                <c:pt idx="14">
                  <c:v>100.0</c:v>
                </c:pt>
                <c:pt idx="15">
                  <c:v>100.17867918459082</c:v>
                </c:pt>
                <c:pt idx="16">
                  <c:v>99.9855521680411</c:v>
                </c:pt>
                <c:pt idx="17">
                  <c:v>96.61187977638465</c:v>
                </c:pt>
                <c:pt idx="18">
                  <c:v>93.47218137940894</c:v>
                </c:pt>
                <c:pt idx="19">
                  <c:v>90.54594437130571</c:v>
                </c:pt>
                <c:pt idx="20">
                  <c:v>87.81491958862999</c:v>
                </c:pt>
                <c:pt idx="21">
                  <c:v>85.26285627468596</c:v>
                </c:pt>
                <c:pt idx="22">
                  <c:v>82.87525906434475</c:v>
                </c:pt>
                <c:pt idx="23">
                  <c:v>80.63916848759814</c:v>
                </c:pt>
                <c:pt idx="24">
                  <c:v>78.54296525293414</c:v>
                </c:pt>
                <c:pt idx="25">
                  <c:v>76.57619769530307</c:v>
                </c:pt>
                <c:pt idx="26">
                  <c:v>74.85593316980214</c:v>
                </c:pt>
                <c:pt idx="27">
                  <c:v>74.33069113487286</c:v>
                </c:pt>
                <c:pt idx="28">
                  <c:v>73.81474415057745</c:v>
                </c:pt>
                <c:pt idx="29">
                  <c:v>73.30832532296245</c:v>
                </c:pt>
                <c:pt idx="30">
                  <c:v>72.81161080912348</c:v>
                </c:pt>
                <c:pt idx="31">
                  <c:v>72.324725390951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E$2:$E$33</c:f>
              <c:numCache>
                <c:formatCode>General</c:formatCode>
                <c:ptCount val="32"/>
                <c:pt idx="0">
                  <c:v>0.39227500000000004</c:v>
                </c:pt>
                <c:pt idx="1">
                  <c:v>0.4016246153846154</c:v>
                </c:pt>
                <c:pt idx="2">
                  <c:v>0.41069090909090916</c:v>
                </c:pt>
                <c:pt idx="3">
                  <c:v>0.4194865671641792</c:v>
                </c:pt>
                <c:pt idx="4">
                  <c:v>0.4280235294117648</c:v>
                </c:pt>
                <c:pt idx="5">
                  <c:v>0.436313043478261</c:v>
                </c:pt>
                <c:pt idx="6">
                  <c:v>0.44436571428571436</c:v>
                </c:pt>
                <c:pt idx="7">
                  <c:v>0.4521915492957747</c:v>
                </c:pt>
                <c:pt idx="8">
                  <c:v>0.45980000000000004</c:v>
                </c:pt>
                <c:pt idx="9">
                  <c:v>0.46719999999999995</c:v>
                </c:pt>
                <c:pt idx="10">
                  <c:v>0.4744000000000001</c:v>
                </c:pt>
                <c:pt idx="11">
                  <c:v>0.481408</c:v>
                </c:pt>
                <c:pt idx="12">
                  <c:v>0.4882315789473685</c:v>
                </c:pt>
                <c:pt idx="13">
                  <c:v>0.49487792207792214</c:v>
                </c:pt>
                <c:pt idx="14">
                  <c:v>0.5013538461538461</c:v>
                </c:pt>
                <c:pt idx="15">
                  <c:v>0.5076658227848101</c:v>
                </c:pt>
                <c:pt idx="16">
                  <c:v>0.51382</c:v>
                </c:pt>
                <c:pt idx="17">
                  <c:v>0.5198222222222223</c:v>
                </c:pt>
                <c:pt idx="18">
                  <c:v>0.5256780487804878</c:v>
                </c:pt>
                <c:pt idx="19">
                  <c:v>0.5313927710843374</c:v>
                </c:pt>
                <c:pt idx="20">
                  <c:v>0.5369714285714287</c:v>
                </c:pt>
                <c:pt idx="21">
                  <c:v>0.542418823529412</c:v>
                </c:pt>
                <c:pt idx="22">
                  <c:v>0.547739534883721</c:v>
                </c:pt>
                <c:pt idx="23">
                  <c:v>0.5529379310344829</c:v>
                </c:pt>
                <c:pt idx="24">
                  <c:v>0.5580181818181819</c:v>
                </c:pt>
                <c:pt idx="25">
                  <c:v>0.5629842696629214</c:v>
                </c:pt>
                <c:pt idx="26">
                  <c:v>0.56784</c:v>
                </c:pt>
                <c:pt idx="27">
                  <c:v>0.5725890109890109</c:v>
                </c:pt>
                <c:pt idx="28">
                  <c:v>0.5772347826086958</c:v>
                </c:pt>
                <c:pt idx="29">
                  <c:v>0.5817806451612904</c:v>
                </c:pt>
                <c:pt idx="30">
                  <c:v>0.5862297872340426</c:v>
                </c:pt>
                <c:pt idx="31">
                  <c:v>0.59058526315789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B$2:$B$62</c:f>
              <c:numCache>
                <c:formatCode>General</c:formatCode>
                <c:ptCount val="61"/>
                <c:pt idx="0">
                  <c:v>152.56959463854315</c:v>
                </c:pt>
                <c:pt idx="1">
                  <c:v>149.27026839026362</c:v>
                </c:pt>
                <c:pt idx="2">
                  <c:v>146.1156163243651</c:v>
                </c:pt>
                <c:pt idx="3">
                  <c:v>143.09747618273317</c:v>
                </c:pt>
                <c:pt idx="4">
                  <c:v>140.20821899678631</c:v>
                </c:pt>
                <c:pt idx="5">
                  <c:v>137.4407090266949</c:v>
                </c:pt>
                <c:pt idx="6">
                  <c:v>134.78826719995524</c:v>
                </c:pt>
                <c:pt idx="7">
                  <c:v>132.2446376937102</c:v>
                </c:pt>
                <c:pt idx="8">
                  <c:v>129.80395734648263</c:v>
                </c:pt>
                <c:pt idx="9">
                  <c:v>127.46072762095002</c:v>
                </c:pt>
                <c:pt idx="10">
                  <c:v>125.20978887076495</c:v>
                </c:pt>
                <c:pt idx="11">
                  <c:v>123.04629669187268</c:v>
                </c:pt>
                <c:pt idx="12">
                  <c:v>120.96570016279206</c:v>
                </c:pt>
                <c:pt idx="13">
                  <c:v>119.55501490561642</c:v>
                </c:pt>
                <c:pt idx="14">
                  <c:v>118.16964804864531</c:v>
                </c:pt>
                <c:pt idx="15">
                  <c:v>116.80899663719417</c:v>
                </c:pt>
                <c:pt idx="16">
                  <c:v>115.47247575612903</c:v>
                </c:pt>
                <c:pt idx="17">
                  <c:v>114.15951786714409</c:v>
                </c:pt>
                <c:pt idx="18">
                  <c:v>112.86957217585024</c:v>
                </c:pt>
                <c:pt idx="19">
                  <c:v>111.6021040269533</c:v>
                </c:pt>
                <c:pt idx="20">
                  <c:v>110.35659432591135</c:v>
                </c:pt>
                <c:pt idx="21">
                  <c:v>109.54677330357462</c:v>
                </c:pt>
                <c:pt idx="22">
                  <c:v>108.74863565404095</c:v>
                </c:pt>
                <c:pt idx="23">
                  <c:v>107.9619387864351</c:v>
                </c:pt>
                <c:pt idx="24">
                  <c:v>107.18644651461553</c:v>
                </c:pt>
                <c:pt idx="25">
                  <c:v>106.42192884825565</c:v>
                </c:pt>
                <c:pt idx="26">
                  <c:v>105.66816179204754</c:v>
                </c:pt>
                <c:pt idx="27">
                  <c:v>104.92492715268982</c:v>
                </c:pt>
                <c:pt idx="28">
                  <c:v>104.1920123533254</c:v>
                </c:pt>
                <c:pt idx="29">
                  <c:v>103.4692102551119</c:v>
                </c:pt>
                <c:pt idx="30">
                  <c:v>102.75631898561947</c:v>
                </c:pt>
                <c:pt idx="31">
                  <c:v>102.05314177376503</c:v>
                </c:pt>
                <c:pt idx="32">
                  <c:v>101.35948679100022</c:v>
                </c:pt>
                <c:pt idx="33">
                  <c:v>100.6751669984864</c:v>
                </c:pt>
                <c:pt idx="34">
                  <c:v>100.0</c:v>
                </c:pt>
                <c:pt idx="35">
                  <c:v>99.33380790032025</c:v>
                </c:pt>
                <c:pt idx="36">
                  <c:v>98.67641716886699</c:v>
                </c:pt>
                <c:pt idx="37">
                  <c:v>98.02765850836145</c:v>
                </c:pt>
                <c:pt idx="38">
                  <c:v>97.38736672829708</c:v>
                </c:pt>
                <c:pt idx="39">
                  <c:v>96.75538062301568</c:v>
                </c:pt>
                <c:pt idx="40">
                  <c:v>96.13154285418946</c:v>
                </c:pt>
                <c:pt idx="41">
                  <c:v>95.01499211749672</c:v>
                </c:pt>
                <c:pt idx="42">
                  <c:v>93.92147239422303</c:v>
                </c:pt>
                <c:pt idx="43">
                  <c:v>92.85031487376875</c:v>
                </c:pt>
                <c:pt idx="44">
                  <c:v>91.80087516410198</c:v>
                </c:pt>
                <c:pt idx="45">
                  <c:v>90.77253222119651</c:v>
                </c:pt>
                <c:pt idx="46">
                  <c:v>89.76468733275867</c:v>
                </c:pt>
                <c:pt idx="47">
                  <c:v>88.7767631532286</c:v>
                </c:pt>
                <c:pt idx="48">
                  <c:v>87.80820278722392</c:v>
                </c:pt>
                <c:pt idx="49">
                  <c:v>86.85846891874617</c:v>
                </c:pt>
                <c:pt idx="50">
                  <c:v>85.92704298362347</c:v>
                </c:pt>
                <c:pt idx="51">
                  <c:v>85.01342438280297</c:v>
                </c:pt>
                <c:pt idx="52">
                  <c:v>84.11712973424626</c:v>
                </c:pt>
                <c:pt idx="53">
                  <c:v>83.2376921613074</c:v>
                </c:pt>
                <c:pt idx="54">
                  <c:v>82.374660615594</c:v>
                </c:pt>
                <c:pt idx="55">
                  <c:v>81.52759923243059</c:v>
                </c:pt>
                <c:pt idx="56">
                  <c:v>80.69608671714661</c:v>
                </c:pt>
                <c:pt idx="57">
                  <c:v>79.87971576052054</c:v>
                </c:pt>
                <c:pt idx="58">
                  <c:v>79.07809248180227</c:v>
                </c:pt>
                <c:pt idx="59">
                  <c:v>78.29083589783374</c:v>
                </c:pt>
                <c:pt idx="60">
                  <c:v>77.517577416863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C$2:$C$62</c:f>
              <c:numCache>
                <c:formatCode>General</c:formatCode>
                <c:ptCount val="61"/>
                <c:pt idx="0">
                  <c:v>122.4494590294829</c:v>
                </c:pt>
                <c:pt idx="1">
                  <c:v>120.66812008689054</c:v>
                </c:pt>
                <c:pt idx="2">
                  <c:v>118.966287161664</c:v>
                </c:pt>
                <c:pt idx="3">
                  <c:v>117.33978417522827</c:v>
                </c:pt>
                <c:pt idx="4">
                  <c:v>115.78468620568646</c:v>
                </c:pt>
                <c:pt idx="5">
                  <c:v>114.29730161890035</c:v>
                </c:pt>
                <c:pt idx="6">
                  <c:v>112.87415573835437</c:v>
                </c:pt>
                <c:pt idx="7">
                  <c:v>111.51197589572143</c:v>
                </c:pt>
                <c:pt idx="8">
                  <c:v>110.20767772262776</c:v>
                </c:pt>
                <c:pt idx="9">
                  <c:v>108.95835256029748</c:v>
                </c:pt>
                <c:pt idx="10">
                  <c:v>107.76125587787966</c:v>
                </c:pt>
                <c:pt idx="11">
                  <c:v>106.61379660259354</c:v>
                </c:pt>
                <c:pt idx="12">
                  <c:v>105.51352727562072</c:v>
                </c:pt>
                <c:pt idx="13">
                  <c:v>104.97712924920476</c:v>
                </c:pt>
                <c:pt idx="14">
                  <c:v>104.44673834366624</c:v>
                </c:pt>
                <c:pt idx="15">
                  <c:v>103.92225863422821</c:v>
                </c:pt>
                <c:pt idx="16">
                  <c:v>103.40359636984205</c:v>
                </c:pt>
                <c:pt idx="17">
                  <c:v>102.89065989844521</c:v>
                </c:pt>
                <c:pt idx="18">
                  <c:v>102.38335959623718</c:v>
                </c:pt>
                <c:pt idx="19">
                  <c:v>101.88160780060898</c:v>
                </c:pt>
                <c:pt idx="20">
                  <c:v>101.38531874638292</c:v>
                </c:pt>
                <c:pt idx="21">
                  <c:v>101.27742765377943</c:v>
                </c:pt>
                <c:pt idx="22">
                  <c:v>101.17100226454592</c:v>
                </c:pt>
                <c:pt idx="23">
                  <c:v>101.06601895031875</c:v>
                </c:pt>
                <c:pt idx="24">
                  <c:v>100.9624544835427</c:v>
                </c:pt>
                <c:pt idx="25">
                  <c:v>100.86028602530371</c:v>
                </c:pt>
                <c:pt idx="26">
                  <c:v>100.75949111363632</c:v>
                </c:pt>
                <c:pt idx="27">
                  <c:v>100.66004765230619</c:v>
                </c:pt>
                <c:pt idx="28">
                  <c:v>100.56193390006534</c:v>
                </c:pt>
                <c:pt idx="29">
                  <c:v>100.46512846037135</c:v>
                </c:pt>
                <c:pt idx="30">
                  <c:v>100.36961027156472</c:v>
                </c:pt>
                <c:pt idx="31">
                  <c:v>100.27535859749399</c:v>
                </c:pt>
                <c:pt idx="32">
                  <c:v>100.18235301857523</c:v>
                </c:pt>
                <c:pt idx="33">
                  <c:v>100.09057342327432</c:v>
                </c:pt>
                <c:pt idx="34">
                  <c:v>100.0</c:v>
                </c:pt>
                <c:pt idx="35">
                  <c:v>99.91061322938873</c:v>
                </c:pt>
                <c:pt idx="36">
                  <c:v>99.82239387697065</c:v>
                </c:pt>
                <c:pt idx="37">
                  <c:v>99.73532298619854</c:v>
                </c:pt>
                <c:pt idx="38">
                  <c:v>99.64938187182514</c:v>
                </c:pt>
                <c:pt idx="39">
                  <c:v>99.5645521136147</c:v>
                </c:pt>
                <c:pt idx="40">
                  <c:v>99.48081555036805</c:v>
                </c:pt>
                <c:pt idx="41">
                  <c:v>98.87709751359534</c:v>
                </c:pt>
                <c:pt idx="42">
                  <c:v>98.28452034811231</c:v>
                </c:pt>
                <c:pt idx="43">
                  <c:v>97.70278103239689</c:v>
                </c:pt>
                <c:pt idx="44">
                  <c:v>97.13158687592015</c:v>
                </c:pt>
                <c:pt idx="45">
                  <c:v>96.57065508725837</c:v>
                </c:pt>
                <c:pt idx="46">
                  <c:v>96.01971236311331</c:v>
                </c:pt>
                <c:pt idx="47">
                  <c:v>95.47849449719344</c:v>
                </c:pt>
                <c:pt idx="48">
                  <c:v>94.9467460079715</c:v>
                </c:pt>
                <c:pt idx="49">
                  <c:v>94.42421978436319</c:v>
                </c:pt>
                <c:pt idx="50">
                  <c:v>93.91067674841838</c:v>
                </c:pt>
                <c:pt idx="51">
                  <c:v>93.40588553415438</c:v>
                </c:pt>
                <c:pt idx="52">
                  <c:v>92.9096221817019</c:v>
                </c:pt>
                <c:pt idx="53">
                  <c:v>92.4216698459719</c:v>
                </c:pt>
                <c:pt idx="54">
                  <c:v>91.94181851909129</c:v>
                </c:pt>
                <c:pt idx="55">
                  <c:v>91.46986476588992</c:v>
                </c:pt>
                <c:pt idx="56">
                  <c:v>91.00561147175834</c:v>
                </c:pt>
                <c:pt idx="57">
                  <c:v>90.54886760223035</c:v>
                </c:pt>
                <c:pt idx="58">
                  <c:v>90.09944797367507</c:v>
                </c:pt>
                <c:pt idx="59">
                  <c:v>89.65717303452107</c:v>
                </c:pt>
                <c:pt idx="60">
                  <c:v>89.22186865645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D$2:$D$62</c:f>
              <c:numCache>
                <c:formatCode>General</c:formatCode>
                <c:ptCount val="61"/>
                <c:pt idx="0">
                  <c:v>93.73937687084349</c:v>
                </c:pt>
                <c:pt idx="1">
                  <c:v>93.40514013562172</c:v>
                </c:pt>
                <c:pt idx="2">
                  <c:v>93.08823762400851</c:v>
                </c:pt>
                <c:pt idx="3">
                  <c:v>92.78829898024621</c:v>
                </c:pt>
                <c:pt idx="4">
                  <c:v>92.50493542154534</c:v>
                </c:pt>
                <c:pt idx="5">
                  <c:v>92.23774309325617</c:v>
                </c:pt>
                <c:pt idx="6">
                  <c:v>91.98630608618693</c:v>
                </c:pt>
                <c:pt idx="7">
                  <c:v>91.75019914715537</c:v>
                </c:pt>
                <c:pt idx="8">
                  <c:v>91.52899011070039</c:v>
                </c:pt>
                <c:pt idx="9">
                  <c:v>91.32224207712648</c:v>
                </c:pt>
                <c:pt idx="10">
                  <c:v>91.12951535963761</c:v>
                </c:pt>
                <c:pt idx="11">
                  <c:v>90.95036922118848</c:v>
                </c:pt>
                <c:pt idx="12">
                  <c:v>90.78436341979153</c:v>
                </c:pt>
                <c:pt idx="13">
                  <c:v>91.08152901595645</c:v>
                </c:pt>
                <c:pt idx="14">
                  <c:v>91.3662729389444</c:v>
                </c:pt>
                <c:pt idx="15">
                  <c:v>91.63898357108617</c:v>
                </c:pt>
                <c:pt idx="16">
                  <c:v>91.90003629911251</c:v>
                </c:pt>
                <c:pt idx="17">
                  <c:v>92.14979400214065</c:v>
                </c:pt>
                <c:pt idx="18">
                  <c:v>92.38860751896702</c:v>
                </c:pt>
                <c:pt idx="19">
                  <c:v>92.61681609560412</c:v>
                </c:pt>
                <c:pt idx="20">
                  <c:v>92.83474781393568</c:v>
                </c:pt>
                <c:pt idx="21">
                  <c:v>93.39588220328255</c:v>
                </c:pt>
                <c:pt idx="22">
                  <c:v>93.94874149050644</c:v>
                </c:pt>
                <c:pt idx="23">
                  <c:v>94.49351085374221</c:v>
                </c:pt>
                <c:pt idx="24">
                  <c:v>95.03037014454605</c:v>
                </c:pt>
                <c:pt idx="25">
                  <c:v>95.55949406348284</c:v>
                </c:pt>
                <c:pt idx="26">
                  <c:v>96.08105232888352</c:v>
                </c:pt>
                <c:pt idx="27">
                  <c:v>96.5952098391047</c:v>
                </c:pt>
                <c:pt idx="28">
                  <c:v>97.10212682859783</c:v>
                </c:pt>
                <c:pt idx="29">
                  <c:v>97.60195901807974</c:v>
                </c:pt>
                <c:pt idx="30">
                  <c:v>98.09485775907866</c:v>
                </c:pt>
                <c:pt idx="31">
                  <c:v>98.5809701731189</c:v>
                </c:pt>
                <c:pt idx="32">
                  <c:v>99.0604392857834</c:v>
                </c:pt>
                <c:pt idx="33">
                  <c:v>99.53340415589017</c:v>
                </c:pt>
                <c:pt idx="34">
                  <c:v>100.0</c:v>
                </c:pt>
                <c:pt idx="35">
                  <c:v>100.46035831245787</c:v>
                </c:pt>
                <c:pt idx="36">
                  <c:v>100.91460698116943</c:v>
                </c:pt>
                <c:pt idx="37">
                  <c:v>101.36287039929093</c:v>
                </c:pt>
                <c:pt idx="38">
                  <c:v>101.80526957301063</c:v>
                </c:pt>
                <c:pt idx="39">
                  <c:v>102.24192222558732</c:v>
                </c:pt>
                <c:pt idx="40">
                  <c:v>102.67294289779736</c:v>
                </c:pt>
                <c:pt idx="41">
                  <c:v>102.55798544013703</c:v>
                </c:pt>
                <c:pt idx="42">
                  <c:v>102.44282283237096</c:v>
                </c:pt>
                <c:pt idx="43">
                  <c:v>102.32750158685724</c:v>
                </c:pt>
                <c:pt idx="44">
                  <c:v>102.2120650637679</c:v>
                </c:pt>
                <c:pt idx="45">
                  <c:v>102.09655365163451</c:v>
                </c:pt>
                <c:pt idx="46">
                  <c:v>101.98100493672328</c:v>
                </c:pt>
                <c:pt idx="47">
                  <c:v>101.86545386208972</c:v>
                </c:pt>
                <c:pt idx="48">
                  <c:v>101.74993287710332</c:v>
                </c:pt>
                <c:pt idx="49">
                  <c:v>101.63447207815149</c:v>
                </c:pt>
                <c:pt idx="50">
                  <c:v>101.51909934117047</c:v>
                </c:pt>
                <c:pt idx="51">
                  <c:v>101.40384044659021</c:v>
                </c:pt>
                <c:pt idx="52">
                  <c:v>101.28871919722941</c:v>
                </c:pt>
                <c:pt idx="53">
                  <c:v>101.17375752962911</c:v>
                </c:pt>
                <c:pt idx="54">
                  <c:v>101.05897561926712</c:v>
                </c:pt>
                <c:pt idx="55">
                  <c:v>100.94439198006305</c:v>
                </c:pt>
                <c:pt idx="56">
                  <c:v>100.83002355853993</c:v>
                </c:pt>
                <c:pt idx="57">
                  <c:v>100.7158858229868</c:v>
                </c:pt>
                <c:pt idx="58">
                  <c:v>100.60199284792853</c:v>
                </c:pt>
                <c:pt idx="59">
                  <c:v>100.48835739419368</c:v>
                </c:pt>
                <c:pt idx="60">
                  <c:v>100.374990984833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E$2:$E$62</c:f>
              <c:numCache>
                <c:formatCode>General</c:formatCode>
                <c:ptCount val="61"/>
                <c:pt idx="0">
                  <c:v>0.39257391304347844</c:v>
                </c:pt>
                <c:pt idx="1">
                  <c:v>0.39694388489208643</c:v>
                </c:pt>
                <c:pt idx="2">
                  <c:v>0.40125142857142865</c:v>
                </c:pt>
                <c:pt idx="3">
                  <c:v>0.40549787234042556</c:v>
                </c:pt>
                <c:pt idx="4">
                  <c:v>0.4096845070422537</c:v>
                </c:pt>
                <c:pt idx="5">
                  <c:v>0.4138125874125876</c:v>
                </c:pt>
                <c:pt idx="6">
                  <c:v>0.4178833333333335</c:v>
                </c:pt>
                <c:pt idx="7">
                  <c:v>0.4218979310344828</c:v>
                </c:pt>
                <c:pt idx="8">
                  <c:v>0.4258575342465755</c:v>
                </c:pt>
                <c:pt idx="9">
                  <c:v>0.4297632653061226</c:v>
                </c:pt>
                <c:pt idx="10">
                  <c:v>0.4336162162162163</c:v>
                </c:pt>
                <c:pt idx="11">
                  <c:v>0.43741744966442964</c:v>
                </c:pt>
                <c:pt idx="12">
                  <c:v>0.4411680000000001</c:v>
                </c:pt>
                <c:pt idx="13">
                  <c:v>0.4448688741721855</c:v>
                </c:pt>
                <c:pt idx="14">
                  <c:v>0.4485210526315791</c:v>
                </c:pt>
                <c:pt idx="15">
                  <c:v>0.4521254901960786</c:v>
                </c:pt>
                <c:pt idx="16">
                  <c:v>0.455683116883117</c:v>
                </c:pt>
                <c:pt idx="17">
                  <c:v>0.45919483870967753</c:v>
                </c:pt>
                <c:pt idx="18">
                  <c:v>0.46266153846153857</c:v>
                </c:pt>
                <c:pt idx="19">
                  <c:v>0.46608407643312116</c:v>
                </c:pt>
                <c:pt idx="20">
                  <c:v>0.4694632911392406</c:v>
                </c:pt>
                <c:pt idx="21">
                  <c:v>0.47280000000000016</c:v>
                </c:pt>
                <c:pt idx="22">
                  <c:v>0.4760950000000002</c:v>
                </c:pt>
                <c:pt idx="23">
                  <c:v>0.4793490683229815</c:v>
                </c:pt>
                <c:pt idx="24">
                  <c:v>0.4825629629629631</c:v>
                </c:pt>
                <c:pt idx="25">
                  <c:v>0.48573742331288355</c:v>
                </c:pt>
                <c:pt idx="26">
                  <c:v>0.4888731707317075</c:v>
                </c:pt>
                <c:pt idx="27">
                  <c:v>0.49197090909090924</c:v>
                </c:pt>
                <c:pt idx="28">
                  <c:v>0.4950313253012049</c:v>
                </c:pt>
                <c:pt idx="29">
                  <c:v>0.4980550898203594</c:v>
                </c:pt>
                <c:pt idx="30">
                  <c:v>0.5010428571428572</c:v>
                </c:pt>
                <c:pt idx="31">
                  <c:v>0.5039952662721894</c:v>
                </c:pt>
                <c:pt idx="32">
                  <c:v>0.5069129411764708</c:v>
                </c:pt>
                <c:pt idx="33">
                  <c:v>0.5097964912280702</c:v>
                </c:pt>
                <c:pt idx="34">
                  <c:v>0.5126465116279071</c:v>
                </c:pt>
                <c:pt idx="35">
                  <c:v>0.515463583815029</c:v>
                </c:pt>
                <c:pt idx="36">
                  <c:v>0.518248275862069</c:v>
                </c:pt>
                <c:pt idx="37">
                  <c:v>0.521001142857143</c:v>
                </c:pt>
                <c:pt idx="38">
                  <c:v>0.5237227272727274</c:v>
                </c:pt>
                <c:pt idx="39">
                  <c:v>0.5264135593220339</c:v>
                </c:pt>
                <c:pt idx="40">
                  <c:v>0.5290741573033708</c:v>
                </c:pt>
                <c:pt idx="41">
                  <c:v>0.531705027932961</c:v>
                </c:pt>
                <c:pt idx="42">
                  <c:v>0.5343066666666668</c:v>
                </c:pt>
                <c:pt idx="43">
                  <c:v>0.5368795580110498</c:v>
                </c:pt>
                <c:pt idx="44">
                  <c:v>0.539424175824176</c:v>
                </c:pt>
                <c:pt idx="45">
                  <c:v>0.5419409836065575</c:v>
                </c:pt>
                <c:pt idx="46">
                  <c:v>0.5444304347826088</c:v>
                </c:pt>
                <c:pt idx="47">
                  <c:v>0.5468929729729731</c:v>
                </c:pt>
                <c:pt idx="48">
                  <c:v>0.5493290322580646</c:v>
                </c:pt>
                <c:pt idx="49">
                  <c:v>0.5517390374331552</c:v>
                </c:pt>
                <c:pt idx="50">
                  <c:v>0.5541234042553193</c:v>
                </c:pt>
                <c:pt idx="51">
                  <c:v>0.5564825396825399</c:v>
                </c:pt>
                <c:pt idx="52">
                  <c:v>0.5588168421052633</c:v>
                </c:pt>
                <c:pt idx="53">
                  <c:v>0.5611267015706808</c:v>
                </c:pt>
                <c:pt idx="54">
                  <c:v>0.5634125000000001</c:v>
                </c:pt>
                <c:pt idx="55">
                  <c:v>0.5656746113989638</c:v>
                </c:pt>
                <c:pt idx="56">
                  <c:v>0.5679134020618558</c:v>
                </c:pt>
                <c:pt idx="57">
                  <c:v>0.5701292307692308</c:v>
                </c:pt>
                <c:pt idx="58">
                  <c:v>0.572322448979592</c:v>
                </c:pt>
                <c:pt idx="59">
                  <c:v>0.5744934010152285</c:v>
                </c:pt>
                <c:pt idx="60">
                  <c:v>0.57664242424242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B$2:$B$10</c:f>
              <c:numCache>
                <c:formatCode>General</c:formatCode>
                <c:ptCount val="9"/>
                <c:pt idx="0">
                  <c:v>130.65337747428015</c:v>
                </c:pt>
                <c:pt idx="1">
                  <c:v>119.8874868703016</c:v>
                </c:pt>
                <c:pt idx="2">
                  <c:v>111.60841712467962</c:v>
                </c:pt>
                <c:pt idx="3">
                  <c:v>105.15023253643616</c:v>
                </c:pt>
                <c:pt idx="4">
                  <c:v>100.0</c:v>
                </c:pt>
                <c:pt idx="5">
                  <c:v>94.06409293118021</c:v>
                </c:pt>
                <c:pt idx="6">
                  <c:v>88.77618983364566</c:v>
                </c:pt>
                <c:pt idx="7">
                  <c:v>84.03295089355682</c:v>
                </c:pt>
                <c:pt idx="8">
                  <c:v>79.75023628498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C$2:$C$10</c:f>
              <c:numCache>
                <c:formatCode>General</c:formatCode>
                <c:ptCount val="9"/>
                <c:pt idx="0">
                  <c:v>105.8320191538654</c:v>
                </c:pt>
                <c:pt idx="1">
                  <c:v>102.80422374546745</c:v>
                </c:pt>
                <c:pt idx="2">
                  <c:v>101.00553234640608</c:v>
                </c:pt>
                <c:pt idx="3">
                  <c:v>100.15539994721483</c:v>
                </c:pt>
                <c:pt idx="4">
                  <c:v>100.0</c:v>
                </c:pt>
                <c:pt idx="5">
                  <c:v>98.53139152696343</c:v>
                </c:pt>
                <c:pt idx="6">
                  <c:v>97.2086535984627</c:v>
                </c:pt>
                <c:pt idx="7">
                  <c:v>96.0060072168144</c:v>
                </c:pt>
                <c:pt idx="8">
                  <c:v>94.900901870054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D$2:$D$10</c:f>
              <c:numCache>
                <c:formatCode>General</c:formatCode>
                <c:ptCount val="9"/>
                <c:pt idx="0">
                  <c:v>80.88066224598298</c:v>
                </c:pt>
                <c:pt idx="1">
                  <c:v>85.63391919307257</c:v>
                </c:pt>
                <c:pt idx="2">
                  <c:v>90.3496710056931</c:v>
                </c:pt>
                <c:pt idx="3">
                  <c:v>95.13592467582328</c:v>
                </c:pt>
                <c:pt idx="4">
                  <c:v>100.0</c:v>
                </c:pt>
                <c:pt idx="5">
                  <c:v>103.02257797224502</c:v>
                </c:pt>
                <c:pt idx="6">
                  <c:v>105.68594027814957</c:v>
                </c:pt>
                <c:pt idx="7">
                  <c:v>108.04236543457304</c:v>
                </c:pt>
                <c:pt idx="8">
                  <c:v>110.131278679267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E$2:$E$10</c:f>
              <c:numCache>
                <c:formatCode>General</c:formatCode>
                <c:ptCount val="9"/>
                <c:pt idx="0">
                  <c:v>0.38235294117647073</c:v>
                </c:pt>
                <c:pt idx="1">
                  <c:v>0.4166666666666667</c:v>
                </c:pt>
                <c:pt idx="2">
                  <c:v>0.44736842105263175</c:v>
                </c:pt>
                <c:pt idx="3">
                  <c:v>0.47500000000000014</c:v>
                </c:pt>
                <c:pt idx="4">
                  <c:v>0.5</c:v>
                </c:pt>
                <c:pt idx="5">
                  <c:v>0.5227272727272728</c:v>
                </c:pt>
                <c:pt idx="6">
                  <c:v>0.5434782608695653</c:v>
                </c:pt>
                <c:pt idx="7">
                  <c:v>0.5625</c:v>
                </c:pt>
                <c:pt idx="8">
                  <c:v>0.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B$2:$B$18</c:f>
              <c:numCache>
                <c:formatCode>General</c:formatCode>
                <c:ptCount val="17"/>
                <c:pt idx="0">
                  <c:v>116.18873267444778</c:v>
                </c:pt>
                <c:pt idx="1">
                  <c:v>113.48806692959401</c:v>
                </c:pt>
                <c:pt idx="2">
                  <c:v>110.88671374603504</c:v>
                </c:pt>
                <c:pt idx="3">
                  <c:v>108.38204592192633</c:v>
                </c:pt>
                <c:pt idx="4">
                  <c:v>105.9714337747635</c:v>
                </c:pt>
                <c:pt idx="5">
                  <c:v>104.3808975897008</c:v>
                </c:pt>
                <c:pt idx="6">
                  <c:v>102.89791985950203</c:v>
                </c:pt>
                <c:pt idx="7">
                  <c:v>101.4377522354013</c:v>
                </c:pt>
                <c:pt idx="8">
                  <c:v>100.0</c:v>
                </c:pt>
                <c:pt idx="9">
                  <c:v>98.58430890648683</c:v>
                </c:pt>
                <c:pt idx="10">
                  <c:v>97.19036452266054</c:v>
                </c:pt>
                <c:pt idx="11">
                  <c:v>95.81789072896709</c:v>
                </c:pt>
                <c:pt idx="12">
                  <c:v>94.46664741007393</c:v>
                </c:pt>
                <c:pt idx="13">
                  <c:v>93.13642740468703</c:v>
                </c:pt>
                <c:pt idx="14">
                  <c:v>91.82705280222793</c:v>
                </c:pt>
                <c:pt idx="15">
                  <c:v>88.04354492288982</c:v>
                </c:pt>
                <c:pt idx="16">
                  <c:v>84.06552543873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C$2:$C$18</c:f>
              <c:numCache>
                <c:formatCode>General</c:formatCode>
                <c:ptCount val="17"/>
                <c:pt idx="0">
                  <c:v>96.70549182303333</c:v>
                </c:pt>
                <c:pt idx="1">
                  <c:v>96.83549090617632</c:v>
                </c:pt>
                <c:pt idx="2">
                  <c:v>96.93660646616571</c:v>
                </c:pt>
                <c:pt idx="3">
                  <c:v>97.01325736011692</c:v>
                </c:pt>
                <c:pt idx="4">
                  <c:v>97.06955681152216</c:v>
                </c:pt>
                <c:pt idx="5">
                  <c:v>97.8088222833702</c:v>
                </c:pt>
                <c:pt idx="6">
                  <c:v>98.58231889384874</c:v>
                </c:pt>
                <c:pt idx="7">
                  <c:v>99.3122348467643</c:v>
                </c:pt>
                <c:pt idx="8">
                  <c:v>100.0</c:v>
                </c:pt>
                <c:pt idx="9">
                  <c:v>100.64702493230646</c:v>
                </c:pt>
                <c:pt idx="10">
                  <c:v>101.25470595840218</c:v>
                </c:pt>
                <c:pt idx="11">
                  <c:v>101.82442905384362</c:v>
                </c:pt>
                <c:pt idx="12">
                  <c:v>102.35757262600774</c:v>
                </c:pt>
                <c:pt idx="13">
                  <c:v>102.85550910079371</c:v>
                </c:pt>
                <c:pt idx="14">
                  <c:v>103.31960533098545</c:v>
                </c:pt>
                <c:pt idx="15">
                  <c:v>100.89532959525948</c:v>
                </c:pt>
                <c:pt idx="16">
                  <c:v>98.092365537304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D$2:$D$18</c:f>
              <c:numCache>
                <c:formatCode>General</c:formatCode>
                <c:ptCount val="17"/>
                <c:pt idx="0">
                  <c:v>36.27898420528381</c:v>
                </c:pt>
                <c:pt idx="1">
                  <c:v>45.19226629886577</c:v>
                </c:pt>
                <c:pt idx="2">
                  <c:v>53.68928246296791</c:v>
                </c:pt>
                <c:pt idx="3">
                  <c:v>61.79414842941853</c:v>
                </c:pt>
                <c:pt idx="4">
                  <c:v>69.53007486268578</c:v>
                </c:pt>
                <c:pt idx="5">
                  <c:v>77.46009249295285</c:v>
                </c:pt>
                <c:pt idx="6">
                  <c:v>85.20569896874667</c:v>
                </c:pt>
                <c:pt idx="7">
                  <c:v>92.71717206399995</c:v>
                </c:pt>
                <c:pt idx="8">
                  <c:v>100.0</c:v>
                </c:pt>
                <c:pt idx="9">
                  <c:v>107.05957921281349</c:v>
                </c:pt>
                <c:pt idx="10">
                  <c:v>113.90123098075591</c:v>
                </c:pt>
                <c:pt idx="11">
                  <c:v>120.53021664932339</c:v>
                </c:pt>
                <c:pt idx="12">
                  <c:v>126.95175099759386</c:v>
                </c:pt>
                <c:pt idx="13">
                  <c:v>133.17101335330065</c:v>
                </c:pt>
                <c:pt idx="14">
                  <c:v>139.19315614452137</c:v>
                </c:pt>
                <c:pt idx="15">
                  <c:v>141.0271277220101</c:v>
                </c:pt>
                <c:pt idx="16">
                  <c:v>141.882276152080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E$2:$E$18</c:f>
              <c:numCache>
                <c:formatCode>General</c:formatCode>
                <c:ptCount val="17"/>
                <c:pt idx="0">
                  <c:v>0.10145239763491593</c:v>
                </c:pt>
                <c:pt idx="1">
                  <c:v>0.12586945204701053</c:v>
                </c:pt>
                <c:pt idx="2">
                  <c:v>0.14899459881825367</c:v>
                </c:pt>
                <c:pt idx="3">
                  <c:v>0.1709277277146905</c:v>
                </c:pt>
                <c:pt idx="4">
                  <c:v>0.19175868932989928</c:v>
                </c:pt>
                <c:pt idx="5">
                  <c:v>0.21156852537573503</c:v>
                </c:pt>
                <c:pt idx="6">
                  <c:v>0.23043052237631542</c:v>
                </c:pt>
                <c:pt idx="7">
                  <c:v>0.24841111764789686</c:v>
                </c:pt>
                <c:pt idx="8">
                  <c:v>0.2655706811719175</c:v>
                </c:pt>
                <c:pt idx="9">
                  <c:v>0.2819641927529016</c:v>
                </c:pt>
                <c:pt idx="10">
                  <c:v>0.2976418304657203</c:v>
                </c:pt>
                <c:pt idx="11">
                  <c:v>0.3126494836608973</c:v>
                </c:pt>
                <c:pt idx="12">
                  <c:v>0.3270292015759412</c:v>
                </c:pt>
                <c:pt idx="13">
                  <c:v>0.340819586789549</c:v>
                </c:pt>
                <c:pt idx="14">
                  <c:v>0.3540561412716865</c:v>
                </c:pt>
                <c:pt idx="15">
                  <c:v>0.366771571561614</c:v>
                </c:pt>
                <c:pt idx="16">
                  <c:v>0.3789960585971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a Augusta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Patriarche (2.6%)</c:v>
                </c:pt>
                <c:pt idx="2">
                  <c:v>Savian (2.1%)</c:v>
                </c:pt>
                <c:pt idx="3">
                  <c:v>Nicolas (14.4%)</c:v>
                </c:pt>
                <c:pt idx="4">
                  <c:v>Les Grumes  (1.0%)</c:v>
                </c:pt>
                <c:pt idx="5">
                  <c:v>Bottega (3.7%)</c:v>
                </c:pt>
                <c:pt idx="6">
                  <c:v>Bouvet Ladubay (1.5%)</c:v>
                </c:pt>
                <c:pt idx="7">
                  <c:v>Muré (1.3%)</c:v>
                </c:pt>
                <c:pt idx="8">
                  <c:v>Château Moncontour  (1.5%)</c:v>
                </c:pt>
                <c:pt idx="9">
                  <c:v>Veuve du Vernay (0.7%)</c:v>
                </c:pt>
              </c:strCache>
            </c:strRef>
          </c:cat>
          <c:val>
            <c:numRef>
              <c:f>Sheet1!$B$2:$B$11</c:f>
              <c:numCache>
                <c:formatCode>General</c:formatCode>
                <c:ptCount val="10"/>
                <c:pt idx="0">
                  <c:v>0.23220333283043998</c:v>
                </c:pt>
                <c:pt idx="1">
                  <c:v>0.08190542820392492</c:v>
                </c:pt>
                <c:pt idx="2">
                  <c:v>0.07158598195747429</c:v>
                </c:pt>
                <c:pt idx="3">
                  <c:v>0.07147337326422615</c:v>
                </c:pt>
                <c:pt idx="4">
                  <c:v>0.07049434199077557</c:v>
                </c:pt>
                <c:pt idx="5">
                  <c:v>0.06703275144543958</c:v>
                </c:pt>
                <c:pt idx="6">
                  <c:v>0.06380667688600357</c:v>
                </c:pt>
                <c:pt idx="7">
                  <c:v>0.06067346224590322</c:v>
                </c:pt>
                <c:pt idx="8">
                  <c:v>0.04177711084348668</c:v>
                </c:pt>
                <c:pt idx="9">
                  <c:v>0.040808139674197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B$2:$B$41</c:f>
              <c:numCache>
                <c:formatCode>General</c:formatCode>
                <c:ptCount val="40"/>
                <c:pt idx="0">
                  <c:v>193.40011018034542</c:v>
                </c:pt>
                <c:pt idx="1">
                  <c:v>187.64927146198042</c:v>
                </c:pt>
                <c:pt idx="2">
                  <c:v>182.3513596358723</c:v>
                </c:pt>
                <c:pt idx="3">
                  <c:v>177.45162810624498</c:v>
                </c:pt>
                <c:pt idx="4">
                  <c:v>172.90309128439117</c:v>
                </c:pt>
                <c:pt idx="5">
                  <c:v>168.66541529128406</c:v>
                </c:pt>
                <c:pt idx="6">
                  <c:v>164.70393511649635</c:v>
                </c:pt>
                <c:pt idx="7">
                  <c:v>160.98880109977438</c:v>
                </c:pt>
                <c:pt idx="8">
                  <c:v>157.49424757119093</c:v>
                </c:pt>
                <c:pt idx="9">
                  <c:v>154.19797167181775</c:v>
                </c:pt>
                <c:pt idx="10">
                  <c:v>150.658661110779</c:v>
                </c:pt>
                <c:pt idx="11">
                  <c:v>143.7620118268066</c:v>
                </c:pt>
                <c:pt idx="12">
                  <c:v>137.46781193843302</c:v>
                </c:pt>
                <c:pt idx="13">
                  <c:v>131.70053545014733</c:v>
                </c:pt>
                <c:pt idx="14">
                  <c:v>126.39669107604956</c:v>
                </c:pt>
                <c:pt idx="15">
                  <c:v>121.50261350441605</c:v>
                </c:pt>
                <c:pt idx="16">
                  <c:v>116.97268757552253</c:v>
                </c:pt>
                <c:pt idx="17">
                  <c:v>112.76792028135966</c:v>
                </c:pt>
                <c:pt idx="18">
                  <c:v>108.85479087988479</c:v>
                </c:pt>
                <c:pt idx="19">
                  <c:v>105.20432282562133</c:v>
                </c:pt>
                <c:pt idx="20">
                  <c:v>101.92603018314352</c:v>
                </c:pt>
                <c:pt idx="21">
                  <c:v>100.0</c:v>
                </c:pt>
                <c:pt idx="22">
                  <c:v>98.14311720127982</c:v>
                </c:pt>
                <c:pt idx="23">
                  <c:v>96.35151565466361</c:v>
                </c:pt>
                <c:pt idx="24">
                  <c:v>94.62162091735692</c:v>
                </c:pt>
                <c:pt idx="25">
                  <c:v>92.95012397510753</c:v>
                </c:pt>
                <c:pt idx="26">
                  <c:v>91.3339576413631</c:v>
                </c:pt>
                <c:pt idx="27">
                  <c:v>89.77027532626968</c:v>
                </c:pt>
                <c:pt idx="28">
                  <c:v>88.25643191778639</c:v>
                </c:pt>
                <c:pt idx="29">
                  <c:v>86.78996654621484</c:v>
                </c:pt>
                <c:pt idx="30">
                  <c:v>85.26908798917566</c:v>
                </c:pt>
                <c:pt idx="31">
                  <c:v>82.92166870546967</c:v>
                </c:pt>
                <c:pt idx="32">
                  <c:v>80.66141732308581</c:v>
                </c:pt>
                <c:pt idx="33">
                  <c:v>78.48529674593848</c:v>
                </c:pt>
                <c:pt idx="34">
                  <c:v>76.39073474464112</c:v>
                </c:pt>
                <c:pt idx="35">
                  <c:v>74.37550222729352</c:v>
                </c:pt>
                <c:pt idx="36">
                  <c:v>72.4376046006997</c:v>
                </c:pt>
                <c:pt idx="37">
                  <c:v>70.57518718241906</c:v>
                </c:pt>
                <c:pt idx="38">
                  <c:v>68.78645566284634</c:v>
                </c:pt>
                <c:pt idx="39">
                  <c:v>67.069612325805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C$2:$C$41</c:f>
              <c:numCache>
                <c:formatCode>General</c:formatCode>
                <c:ptCount val="40"/>
                <c:pt idx="0">
                  <c:v>148.98329843811183</c:v>
                </c:pt>
                <c:pt idx="1">
                  <c:v>146.6044415412187</c:v>
                </c:pt>
                <c:pt idx="2">
                  <c:v>144.45914402646292</c:v>
                </c:pt>
                <c:pt idx="3">
                  <c:v>142.51819081342614</c:v>
                </c:pt>
                <c:pt idx="4">
                  <c:v>140.75631138326406</c:v>
                </c:pt>
                <c:pt idx="5">
                  <c:v>139.15168441391782</c:v>
                </c:pt>
                <c:pt idx="6">
                  <c:v>137.68547633872907</c:v>
                </c:pt>
                <c:pt idx="7">
                  <c:v>136.34142571972723</c:v>
                </c:pt>
                <c:pt idx="8">
                  <c:v>135.10547701580825</c:v>
                </c:pt>
                <c:pt idx="9">
                  <c:v>133.96546255396572</c:v>
                </c:pt>
                <c:pt idx="10">
                  <c:v>132.53913546774606</c:v>
                </c:pt>
                <c:pt idx="11">
                  <c:v>128.04127413601572</c:v>
                </c:pt>
                <c:pt idx="12">
                  <c:v>123.93660088222435</c:v>
                </c:pt>
                <c:pt idx="13">
                  <c:v>120.1757845446565</c:v>
                </c:pt>
                <c:pt idx="14">
                  <c:v>116.71734193733845</c:v>
                </c:pt>
                <c:pt idx="15">
                  <c:v>113.52622301031626</c:v>
                </c:pt>
                <c:pt idx="16">
                  <c:v>110.57266266571139</c:v>
                </c:pt>
                <c:pt idx="17">
                  <c:v>107.8312503575599</c:v>
                </c:pt>
                <c:pt idx="18">
                  <c:v>105.28017622282704</c:v>
                </c:pt>
                <c:pt idx="19">
                  <c:v>102.90061963847212</c:v>
                </c:pt>
                <c:pt idx="20">
                  <c:v>100.80957319682567</c:v>
                </c:pt>
                <c:pt idx="21">
                  <c:v>100.0</c:v>
                </c:pt>
                <c:pt idx="22">
                  <c:v>99.21818351684253</c:v>
                </c:pt>
                <c:pt idx="23">
                  <c:v>98.46244029418986</c:v>
                </c:pt>
                <c:pt idx="24">
                  <c:v>97.73121927741236</c:v>
                </c:pt>
                <c:pt idx="25">
                  <c:v>97.02309031363362</c:v>
                </c:pt>
                <c:pt idx="26">
                  <c:v>96.3367337426352</c:v>
                </c:pt>
                <c:pt idx="27">
                  <c:v>95.67093096895297</c:v>
                </c:pt>
                <c:pt idx="28">
                  <c:v>95.02455591846976</c:v>
                </c:pt>
                <c:pt idx="29">
                  <c:v>94.39656729192396</c:v>
                </c:pt>
                <c:pt idx="30">
                  <c:v>93.67659598131125</c:v>
                </c:pt>
                <c:pt idx="31">
                  <c:v>92.00543326416548</c:v>
                </c:pt>
                <c:pt idx="32">
                  <c:v>90.38064137461805</c:v>
                </c:pt>
                <c:pt idx="33">
                  <c:v>88.80163491767289</c:v>
                </c:pt>
                <c:pt idx="34">
                  <c:v>87.26822790672712</c:v>
                </c:pt>
                <c:pt idx="35">
                  <c:v>85.78051861019603</c:v>
                </c:pt>
                <c:pt idx="36">
                  <c:v>84.33878168960682</c:v>
                </c:pt>
                <c:pt idx="37">
                  <c:v>82.94336975036035</c:v>
                </c:pt>
                <c:pt idx="38">
                  <c:v>81.59462655839008</c:v>
                </c:pt>
                <c:pt idx="39">
                  <c:v>80.29281391707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D$2:$D$41</c:f>
              <c:numCache>
                <c:formatCode>General</c:formatCode>
                <c:ptCount val="40"/>
                <c:pt idx="0">
                  <c:v>38.68175373415055</c:v>
                </c:pt>
                <c:pt idx="1">
                  <c:v>44.679998162628664</c:v>
                </c:pt>
                <c:pt idx="2">
                  <c:v>50.365186118044456</c:v>
                </c:pt>
                <c:pt idx="3">
                  <c:v>55.77187360131364</c:v>
                </c:pt>
                <c:pt idx="4">
                  <c:v>60.92900925563698</c:v>
                </c:pt>
                <c:pt idx="5">
                  <c:v>65.86097947522931</c:v>
                </c:pt>
                <c:pt idx="6">
                  <c:v>70.58845415956637</c:v>
                </c:pt>
                <c:pt idx="7">
                  <c:v>75.12906817210148</c:v>
                </c:pt>
                <c:pt idx="8">
                  <c:v>79.49796937291256</c:v>
                </c:pt>
                <c:pt idx="9">
                  <c:v>83.7082592981021</c:v>
                </c:pt>
                <c:pt idx="10">
                  <c:v>87.52621449856807</c:v>
                </c:pt>
                <c:pt idx="11">
                  <c:v>88.99614410241286</c:v>
                </c:pt>
                <c:pt idx="12">
                  <c:v>90.33651822332637</c:v>
                </c:pt>
                <c:pt idx="13">
                  <c:v>91.56367864330797</c:v>
                </c:pt>
                <c:pt idx="14">
                  <c:v>92.69128403967656</c:v>
                </c:pt>
                <c:pt idx="15">
                  <c:v>93.73089839778221</c:v>
                </c:pt>
                <c:pt idx="16">
                  <c:v>94.69242503006822</c:v>
                </c:pt>
                <c:pt idx="17">
                  <c:v>95.58442951851724</c:v>
                </c:pt>
                <c:pt idx="18">
                  <c:v>96.41438259106032</c:v>
                </c:pt>
                <c:pt idx="19">
                  <c:v>97.18884508614235</c:v>
                </c:pt>
                <c:pt idx="20">
                  <c:v>98.04317725436876</c:v>
                </c:pt>
                <c:pt idx="21">
                  <c:v>100.0</c:v>
                </c:pt>
                <c:pt idx="22">
                  <c:v>101.8818607722729</c:v>
                </c:pt>
                <c:pt idx="23">
                  <c:v>103.69250134947312</c:v>
                </c:pt>
                <c:pt idx="24">
                  <c:v>105.43539941665323</c:v>
                </c:pt>
                <c:pt idx="25">
                  <c:v>107.11379386230801</c:v>
                </c:pt>
                <c:pt idx="26">
                  <c:v>108.73070723943596</c:v>
                </c:pt>
                <c:pt idx="27">
                  <c:v>110.28896574369533</c:v>
                </c:pt>
                <c:pt idx="28">
                  <c:v>111.79121701415518</c:v>
                </c:pt>
                <c:pt idx="29">
                  <c:v>113.2399460214646</c:v>
                </c:pt>
                <c:pt idx="30">
                  <c:v>114.50387665837334</c:v>
                </c:pt>
                <c:pt idx="31">
                  <c:v>114.51052227049018</c:v>
                </c:pt>
                <c:pt idx="32">
                  <c:v>114.46201388534108</c:v>
                </c:pt>
                <c:pt idx="33">
                  <c:v>114.3638879699634</c:v>
                </c:pt>
                <c:pt idx="34">
                  <c:v>114.22191328480133</c:v>
                </c:pt>
                <c:pt idx="35">
                  <c:v>114.0419927780199</c:v>
                </c:pt>
                <c:pt idx="36">
                  <c:v>113.83005822690295</c:v>
                </c:pt>
                <c:pt idx="37">
                  <c:v>113.59196266286324</c:v>
                </c:pt>
                <c:pt idx="38">
                  <c:v>113.33337597319557</c:v>
                </c:pt>
                <c:pt idx="39">
                  <c:v>113.059688887170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E$2:$E$41</c:f>
              <c:numCache>
                <c:formatCode>General</c:formatCode>
                <c:ptCount val="40"/>
                <c:pt idx="0">
                  <c:v>0.07500419721871057</c:v>
                </c:pt>
                <c:pt idx="1">
                  <c:v>0.08803230711703858</c:v>
                </c:pt>
                <c:pt idx="2">
                  <c:v>0.10069852507374646</c:v>
                </c:pt>
                <c:pt idx="3">
                  <c:v>0.1130177233604074</c:v>
                </c:pt>
                <c:pt idx="4">
                  <c:v>0.12500397034202343</c:v>
                </c:pt>
                <c:pt idx="5">
                  <c:v>0.13667058407079657</c:v>
                </c:pt>
                <c:pt idx="6">
                  <c:v>0.14803018164881243</c:v>
                </c:pt>
                <c:pt idx="7">
                  <c:v>0.1590947247442824</c:v>
                </c:pt>
                <c:pt idx="8">
                  <c:v>0.16987556160653522</c:v>
                </c:pt>
                <c:pt idx="9">
                  <c:v>0.1803834658899967</c:v>
                </c:pt>
                <c:pt idx="10">
                  <c:v>0.19062867256637178</c:v>
                </c:pt>
                <c:pt idx="11">
                  <c:v>0.20062091117666347</c:v>
                </c:pt>
                <c:pt idx="12">
                  <c:v>0.21036943665011867</c:v>
                </c:pt>
                <c:pt idx="13">
                  <c:v>0.2198830578952981</c:v>
                </c:pt>
                <c:pt idx="14">
                  <c:v>0.22917016434892548</c:v>
                </c:pt>
                <c:pt idx="15">
                  <c:v>0.23823875065070288</c:v>
                </c:pt>
                <c:pt idx="16">
                  <c:v>0.24709643959662478</c:v>
                </c:pt>
                <c:pt idx="17">
                  <c:v>0.25575050350930734</c:v>
                </c:pt>
                <c:pt idx="18">
                  <c:v>0.26420788415124713</c:v>
                </c:pt>
                <c:pt idx="19">
                  <c:v>0.272475211295615</c:v>
                </c:pt>
                <c:pt idx="20">
                  <c:v>0.2805588200589972</c:v>
                </c:pt>
                <c:pt idx="21">
                  <c:v>0.28846476709131585</c:v>
                </c:pt>
                <c:pt idx="22">
                  <c:v>0.29619884570988847</c:v>
                </c:pt>
                <c:pt idx="23">
                  <c:v>0.30376660005709405</c:v>
                </c:pt>
                <c:pt idx="24">
                  <c:v>0.3111733383543589</c:v>
                </c:pt>
                <c:pt idx="25">
                  <c:v>0.31842414531904994</c:v>
                </c:pt>
                <c:pt idx="26">
                  <c:v>0.3255238938053098</c:v>
                </c:pt>
                <c:pt idx="27">
                  <c:v>0.33247725572484266</c:v>
                </c:pt>
                <c:pt idx="28">
                  <c:v>0.33928871229907903</c:v>
                </c:pt>
                <c:pt idx="29">
                  <c:v>0.34596256368999734</c:v>
                </c:pt>
                <c:pt idx="30">
                  <c:v>0.3525029380530974</c:v>
                </c:pt>
                <c:pt idx="31">
                  <c:v>0.3589138000525716</c:v>
                </c:pt>
                <c:pt idx="32">
                  <c:v>0.3651989588755856</c:v>
                </c:pt>
                <c:pt idx="33">
                  <c:v>0.37136207577970626</c:v>
                </c:pt>
                <c:pt idx="34">
                  <c:v>0.37740667120490135</c:v>
                </c:pt>
                <c:pt idx="35">
                  <c:v>0.38333613147914036</c:v>
                </c:pt>
                <c:pt idx="36">
                  <c:v>0.3891537151444314</c:v>
                </c:pt>
                <c:pt idx="37">
                  <c:v>0.3948625589281285</c:v>
                </c:pt>
                <c:pt idx="38">
                  <c:v>0.40046568338249755</c:v>
                </c:pt>
                <c:pt idx="39">
                  <c:v>0.405965998213850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B$2:$B$40</c:f>
              <c:numCache>
                <c:formatCode>General</c:formatCode>
                <c:ptCount val="39"/>
                <c:pt idx="0">
                  <c:v>161.91409502651277</c:v>
                </c:pt>
                <c:pt idx="1">
                  <c:v>154.097130680973</c:v>
                </c:pt>
                <c:pt idx="2">
                  <c:v>146.79656695636916</c:v>
                </c:pt>
                <c:pt idx="3">
                  <c:v>139.99341014389066</c:v>
                </c:pt>
                <c:pt idx="4">
                  <c:v>133.6617434149393</c:v>
                </c:pt>
                <c:pt idx="5">
                  <c:v>127.77136473645581</c:v>
                </c:pt>
                <c:pt idx="6">
                  <c:v>124.03536276602497</c:v>
                </c:pt>
                <c:pt idx="7">
                  <c:v>120.7158576823589</c:v>
                </c:pt>
                <c:pt idx="8">
                  <c:v>117.59226804031313</c:v>
                </c:pt>
                <c:pt idx="9">
                  <c:v>114.64799089073428</c:v>
                </c:pt>
                <c:pt idx="10">
                  <c:v>111.8679446714276</c:v>
                </c:pt>
                <c:pt idx="11">
                  <c:v>109.23851249284691</c:v>
                </c:pt>
                <c:pt idx="12">
                  <c:v>106.74744565086478</c:v>
                </c:pt>
                <c:pt idx="13">
                  <c:v>104.383747557995</c:v>
                </c:pt>
                <c:pt idx="14">
                  <c:v>102.13755143262</c:v>
                </c:pt>
                <c:pt idx="15">
                  <c:v>100.0</c:v>
                </c:pt>
                <c:pt idx="16">
                  <c:v>95.59186332097941</c:v>
                </c:pt>
                <c:pt idx="17">
                  <c:v>91.27190407241771</c:v>
                </c:pt>
                <c:pt idx="18">
                  <c:v>87.28593269165799</c:v>
                </c:pt>
                <c:pt idx="19">
                  <c:v>83.60440230389034</c:v>
                </c:pt>
                <c:pt idx="20">
                  <c:v>80.19990819244835</c:v>
                </c:pt>
                <c:pt idx="21">
                  <c:v>77.0469699195915</c:v>
                </c:pt>
                <c:pt idx="22">
                  <c:v>74.12198705318663</c:v>
                </c:pt>
                <c:pt idx="23">
                  <c:v>71.40326690669163</c:v>
                </c:pt>
                <c:pt idx="24">
                  <c:v>68.87104785177749</c:v>
                </c:pt>
                <c:pt idx="25">
                  <c:v>66.50747906731334</c:v>
                </c:pt>
                <c:pt idx="26">
                  <c:v>65.28736280279787</c:v>
                </c:pt>
                <c:pt idx="27">
                  <c:v>64.21986233547881</c:v>
                </c:pt>
                <c:pt idx="28">
                  <c:v>63.18753052801591</c:v>
                </c:pt>
                <c:pt idx="29">
                  <c:v>62.18857819342224</c:v>
                </c:pt>
                <c:pt idx="30">
                  <c:v>61.22133690675058</c:v>
                </c:pt>
                <c:pt idx="31">
                  <c:v>60.284249984262416</c:v>
                </c:pt>
                <c:pt idx="32">
                  <c:v>59.37586407539624</c:v>
                </c:pt>
                <c:pt idx="33">
                  <c:v>58.49482135076403</c:v>
                </c:pt>
                <c:pt idx="34">
                  <c:v>57.63985226377615</c:v>
                </c:pt>
                <c:pt idx="35">
                  <c:v>56.809768859192545</c:v>
                </c:pt>
                <c:pt idx="36">
                  <c:v>55.84674769274306</c:v>
                </c:pt>
                <c:pt idx="37">
                  <c:v>54.897253028789564</c:v>
                </c:pt>
                <c:pt idx="38">
                  <c:v>53.977751795565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C$2:$C$40</c:f>
              <c:numCache>
                <c:formatCode>General</c:formatCode>
                <c:ptCount val="39"/>
                <c:pt idx="0">
                  <c:v>132.89324696279692</c:v>
                </c:pt>
                <c:pt idx="1">
                  <c:v>128.27674767848342</c:v>
                </c:pt>
                <c:pt idx="2">
                  <c:v>123.91919648991951</c:v>
                </c:pt>
                <c:pt idx="3">
                  <c:v>119.82144075724509</c:v>
                </c:pt>
                <c:pt idx="4">
                  <c:v>115.97751313576516</c:v>
                </c:pt>
                <c:pt idx="5">
                  <c:v>112.37657131745094</c:v>
                </c:pt>
                <c:pt idx="6">
                  <c:v>110.57626315878521</c:v>
                </c:pt>
                <c:pt idx="7">
                  <c:v>109.06654198772554</c:v>
                </c:pt>
                <c:pt idx="8">
                  <c:v>107.65822102186</c:v>
                </c:pt>
                <c:pt idx="9">
                  <c:v>106.34266131768429</c:v>
                </c:pt>
                <c:pt idx="10">
                  <c:v>105.11190354664181</c:v>
                </c:pt>
                <c:pt idx="11">
                  <c:v>103.958698253832</c:v>
                </c:pt>
                <c:pt idx="12">
                  <c:v>102.87649443097418</c:v>
                </c:pt>
                <c:pt idx="13">
                  <c:v>101.85940284879165</c:v>
                </c:pt>
                <c:pt idx="14">
                  <c:v>100.90214566890758</c:v>
                </c:pt>
                <c:pt idx="15">
                  <c:v>100.0</c:v>
                </c:pt>
                <c:pt idx="16">
                  <c:v>96.72829320742615</c:v>
                </c:pt>
                <c:pt idx="17">
                  <c:v>93.44292051690893</c:v>
                </c:pt>
                <c:pt idx="18">
                  <c:v>90.40342551407437</c:v>
                </c:pt>
                <c:pt idx="19">
                  <c:v>87.59018672802766</c:v>
                </c:pt>
                <c:pt idx="20">
                  <c:v>84.98455696623837</c:v>
                </c:pt>
                <c:pt idx="21">
                  <c:v>82.56873697994223</c:v>
                </c:pt>
                <c:pt idx="22">
                  <c:v>80.3258255186846</c:v>
                </c:pt>
                <c:pt idx="23">
                  <c:v>78.23994801965742</c:v>
                </c:pt>
                <c:pt idx="24">
                  <c:v>76.29638470171373</c:v>
                </c:pt>
                <c:pt idx="25">
                  <c:v>74.48165351068806</c:v>
                </c:pt>
                <c:pt idx="26">
                  <c:v>73.91093628822128</c:v>
                </c:pt>
                <c:pt idx="27">
                  <c:v>73.48595261494081</c:v>
                </c:pt>
                <c:pt idx="28">
                  <c:v>73.07574979336945</c:v>
                </c:pt>
                <c:pt idx="29">
                  <c:v>72.67950871241014</c:v>
                </c:pt>
                <c:pt idx="30">
                  <c:v>72.2964670450654</c:v>
                </c:pt>
                <c:pt idx="31">
                  <c:v>71.92591569334725</c:v>
                </c:pt>
                <c:pt idx="32">
                  <c:v>71.56719532958809</c:v>
                </c:pt>
                <c:pt idx="33">
                  <c:v>71.21969306398422</c:v>
                </c:pt>
                <c:pt idx="34">
                  <c:v>70.88283925985999</c:v>
                </c:pt>
                <c:pt idx="35">
                  <c:v>70.55610451081118</c:v>
                </c:pt>
                <c:pt idx="36">
                  <c:v>70.04042175445753</c:v>
                </c:pt>
                <c:pt idx="37">
                  <c:v>69.51838431523416</c:v>
                </c:pt>
                <c:pt idx="38">
                  <c:v>69.011754465317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D$2:$D$40</c:f>
              <c:numCache>
                <c:formatCode>General</c:formatCode>
                <c:ptCount val="39"/>
                <c:pt idx="0">
                  <c:v>85.82664435615901</c:v>
                </c:pt>
                <c:pt idx="1">
                  <c:v>86.51066985598483</c:v>
                </c:pt>
                <c:pt idx="2">
                  <c:v>87.01099770722129</c:v>
                </c:pt>
                <c:pt idx="3">
                  <c:v>87.36430858603704</c:v>
                </c:pt>
                <c:pt idx="4">
                  <c:v>87.60036567169584</c:v>
                </c:pt>
                <c:pt idx="5">
                  <c:v>87.74274169871897</c:v>
                </c:pt>
                <c:pt idx="6">
                  <c:v>89.0629860462811</c:v>
                </c:pt>
                <c:pt idx="7">
                  <c:v>90.46125675946185</c:v>
                </c:pt>
                <c:pt idx="8">
                  <c:v>91.80448996129702</c:v>
                </c:pt>
                <c:pt idx="9">
                  <c:v>93.09761666315262</c:v>
                </c:pt>
                <c:pt idx="10">
                  <c:v>94.3447703807904</c:v>
                </c:pt>
                <c:pt idx="11">
                  <c:v>95.54947583960791</c:v>
                </c:pt>
                <c:pt idx="12">
                  <c:v>96.71479098443004</c:v>
                </c:pt>
                <c:pt idx="13">
                  <c:v>97.84341249797016</c:v>
                </c:pt>
                <c:pt idx="14">
                  <c:v>98.93775345540755</c:v>
                </c:pt>
                <c:pt idx="15">
                  <c:v>100.0</c:v>
                </c:pt>
                <c:pt idx="16">
                  <c:v>98.5865958811604</c:v>
                </c:pt>
                <c:pt idx="17">
                  <c:v>96.99069505439869</c:v>
                </c:pt>
                <c:pt idx="18">
                  <c:v>95.4894977942573</c:v>
                </c:pt>
                <c:pt idx="19">
                  <c:v>94.08114444723495</c:v>
                </c:pt>
                <c:pt idx="20">
                  <c:v>92.7625504531702</c:v>
                </c:pt>
                <c:pt idx="21">
                  <c:v>91.52948306237177</c:v>
                </c:pt>
                <c:pt idx="22">
                  <c:v>90.37680877537667</c:v>
                </c:pt>
                <c:pt idx="23">
                  <c:v>89.29882252240384</c:v>
                </c:pt>
                <c:pt idx="24">
                  <c:v>88.289576381414</c:v>
                </c:pt>
                <c:pt idx="25">
                  <c:v>87.34315546684763</c:v>
                </c:pt>
                <c:pt idx="26">
                  <c:v>87.78614071103021</c:v>
                </c:pt>
                <c:pt idx="27">
                  <c:v>88.36266772475648</c:v>
                </c:pt>
                <c:pt idx="28">
                  <c:v>88.92180047990205</c:v>
                </c:pt>
                <c:pt idx="29">
                  <c:v>89.46427038351979</c:v>
                </c:pt>
                <c:pt idx="30">
                  <c:v>89.99076214488522</c:v>
                </c:pt>
                <c:pt idx="31">
                  <c:v>90.50191914930615</c:v>
                </c:pt>
                <c:pt idx="32">
                  <c:v>90.99834807545061</c:v>
                </c:pt>
                <c:pt idx="33">
                  <c:v>91.48062286435268</c:v>
                </c:pt>
                <c:pt idx="34">
                  <c:v>91.9492881350715</c:v>
                </c:pt>
                <c:pt idx="35">
                  <c:v>92.40486212936328</c:v>
                </c:pt>
                <c:pt idx="36">
                  <c:v>92.58802906954772</c:v>
                </c:pt>
                <c:pt idx="37">
                  <c:v>92.73370561755422</c:v>
                </c:pt>
                <c:pt idx="38">
                  <c:v>92.871495257281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E$2:$E$40</c:f>
              <c:numCache>
                <c:formatCode>General</c:formatCode>
                <c:ptCount val="39"/>
                <c:pt idx="0">
                  <c:v>0.2611111111111112</c:v>
                </c:pt>
                <c:pt idx="1">
                  <c:v>0.27234042553191495</c:v>
                </c:pt>
                <c:pt idx="2">
                  <c:v>0.2832335329341317</c:v>
                </c:pt>
                <c:pt idx="3">
                  <c:v>0.2938053097345133</c:v>
                </c:pt>
                <c:pt idx="4">
                  <c:v>0.3040697674418606</c:v>
                </c:pt>
                <c:pt idx="5">
                  <c:v>0.3140401146131806</c:v>
                </c:pt>
                <c:pt idx="6">
                  <c:v>0.32372881355932204</c:v>
                </c:pt>
                <c:pt idx="7">
                  <c:v>0.33314763231197764</c:v>
                </c:pt>
                <c:pt idx="8">
                  <c:v>0.3423076923076922</c:v>
                </c:pt>
                <c:pt idx="9">
                  <c:v>0.35121951219512193</c:v>
                </c:pt>
                <c:pt idx="10">
                  <c:v>0.35989304812834233</c:v>
                </c:pt>
                <c:pt idx="11">
                  <c:v>0.3683377308707123</c:v>
                </c:pt>
                <c:pt idx="12">
                  <c:v>0.37656249999999997</c:v>
                </c:pt>
                <c:pt idx="13">
                  <c:v>0.38457583547557844</c:v>
                </c:pt>
                <c:pt idx="14">
                  <c:v>0.3923857868020304</c:v>
                </c:pt>
                <c:pt idx="15">
                  <c:v>0.4</c:v>
                </c:pt>
                <c:pt idx="16">
                  <c:v>0.4074257425742574</c:v>
                </c:pt>
                <c:pt idx="17">
                  <c:v>0.4146699266503667</c:v>
                </c:pt>
                <c:pt idx="18">
                  <c:v>0.42173913043478256</c:v>
                </c:pt>
                <c:pt idx="19">
                  <c:v>0.4286396181384249</c:v>
                </c:pt>
                <c:pt idx="20">
                  <c:v>0.43537735849056614</c:v>
                </c:pt>
                <c:pt idx="21">
                  <c:v>0.441958041958042</c:v>
                </c:pt>
                <c:pt idx="22">
                  <c:v>0.44838709677419347</c:v>
                </c:pt>
                <c:pt idx="23">
                  <c:v>0.45466970387243744</c:v>
                </c:pt>
                <c:pt idx="24">
                  <c:v>0.4608108108108108</c:v>
                </c:pt>
                <c:pt idx="25">
                  <c:v>0.466815144766147</c:v>
                </c:pt>
                <c:pt idx="26">
                  <c:v>0.4726872246696036</c:v>
                </c:pt>
                <c:pt idx="27">
                  <c:v>0.4784313725490197</c:v>
                </c:pt>
                <c:pt idx="28">
                  <c:v>0.48405172413793107</c:v>
                </c:pt>
                <c:pt idx="29">
                  <c:v>0.4895522388059703</c:v>
                </c:pt>
                <c:pt idx="30">
                  <c:v>0.4949367088607595</c:v>
                </c:pt>
                <c:pt idx="31">
                  <c:v>0.5002087682672234</c:v>
                </c:pt>
                <c:pt idx="32">
                  <c:v>0.5053719008264463</c:v>
                </c:pt>
                <c:pt idx="33">
                  <c:v>0.5104294478527609</c:v>
                </c:pt>
                <c:pt idx="34">
                  <c:v>0.5153846153846154</c:v>
                </c:pt>
                <c:pt idx="35">
                  <c:v>0.5202404809619238</c:v>
                </c:pt>
                <c:pt idx="36">
                  <c:v>0.5250000000000001</c:v>
                </c:pt>
                <c:pt idx="37">
                  <c:v>0.5296660117878194</c:v>
                </c:pt>
                <c:pt idx="38">
                  <c:v>0.53424124513618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B$2:$B$62</c:f>
              <c:numCache>
                <c:formatCode>General</c:formatCode>
                <c:ptCount val="61"/>
                <c:pt idx="0">
                  <c:v>151.08046227396306</c:v>
                </c:pt>
                <c:pt idx="1">
                  <c:v>148.54311530368258</c:v>
                </c:pt>
                <c:pt idx="2">
                  <c:v>146.08922389128415</c:v>
                </c:pt>
                <c:pt idx="3">
                  <c:v>143.714935826403</c:v>
                </c:pt>
                <c:pt idx="4">
                  <c:v>141.39416280536824</c:v>
                </c:pt>
                <c:pt idx="5">
                  <c:v>138.9473662375303</c:v>
                </c:pt>
                <c:pt idx="6">
                  <c:v>136.57622848807935</c:v>
                </c:pt>
                <c:pt idx="7">
                  <c:v>134.2777662584697</c:v>
                </c:pt>
                <c:pt idx="8">
                  <c:v>132.04918771293697</c:v>
                </c:pt>
                <c:pt idx="9">
                  <c:v>129.8878664414146</c:v>
                </c:pt>
                <c:pt idx="10">
                  <c:v>127.79131870137614</c:v>
                </c:pt>
                <c:pt idx="11">
                  <c:v>125.75718404241162</c:v>
                </c:pt>
                <c:pt idx="12">
                  <c:v>123.7832093376421</c:v>
                </c:pt>
                <c:pt idx="13">
                  <c:v>121.86723612284278</c:v>
                </c:pt>
                <c:pt idx="14">
                  <c:v>120.08679014948622</c:v>
                </c:pt>
                <c:pt idx="15">
                  <c:v>119.05529332425982</c:v>
                </c:pt>
                <c:pt idx="16">
                  <c:v>118.03810244562727</c:v>
                </c:pt>
                <c:pt idx="17">
                  <c:v>117.03497237467087</c:v>
                </c:pt>
                <c:pt idx="18">
                  <c:v>116.04566153162995</c:v>
                </c:pt>
                <c:pt idx="19">
                  <c:v>115.06993181302938</c:v>
                </c:pt>
                <c:pt idx="20">
                  <c:v>114.10754855638847</c:v>
                </c:pt>
                <c:pt idx="21">
                  <c:v>113.15828054357793</c:v>
                </c:pt>
                <c:pt idx="22">
                  <c:v>112.22190003443787</c:v>
                </c:pt>
                <c:pt idx="23">
                  <c:v>111.08725965892421</c:v>
                </c:pt>
                <c:pt idx="24">
                  <c:v>109.9756638469112</c:v>
                </c:pt>
                <c:pt idx="25">
                  <c:v>108.88649494875156</c:v>
                </c:pt>
                <c:pt idx="26">
                  <c:v>107.8191539424231</c:v>
                </c:pt>
                <c:pt idx="27">
                  <c:v>106.77305977126845</c:v>
                </c:pt>
                <c:pt idx="28">
                  <c:v>105.7476487164718</c:v>
                </c:pt>
                <c:pt idx="29">
                  <c:v>104.74237380153772</c:v>
                </c:pt>
                <c:pt idx="30">
                  <c:v>103.75670422626865</c:v>
                </c:pt>
                <c:pt idx="31">
                  <c:v>102.79012482791947</c:v>
                </c:pt>
                <c:pt idx="32">
                  <c:v>101.84213556743357</c:v>
                </c:pt>
                <c:pt idx="33">
                  <c:v>100.91225103883039</c:v>
                </c:pt>
                <c:pt idx="34">
                  <c:v>100.0</c:v>
                </c:pt>
                <c:pt idx="35">
                  <c:v>99.10492492332396</c:v>
                </c:pt>
                <c:pt idx="36">
                  <c:v>98.22658156468445</c:v>
                </c:pt>
                <c:pt idx="37">
                  <c:v>97.36453854956883</c:v>
                </c:pt>
                <c:pt idx="38">
                  <c:v>96.51837697509863</c:v>
                </c:pt>
                <c:pt idx="39">
                  <c:v>95.68769002692376</c:v>
                </c:pt>
                <c:pt idx="40">
                  <c:v>94.87208261003306</c:v>
                </c:pt>
                <c:pt idx="41">
                  <c:v>94.07117099262017</c:v>
                </c:pt>
                <c:pt idx="42">
                  <c:v>93.2845824622321</c:v>
                </c:pt>
                <c:pt idx="43">
                  <c:v>91.65692944399466</c:v>
                </c:pt>
                <c:pt idx="44">
                  <c:v>90.08377517384211</c:v>
                </c:pt>
                <c:pt idx="45">
                  <c:v>88.56267523054477</c:v>
                </c:pt>
                <c:pt idx="46">
                  <c:v>87.09129212009415</c:v>
                </c:pt>
                <c:pt idx="47">
                  <c:v>85.66739208428372</c:v>
                </c:pt>
                <c:pt idx="48">
                  <c:v>84.28884190433547</c:v>
                </c:pt>
                <c:pt idx="49">
                  <c:v>82.9536056878729</c:v>
                </c:pt>
                <c:pt idx="50">
                  <c:v>81.65974163425305</c:v>
                </c:pt>
                <c:pt idx="51">
                  <c:v>80.4053987788147</c:v>
                </c:pt>
                <c:pt idx="52">
                  <c:v>79.18881372096303</c:v>
                </c:pt>
                <c:pt idx="53">
                  <c:v>78.00830734436605</c:v>
                </c:pt>
                <c:pt idx="54">
                  <c:v>76.86228153990572</c:v>
                </c:pt>
                <c:pt idx="55">
                  <c:v>76.28166238555363</c:v>
                </c:pt>
                <c:pt idx="56">
                  <c:v>75.70745470279509</c:v>
                </c:pt>
                <c:pt idx="57">
                  <c:v>75.13955219891619</c:v>
                </c:pt>
                <c:pt idx="58">
                  <c:v>74.57785062826976</c:v>
                </c:pt>
                <c:pt idx="59">
                  <c:v>74.02224776188771</c:v>
                </c:pt>
                <c:pt idx="60">
                  <c:v>73.472643356648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C$2:$C$62</c:f>
              <c:numCache>
                <c:formatCode>General</c:formatCode>
                <c:ptCount val="61"/>
                <c:pt idx="0">
                  <c:v>113.16287946695522</c:v>
                </c:pt>
                <c:pt idx="1">
                  <c:v>112.35259958266461</c:v>
                </c:pt>
                <c:pt idx="2">
                  <c:v>111.56958196755266</c:v>
                </c:pt>
                <c:pt idx="3">
                  <c:v>110.81262396811671</c:v>
                </c:pt>
                <c:pt idx="4">
                  <c:v>110.06204510373472</c:v>
                </c:pt>
                <c:pt idx="5">
                  <c:v>109.16979539086607</c:v>
                </c:pt>
                <c:pt idx="6">
                  <c:v>108.3028441895466</c:v>
                </c:pt>
                <c:pt idx="7">
                  <c:v>107.46036862802868</c:v>
                </c:pt>
                <c:pt idx="8">
                  <c:v>106.64162260072283</c:v>
                </c:pt>
                <c:pt idx="9">
                  <c:v>105.84592133555518</c:v>
                </c:pt>
                <c:pt idx="10">
                  <c:v>105.07262768695486</c:v>
                </c:pt>
                <c:pt idx="11">
                  <c:v>104.32114039256639</c:v>
                </c:pt>
                <c:pt idx="12">
                  <c:v>103.59088447085638</c:v>
                </c:pt>
                <c:pt idx="13">
                  <c:v>102.8813038334867</c:v>
                </c:pt>
                <c:pt idx="14">
                  <c:v>102.26090907204413</c:v>
                </c:pt>
                <c:pt idx="15">
                  <c:v>102.2691909523366</c:v>
                </c:pt>
                <c:pt idx="16">
                  <c:v>102.2744469088802</c:v>
                </c:pt>
                <c:pt idx="17">
                  <c:v>102.27678680947506</c:v>
                </c:pt>
                <c:pt idx="18">
                  <c:v>102.27631609466201</c:v>
                </c:pt>
                <c:pt idx="19">
                  <c:v>102.27313585008557</c:v>
                </c:pt>
                <c:pt idx="20">
                  <c:v>102.26734291779309</c:v>
                </c:pt>
                <c:pt idx="21">
                  <c:v>102.25903004072066</c:v>
                </c:pt>
                <c:pt idx="22">
                  <c:v>102.24828603460969</c:v>
                </c:pt>
                <c:pt idx="23">
                  <c:v>102.03645082757396</c:v>
                </c:pt>
                <c:pt idx="24">
                  <c:v>101.82931262888559</c:v>
                </c:pt>
                <c:pt idx="25">
                  <c:v>101.62679813769067</c:v>
                </c:pt>
                <c:pt idx="26">
                  <c:v>101.42883369587008</c:v>
                </c:pt>
                <c:pt idx="27">
                  <c:v>101.23534532980739</c:v>
                </c:pt>
                <c:pt idx="28">
                  <c:v>101.04625879708362</c:v>
                </c:pt>
                <c:pt idx="29">
                  <c:v>100.86149963717514</c:v>
                </c:pt>
                <c:pt idx="30">
                  <c:v>100.68099322530327</c:v>
                </c:pt>
                <c:pt idx="31">
                  <c:v>100.50466482862093</c:v>
                </c:pt>
                <c:pt idx="32">
                  <c:v>100.33243966401403</c:v>
                </c:pt>
                <c:pt idx="33">
                  <c:v>100.1642429568389</c:v>
                </c:pt>
                <c:pt idx="34">
                  <c:v>100.0</c:v>
                </c:pt>
                <c:pt idx="35">
                  <c:v>99.83963621283213</c:v>
                </c:pt>
                <c:pt idx="36">
                  <c:v>99.68307719931198</c:v>
                </c:pt>
                <c:pt idx="37">
                  <c:v>99.5302488051892</c:v>
                </c:pt>
                <c:pt idx="38">
                  <c:v>99.38107717367981</c:v>
                </c:pt>
                <c:pt idx="39">
                  <c:v>99.23548879941525</c:v>
                </c:pt>
                <c:pt idx="40">
                  <c:v>99.09341058039544</c:v>
                </c:pt>
                <c:pt idx="41">
                  <c:v>98.95476986773313</c:v>
                </c:pt>
                <c:pt idx="42">
                  <c:v>98.81949451302175</c:v>
                </c:pt>
                <c:pt idx="43">
                  <c:v>97.77219350034572</c:v>
                </c:pt>
                <c:pt idx="44">
                  <c:v>96.75980458999689</c:v>
                </c:pt>
                <c:pt idx="45">
                  <c:v>95.7808520573594</c:v>
                </c:pt>
                <c:pt idx="46">
                  <c:v>94.83390783903032</c:v>
                </c:pt>
                <c:pt idx="47">
                  <c:v>93.91759169341285</c:v>
                </c:pt>
                <c:pt idx="48">
                  <c:v>93.03057123642424</c:v>
                </c:pt>
                <c:pt idx="49">
                  <c:v>92.171561837715</c:v>
                </c:pt>
                <c:pt idx="50">
                  <c:v>91.33932636967516</c:v>
                </c:pt>
                <c:pt idx="51">
                  <c:v>90.53267480749821</c:v>
                </c:pt>
                <c:pt idx="52">
                  <c:v>89.75046368360256</c:v>
                </c:pt>
                <c:pt idx="53">
                  <c:v>88.99159540387642</c:v>
                </c:pt>
                <c:pt idx="54">
                  <c:v>88.25501743646159</c:v>
                </c:pt>
                <c:pt idx="55">
                  <c:v>88.15682007719289</c:v>
                </c:pt>
                <c:pt idx="56">
                  <c:v>88.05743932522732</c:v>
                </c:pt>
                <c:pt idx="57">
                  <c:v>87.95689431688344</c:v>
                </c:pt>
                <c:pt idx="58">
                  <c:v>87.85520340752032</c:v>
                </c:pt>
                <c:pt idx="59">
                  <c:v>87.75238421333862</c:v>
                </c:pt>
                <c:pt idx="60">
                  <c:v>87.648453651189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D$2:$D$62</c:f>
              <c:numCache>
                <c:formatCode>General</c:formatCode>
                <c:ptCount val="61"/>
                <c:pt idx="0">
                  <c:v>52.29708309483338</c:v>
                </c:pt>
                <c:pt idx="1">
                  <c:v>54.275369053268655</c:v>
                </c:pt>
                <c:pt idx="2">
                  <c:v>56.188163035109284</c:v>
                </c:pt>
                <c:pt idx="3">
                  <c:v>58.038724083739645</c:v>
                </c:pt>
                <c:pt idx="4">
                  <c:v>59.820607340732735</c:v>
                </c:pt>
                <c:pt idx="5">
                  <c:v>61.45748891275391</c:v>
                </c:pt>
                <c:pt idx="6">
                  <c:v>63.035182379113564</c:v>
                </c:pt>
                <c:pt idx="7">
                  <c:v>64.55661839349507</c:v>
                </c:pt>
                <c:pt idx="8">
                  <c:v>66.02459385646848</c:v>
                </c:pt>
                <c:pt idx="9">
                  <c:v>67.44177680611921</c:v>
                </c:pt>
                <c:pt idx="10">
                  <c:v>68.81071006997182</c:v>
                </c:pt>
                <c:pt idx="11">
                  <c:v>70.13381417749879</c:v>
                </c:pt>
                <c:pt idx="12">
                  <c:v>71.41339000248593</c:v>
                </c:pt>
                <c:pt idx="13">
                  <c:v>72.65162153477176</c:v>
                </c:pt>
                <c:pt idx="14">
                  <c:v>73.89956316891465</c:v>
                </c:pt>
                <c:pt idx="15">
                  <c:v>75.55432076347263</c:v>
                </c:pt>
                <c:pt idx="16">
                  <c:v>77.17875929137175</c:v>
                </c:pt>
                <c:pt idx="17">
                  <c:v>78.7735390983362</c:v>
                </c:pt>
                <c:pt idx="18">
                  <c:v>80.3393041372823</c:v>
                </c:pt>
                <c:pt idx="19">
                  <c:v>81.87668225157863</c:v>
                </c:pt>
                <c:pt idx="20">
                  <c:v>83.38628548351473</c:v>
                </c:pt>
                <c:pt idx="21">
                  <c:v>84.8687104076835</c:v>
                </c:pt>
                <c:pt idx="22">
                  <c:v>86.3245384880291</c:v>
                </c:pt>
                <c:pt idx="23">
                  <c:v>87.58803165415182</c:v>
                </c:pt>
                <c:pt idx="24">
                  <c:v>88.82649772250527</c:v>
                </c:pt>
                <c:pt idx="25">
                  <c:v>90.04075543839072</c:v>
                </c:pt>
                <c:pt idx="26">
                  <c:v>91.23159179743492</c:v>
                </c:pt>
                <c:pt idx="27">
                  <c:v>92.3997632635977</c:v>
                </c:pt>
                <c:pt idx="28">
                  <c:v>93.54599694149425</c:v>
                </c:pt>
                <c:pt idx="29">
                  <c:v>94.67099170523609</c:v>
                </c:pt>
                <c:pt idx="30">
                  <c:v>95.77541928578651</c:v>
                </c:pt>
                <c:pt idx="31">
                  <c:v>96.8599253186165</c:v>
                </c:pt>
                <c:pt idx="32">
                  <c:v>97.92513035330157</c:v>
                </c:pt>
                <c:pt idx="33">
                  <c:v>98.9716308265452</c:v>
                </c:pt>
                <c:pt idx="34">
                  <c:v>100.0</c:v>
                </c:pt>
                <c:pt idx="35">
                  <c:v>101.01078886415715</c:v>
                </c:pt>
                <c:pt idx="36">
                  <c:v>102.00452700948009</c:v>
                </c:pt>
                <c:pt idx="37">
                  <c:v>102.98172346589021</c:v>
                </c:pt>
                <c:pt idx="38">
                  <c:v>103.94286751164468</c:v>
                </c:pt>
                <c:pt idx="39">
                  <c:v>104.88842945258952</c:v>
                </c:pt>
                <c:pt idx="40">
                  <c:v>105.81886137272922</c:v>
                </c:pt>
                <c:pt idx="41">
                  <c:v>106.73459785701138</c:v>
                </c:pt>
                <c:pt idx="42">
                  <c:v>107.63605668719092</c:v>
                </c:pt>
                <c:pt idx="43">
                  <c:v>107.52062877083989</c:v>
                </c:pt>
                <c:pt idx="44">
                  <c:v>107.40757809188877</c:v>
                </c:pt>
                <c:pt idx="45">
                  <c:v>107.29708729854468</c:v>
                </c:pt>
                <c:pt idx="46">
                  <c:v>107.18928260934672</c:v>
                </c:pt>
                <c:pt idx="47">
                  <c:v>107.08424010535467</c:v>
                </c:pt>
                <c:pt idx="48">
                  <c:v>106.98199164781043</c:v>
                </c:pt>
                <c:pt idx="49">
                  <c:v>106.88253040552857</c:v>
                </c:pt>
                <c:pt idx="50">
                  <c:v>106.78581598325398</c:v>
                </c:pt>
                <c:pt idx="51">
                  <c:v>106.69177914881189</c:v>
                </c:pt>
                <c:pt idx="52">
                  <c:v>106.60032616283486</c:v>
                </c:pt>
                <c:pt idx="53">
                  <c:v>106.51134272019209</c:v>
                </c:pt>
                <c:pt idx="54">
                  <c:v>106.42469751679255</c:v>
                </c:pt>
                <c:pt idx="55">
                  <c:v>107.08771834895028</c:v>
                </c:pt>
                <c:pt idx="56">
                  <c:v>107.73753169243922</c:v>
                </c:pt>
                <c:pt idx="57">
                  <c:v>108.3743541330523</c:v>
                </c:pt>
                <c:pt idx="58">
                  <c:v>108.99839707208669</c:v>
                </c:pt>
                <c:pt idx="59">
                  <c:v>109.6098668781799</c:v>
                </c:pt>
                <c:pt idx="60">
                  <c:v>110.208965034972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E$2:$E$62</c:f>
              <c:numCache>
                <c:formatCode>General</c:formatCode>
                <c:ptCount val="61"/>
                <c:pt idx="0">
                  <c:v>0.18749999999999997</c:v>
                </c:pt>
                <c:pt idx="1">
                  <c:v>0.19587628865979376</c:v>
                </c:pt>
                <c:pt idx="2">
                  <c:v>0.20408163265306115</c:v>
                </c:pt>
                <c:pt idx="3">
                  <c:v>0.212121212121212</c:v>
                </c:pt>
                <c:pt idx="4">
                  <c:v>0.21999999999999997</c:v>
                </c:pt>
                <c:pt idx="5">
                  <c:v>0.2277227722772279</c:v>
                </c:pt>
                <c:pt idx="6">
                  <c:v>0.23529411764705882</c:v>
                </c:pt>
                <c:pt idx="7">
                  <c:v>0.2427184466019416</c:v>
                </c:pt>
                <c:pt idx="8">
                  <c:v>0.24999999999999997</c:v>
                </c:pt>
                <c:pt idx="9">
                  <c:v>0.25714285714285723</c:v>
                </c:pt>
                <c:pt idx="10">
                  <c:v>0.2641509433962266</c:v>
                </c:pt>
                <c:pt idx="11">
                  <c:v>0.2710280373831775</c:v>
                </c:pt>
                <c:pt idx="12">
                  <c:v>0.2777777777777779</c:v>
                </c:pt>
                <c:pt idx="13">
                  <c:v>0.2844036697247707</c:v>
                </c:pt>
                <c:pt idx="14">
                  <c:v>0.29090909090909095</c:v>
                </c:pt>
                <c:pt idx="15">
                  <c:v>0.29729729729729737</c:v>
                </c:pt>
                <c:pt idx="16">
                  <c:v>0.3035714285714286</c:v>
                </c:pt>
                <c:pt idx="17">
                  <c:v>0.3097345132743363</c:v>
                </c:pt>
                <c:pt idx="18">
                  <c:v>0.3157894736842105</c:v>
                </c:pt>
                <c:pt idx="19">
                  <c:v>0.3217391304347825</c:v>
                </c:pt>
                <c:pt idx="20">
                  <c:v>0.32758620689655166</c:v>
                </c:pt>
                <c:pt idx="21">
                  <c:v>0.33333333333333326</c:v>
                </c:pt>
                <c:pt idx="22">
                  <c:v>0.33898305084745745</c:v>
                </c:pt>
                <c:pt idx="23">
                  <c:v>0.3445378151260505</c:v>
                </c:pt>
                <c:pt idx="24">
                  <c:v>0.3499999999999999</c:v>
                </c:pt>
                <c:pt idx="25">
                  <c:v>0.3553719008264462</c:v>
                </c:pt>
                <c:pt idx="26">
                  <c:v>0.36065573770491793</c:v>
                </c:pt>
                <c:pt idx="27">
                  <c:v>0.3658536585365853</c:v>
                </c:pt>
                <c:pt idx="28">
                  <c:v>0.3709677419354838</c:v>
                </c:pt>
                <c:pt idx="29">
                  <c:v>0.376</c:v>
                </c:pt>
                <c:pt idx="30">
                  <c:v>0.38095238095238093</c:v>
                </c:pt>
                <c:pt idx="31">
                  <c:v>0.3858267716535434</c:v>
                </c:pt>
                <c:pt idx="32">
                  <c:v>0.39062499999999994</c:v>
                </c:pt>
                <c:pt idx="33">
                  <c:v>0.39534883720930225</c:v>
                </c:pt>
                <c:pt idx="34">
                  <c:v>0.4</c:v>
                </c:pt>
                <c:pt idx="35">
                  <c:v>0.4045801526717557</c:v>
                </c:pt>
                <c:pt idx="36">
                  <c:v>0.40909090909090906</c:v>
                </c:pt>
                <c:pt idx="37">
                  <c:v>0.41353383458646614</c:v>
                </c:pt>
                <c:pt idx="38">
                  <c:v>0.417910447761194</c:v>
                </c:pt>
                <c:pt idx="39">
                  <c:v>0.4222222222222221</c:v>
                </c:pt>
                <c:pt idx="40">
                  <c:v>0.4264705882352941</c:v>
                </c:pt>
                <c:pt idx="41">
                  <c:v>0.4306569343065693</c:v>
                </c:pt>
                <c:pt idx="42">
                  <c:v>0.43478260869565216</c:v>
                </c:pt>
                <c:pt idx="43">
                  <c:v>0.43884892086330923</c:v>
                </c:pt>
                <c:pt idx="44">
                  <c:v>0.44285714285714284</c:v>
                </c:pt>
                <c:pt idx="45">
                  <c:v>0.4468085106382979</c:v>
                </c:pt>
                <c:pt idx="46">
                  <c:v>0.4507042253521127</c:v>
                </c:pt>
                <c:pt idx="47">
                  <c:v>0.4545454545454545</c:v>
                </c:pt>
                <c:pt idx="48">
                  <c:v>0.4583333333333332</c:v>
                </c:pt>
                <c:pt idx="49">
                  <c:v>0.4620689655172413</c:v>
                </c:pt>
                <c:pt idx="50">
                  <c:v>0.4657534246575342</c:v>
                </c:pt>
                <c:pt idx="51">
                  <c:v>0.4693877551020407</c:v>
                </c:pt>
                <c:pt idx="52">
                  <c:v>0.47297297297297286</c:v>
                </c:pt>
                <c:pt idx="53">
                  <c:v>0.4765100671140939</c:v>
                </c:pt>
                <c:pt idx="54">
                  <c:v>0.48</c:v>
                </c:pt>
                <c:pt idx="55">
                  <c:v>0.4834437086092714</c:v>
                </c:pt>
                <c:pt idx="56">
                  <c:v>0.4868421052631579</c:v>
                </c:pt>
                <c:pt idx="57">
                  <c:v>0.49019607843137253</c:v>
                </c:pt>
                <c:pt idx="58">
                  <c:v>0.49350649350649356</c:v>
                </c:pt>
                <c:pt idx="59">
                  <c:v>0.49677419354838714</c:v>
                </c:pt>
                <c:pt idx="60">
                  <c:v>0.499999999999999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B$2:$B$21</c:f>
              <c:numCache>
                <c:formatCode>General</c:formatCode>
                <c:ptCount val="20"/>
                <c:pt idx="0">
                  <c:v>133.15832879653252</c:v>
                </c:pt>
                <c:pt idx="1">
                  <c:v>129.27834660780485</c:v>
                </c:pt>
                <c:pt idx="2">
                  <c:v>125.54781312715116</c:v>
                </c:pt>
                <c:pt idx="3">
                  <c:v>121.96033562435133</c:v>
                </c:pt>
                <c:pt idx="4">
                  <c:v>118.50975903523123</c:v>
                </c:pt>
                <c:pt idx="5">
                  <c:v>115.1901561018261</c:v>
                </c:pt>
                <c:pt idx="6">
                  <c:v>111.99581967427702</c:v>
                </c:pt>
                <c:pt idx="7">
                  <c:v>108.92125682640845</c:v>
                </c:pt>
                <c:pt idx="8">
                  <c:v>105.96118437381517</c:v>
                </c:pt>
                <c:pt idx="9">
                  <c:v>103.11052537075436</c:v>
                </c:pt>
                <c:pt idx="10">
                  <c:v>100.0</c:v>
                </c:pt>
                <c:pt idx="11">
                  <c:v>93.95606789400023</c:v>
                </c:pt>
                <c:pt idx="12">
                  <c:v>88.41985783941757</c:v>
                </c:pt>
                <c:pt idx="13">
                  <c:v>83.34044551855155</c:v>
                </c:pt>
                <c:pt idx="14">
                  <c:v>78.67218385743865</c:v>
                </c:pt>
                <c:pt idx="15">
                  <c:v>74.37422091854015</c:v>
                </c:pt>
                <c:pt idx="16">
                  <c:v>70.41005208393418</c:v>
                </c:pt>
                <c:pt idx="17">
                  <c:v>66.74710202962811</c:v>
                </c:pt>
                <c:pt idx="18">
                  <c:v>63.3563336120501</c:v>
                </c:pt>
                <c:pt idx="19">
                  <c:v>60.2118826735689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C$2:$C$21</c:f>
              <c:numCache>
                <c:formatCode>General</c:formatCode>
                <c:ptCount val="20"/>
                <c:pt idx="0">
                  <c:v>106.72244123942517</c:v>
                </c:pt>
                <c:pt idx="1">
                  <c:v>106.17908458192066</c:v>
                </c:pt>
                <c:pt idx="2">
                  <c:v>105.60739552865108</c:v>
                </c:pt>
                <c:pt idx="3">
                  <c:v>105.01078979283469</c:v>
                </c:pt>
                <c:pt idx="4">
                  <c:v>104.3923805671005</c:v>
                </c:pt>
                <c:pt idx="5">
                  <c:v>103.75499393685116</c:v>
                </c:pt>
                <c:pt idx="6">
                  <c:v>103.10118500765799</c:v>
                </c:pt>
                <c:pt idx="7">
                  <c:v>102.43325473162434</c:v>
                </c:pt>
                <c:pt idx="8">
                  <c:v>101.75326730084349</c:v>
                </c:pt>
                <c:pt idx="9">
                  <c:v>101.06306789762509</c:v>
                </c:pt>
                <c:pt idx="10">
                  <c:v>100.0</c:v>
                </c:pt>
                <c:pt idx="11">
                  <c:v>95.82304588450316</c:v>
                </c:pt>
                <c:pt idx="12">
                  <c:v>91.93438654367144</c:v>
                </c:pt>
                <c:pt idx="13">
                  <c:v>88.31017568741277</c:v>
                </c:pt>
                <c:pt idx="14">
                  <c:v>84.92824977911557</c:v>
                </c:pt>
                <c:pt idx="15">
                  <c:v>81.76811522945555</c:v>
                </c:pt>
                <c:pt idx="16">
                  <c:v>78.81091790325245</c:v>
                </c:pt>
                <c:pt idx="17">
                  <c:v>76.03939433201744</c:v>
                </c:pt>
                <c:pt idx="18">
                  <c:v>73.43780522678755</c:v>
                </c:pt>
                <c:pt idx="19">
                  <c:v>70.991853683573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D$2:$D$21</c:f>
              <c:numCache>
                <c:formatCode>General</c:formatCode>
                <c:ptCount val="20"/>
                <c:pt idx="0">
                  <c:v>29.2987505335082</c:v>
                </c:pt>
                <c:pt idx="1">
                  <c:v>38.52837091556266</c:v>
                </c:pt>
                <c:pt idx="2">
                  <c:v>47.20893314222631</c:v>
                </c:pt>
                <c:pt idx="3">
                  <c:v>55.372504460730454</c:v>
                </c:pt>
                <c:pt idx="4">
                  <c:v>63.04928410425292</c:v>
                </c:pt>
                <c:pt idx="5">
                  <c:v>70.26768996353397</c:v>
                </c:pt>
                <c:pt idx="6">
                  <c:v>77.05444213156024</c:v>
                </c:pt>
                <c:pt idx="7">
                  <c:v>83.43464423496852</c:v>
                </c:pt>
                <c:pt idx="8">
                  <c:v>89.43186319536906</c:v>
                </c:pt>
                <c:pt idx="9">
                  <c:v>95.06820779567497</c:v>
                </c:pt>
                <c:pt idx="10">
                  <c:v>100.0</c:v>
                </c:pt>
                <c:pt idx="11">
                  <c:v>101.2843647229831</c:v>
                </c:pt>
                <c:pt idx="12">
                  <c:v>102.21283530958472</c:v>
                </c:pt>
                <c:pt idx="13">
                  <c:v>102.84137407939724</c:v>
                </c:pt>
                <c:pt idx="14">
                  <c:v>103.21697924594142</c:v>
                </c:pt>
                <c:pt idx="15">
                  <c:v>103.37907284201107</c:v>
                </c:pt>
                <c:pt idx="16">
                  <c:v>103.36071336516255</c:v>
                </c:pt>
                <c:pt idx="17">
                  <c:v>103.18964490930196</c:v>
                </c:pt>
                <c:pt idx="18">
                  <c:v>102.88919437237726</c:v>
                </c:pt>
                <c:pt idx="19">
                  <c:v>102.479029743352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E$2:$E$21</c:f>
              <c:numCache>
                <c:formatCode>General</c:formatCode>
                <c:ptCount val="20"/>
                <c:pt idx="0">
                  <c:v>0.07052491215424819</c:v>
                </c:pt>
                <c:pt idx="1">
                  <c:v>0.09319503624804715</c:v>
                </c:pt>
                <c:pt idx="2">
                  <c:v>0.11478563062309359</c:v>
                </c:pt>
                <c:pt idx="3">
                  <c:v>0.1353720113062775</c:v>
                </c:pt>
                <c:pt idx="4">
                  <c:v>0.15502264741295288</c:v>
                </c:pt>
                <c:pt idx="5">
                  <c:v>0.17379992191488727</c:v>
                </c:pt>
                <c:pt idx="6">
                  <c:v>0.19176079317760705</c:v>
                </c:pt>
                <c:pt idx="7">
                  <c:v>0.2089573720461686</c:v>
                </c:pt>
                <c:pt idx="8">
                  <c:v>0.22543742679520679</c:v>
                </c:pt>
                <c:pt idx="9">
                  <c:v>0.24124482624836582</c:v>
                </c:pt>
                <c:pt idx="10">
                  <c:v>0.25641992972339867</c:v>
                </c:pt>
                <c:pt idx="11">
                  <c:v>0.2709999311013711</c:v>
                </c:pt>
                <c:pt idx="12">
                  <c:v>0.2850191631955755</c:v>
                </c:pt>
                <c:pt idx="13">
                  <c:v>0.2985093676635836</c:v>
                </c:pt>
                <c:pt idx="14">
                  <c:v>0.3114999349290728</c:v>
                </c:pt>
                <c:pt idx="15">
                  <c:v>0.3240181179303624</c:v>
                </c:pt>
                <c:pt idx="16">
                  <c:v>0.3360892229673201</c:v>
                </c:pt>
                <c:pt idx="17">
                  <c:v>0.3477367804591215</c:v>
                </c:pt>
                <c:pt idx="18">
                  <c:v>0.35898269803741256</c:v>
                </c:pt>
                <c:pt idx="19">
                  <c:v>0.369847398070676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4"/>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B$2:$B$41</c:f>
              <c:numCache>
                <c:formatCode>General</c:formatCode>
                <c:ptCount val="40"/>
                <c:pt idx="0">
                  <c:v>221.1486352372163</c:v>
                </c:pt>
                <c:pt idx="1">
                  <c:v>214.20658573330184</c:v>
                </c:pt>
                <c:pt idx="2">
                  <c:v>207.67991411323368</c:v>
                </c:pt>
                <c:pt idx="3">
                  <c:v>201.5333986503065</c:v>
                </c:pt>
                <c:pt idx="4">
                  <c:v>195.7344534587341</c:v>
                </c:pt>
                <c:pt idx="5">
                  <c:v>190.2534608728905</c:v>
                </c:pt>
                <c:pt idx="6">
                  <c:v>185.06380231086806</c:v>
                </c:pt>
                <c:pt idx="7">
                  <c:v>180.14170668971622</c:v>
                </c:pt>
                <c:pt idx="8">
                  <c:v>175.4660048896311</c:v>
                </c:pt>
                <c:pt idx="9">
                  <c:v>171.0178493877952</c:v>
                </c:pt>
                <c:pt idx="10">
                  <c:v>161.54398634164906</c:v>
                </c:pt>
                <c:pt idx="11">
                  <c:v>152.24481345596948</c:v>
                </c:pt>
                <c:pt idx="12">
                  <c:v>143.67532354594374</c:v>
                </c:pt>
                <c:pt idx="13">
                  <c:v>135.78307764863607</c:v>
                </c:pt>
                <c:pt idx="14">
                  <c:v>128.51893675309535</c:v>
                </c:pt>
                <c:pt idx="15">
                  <c:v>121.83550510529442</c:v>
                </c:pt>
                <c:pt idx="16">
                  <c:v>115.68640496201697</c:v>
                </c:pt>
                <c:pt idx="17">
                  <c:v>110.02629097802266</c:v>
                </c:pt>
                <c:pt idx="18">
                  <c:v>104.81135213486435</c:v>
                </c:pt>
                <c:pt idx="19">
                  <c:v>100.0</c:v>
                </c:pt>
                <c:pt idx="20">
                  <c:v>97.45224328580515</c:v>
                </c:pt>
                <c:pt idx="21">
                  <c:v>95.22393705138619</c:v>
                </c:pt>
                <c:pt idx="22">
                  <c:v>93.08640348659361</c:v>
                </c:pt>
                <c:pt idx="23">
                  <c:v>91.03482185862711</c:v>
                </c:pt>
                <c:pt idx="24">
                  <c:v>89.06464665516539</c:v>
                </c:pt>
                <c:pt idx="25">
                  <c:v>87.17159628146098</c:v>
                </c:pt>
                <c:pt idx="26">
                  <c:v>85.35164050357328</c:v>
                </c:pt>
                <c:pt idx="27">
                  <c:v>83.60098720430335</c:v>
                </c:pt>
                <c:pt idx="28">
                  <c:v>81.91606894543543</c:v>
                </c:pt>
                <c:pt idx="29">
                  <c:v>80.29352972019137</c:v>
                </c:pt>
                <c:pt idx="30">
                  <c:v>78.64079309755041</c:v>
                </c:pt>
                <c:pt idx="31">
                  <c:v>77.04118619412343</c:v>
                </c:pt>
                <c:pt idx="32">
                  <c:v>75.50175087080257</c:v>
                </c:pt>
                <c:pt idx="33">
                  <c:v>74.01943801562525</c:v>
                </c:pt>
                <c:pt idx="34">
                  <c:v>72.59139865462828</c:v>
                </c:pt>
                <c:pt idx="35">
                  <c:v>71.2149656982372</c:v>
                </c:pt>
                <c:pt idx="36">
                  <c:v>69.8876376118013</c:v>
                </c:pt>
                <c:pt idx="37">
                  <c:v>68.60706384693646</c:v>
                </c:pt>
                <c:pt idx="38">
                  <c:v>67.37103188166847</c:v>
                </c:pt>
                <c:pt idx="39">
                  <c:v>66.17745572340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C$2:$C$41</c:f>
              <c:numCache>
                <c:formatCode>General</c:formatCode>
                <c:ptCount val="40"/>
                <c:pt idx="0">
                  <c:v>176.06302674982152</c:v>
                </c:pt>
                <c:pt idx="1">
                  <c:v>172.83187739178</c:v>
                </c:pt>
                <c:pt idx="2">
                  <c:v>169.7946656740186</c:v>
                </c:pt>
                <c:pt idx="3">
                  <c:v>166.93503000358012</c:v>
                </c:pt>
                <c:pt idx="4">
                  <c:v>164.23739472723443</c:v>
                </c:pt>
                <c:pt idx="5">
                  <c:v>161.68738380994003</c:v>
                </c:pt>
                <c:pt idx="6">
                  <c:v>159.2719958648482</c:v>
                </c:pt>
                <c:pt idx="7">
                  <c:v>156.9796227090444</c:v>
                </c:pt>
                <c:pt idx="8">
                  <c:v>154.79997636612964</c:v>
                </c:pt>
                <c:pt idx="9">
                  <c:v>152.72397045418785</c:v>
                </c:pt>
                <c:pt idx="10">
                  <c:v>145.97432467772379</c:v>
                </c:pt>
                <c:pt idx="11">
                  <c:v>139.1851242859397</c:v>
                </c:pt>
                <c:pt idx="12">
                  <c:v>132.8783479588547</c:v>
                </c:pt>
                <c:pt idx="13">
                  <c:v>127.02701218980879</c:v>
                </c:pt>
                <c:pt idx="14">
                  <c:v>121.60525040396755</c:v>
                </c:pt>
                <c:pt idx="15">
                  <c:v>116.58696285105499</c:v>
                </c:pt>
                <c:pt idx="16">
                  <c:v>111.94517660186341</c:v>
                </c:pt>
                <c:pt idx="17">
                  <c:v>107.652086583843</c:v>
                </c:pt>
                <c:pt idx="18">
                  <c:v>103.67958296655661</c:v>
                </c:pt>
                <c:pt idx="19">
                  <c:v>100.0</c:v>
                </c:pt>
                <c:pt idx="20">
                  <c:v>98.51422731418037</c:v>
                </c:pt>
                <c:pt idx="21">
                  <c:v>97.30066243076136</c:v>
                </c:pt>
                <c:pt idx="22">
                  <c:v>96.13257522169614</c:v>
                </c:pt>
                <c:pt idx="23">
                  <c:v>95.00786528411926</c:v>
                </c:pt>
                <c:pt idx="24">
                  <c:v>93.9245162576155</c:v>
                </c:pt>
                <c:pt idx="25">
                  <c:v>92.88059836738046</c:v>
                </c:pt>
                <c:pt idx="26">
                  <c:v>91.87426891690268</c:v>
                </c:pt>
                <c:pt idx="27">
                  <c:v>90.90377124838909</c:v>
                </c:pt>
                <c:pt idx="28">
                  <c:v>89.9674326581305</c:v>
                </c:pt>
                <c:pt idx="29">
                  <c:v>89.063661675214</c:v>
                </c:pt>
                <c:pt idx="30">
                  <c:v>88.08894695324075</c:v>
                </c:pt>
                <c:pt idx="31">
                  <c:v>87.13832584485561</c:v>
                </c:pt>
                <c:pt idx="32">
                  <c:v>86.22176096832054</c:v>
                </c:pt>
                <c:pt idx="33">
                  <c:v>85.33767883844426</c:v>
                </c:pt>
                <c:pt idx="34">
                  <c:v>84.48460877247102</c:v>
                </c:pt>
                <c:pt idx="35">
                  <c:v>83.66117201572102</c:v>
                </c:pt>
                <c:pt idx="36">
                  <c:v>82.86607199975708</c:v>
                </c:pt>
                <c:pt idx="37">
                  <c:v>82.0980856781854</c:v>
                </c:pt>
                <c:pt idx="38">
                  <c:v>81.35605588554228</c:v>
                </c:pt>
                <c:pt idx="39">
                  <c:v>80.6388846595658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D$2:$D$41</c:f>
              <c:numCache>
                <c:formatCode>General</c:formatCode>
                <c:ptCount val="40"/>
                <c:pt idx="0">
                  <c:v>104.17135045138359</c:v>
                </c:pt>
                <c:pt idx="1">
                  <c:v>106.86475546605709</c:v>
                </c:pt>
                <c:pt idx="2">
                  <c:v>109.39042246721546</c:v>
                </c:pt>
                <c:pt idx="3">
                  <c:v>111.76351061008091</c:v>
                </c:pt>
                <c:pt idx="4">
                  <c:v>113.99679193643412</c:v>
                </c:pt>
                <c:pt idx="5">
                  <c:v>116.10122111174161</c:v>
                </c:pt>
                <c:pt idx="6">
                  <c:v>118.08636828967406</c:v>
                </c:pt>
                <c:pt idx="7">
                  <c:v>119.96073563524521</c:v>
                </c:pt>
                <c:pt idx="8">
                  <c:v>121.7319833477062</c:v>
                </c:pt>
                <c:pt idx="9">
                  <c:v>123.40708953595896</c:v>
                </c:pt>
                <c:pt idx="10">
                  <c:v>121.06804321595743</c:v>
                </c:pt>
                <c:pt idx="11">
                  <c:v>118.33728261945056</c:v>
                </c:pt>
                <c:pt idx="12">
                  <c:v>115.67623488164503</c:v>
                </c:pt>
                <c:pt idx="13">
                  <c:v>113.10216267391952</c:v>
                </c:pt>
                <c:pt idx="14">
                  <c:v>110.6293297440342</c:v>
                </c:pt>
                <c:pt idx="15">
                  <c:v>108.2680769198495</c:v>
                </c:pt>
                <c:pt idx="16">
                  <c:v>106.02440009325159</c:v>
                </c:pt>
                <c:pt idx="17">
                  <c:v>103.9001055115403</c:v>
                </c:pt>
                <c:pt idx="18">
                  <c:v>101.89344144068659</c:v>
                </c:pt>
                <c:pt idx="19">
                  <c:v>100.0</c:v>
                </c:pt>
                <c:pt idx="20">
                  <c:v>100.16527901202457</c:v>
                </c:pt>
                <c:pt idx="21">
                  <c:v>100.52593800079524</c:v>
                </c:pt>
                <c:pt idx="22">
                  <c:v>100.86088039248946</c:v>
                </c:pt>
                <c:pt idx="23">
                  <c:v>101.17232986070135</c:v>
                </c:pt>
                <c:pt idx="24">
                  <c:v>101.46228677977078</c:v>
                </c:pt>
                <c:pt idx="25">
                  <c:v>101.73255334406586</c:v>
                </c:pt>
                <c:pt idx="26">
                  <c:v>101.98475530104017</c:v>
                </c:pt>
                <c:pt idx="27">
                  <c:v>102.22036074646441</c:v>
                </c:pt>
                <c:pt idx="28">
                  <c:v>102.44069646517147</c:v>
                </c:pt>
                <c:pt idx="29">
                  <c:v>102.64696227035597</c:v>
                </c:pt>
                <c:pt idx="30">
                  <c:v>102.72344131784703</c:v>
                </c:pt>
                <c:pt idx="31">
                  <c:v>102.77877623670364</c:v>
                </c:pt>
                <c:pt idx="32">
                  <c:v>102.82699478284134</c:v>
                </c:pt>
                <c:pt idx="33">
                  <c:v>102.8688849036751</c:v>
                </c:pt>
                <c:pt idx="34">
                  <c:v>102.9051787164162</c:v>
                </c:pt>
                <c:pt idx="35">
                  <c:v>102.9365539825299</c:v>
                </c:pt>
                <c:pt idx="36">
                  <c:v>102.96363536794327</c:v>
                </c:pt>
                <c:pt idx="37">
                  <c:v>102.98699561878651</c:v>
                </c:pt>
                <c:pt idx="38">
                  <c:v>103.00715676339726</c:v>
                </c:pt>
                <c:pt idx="39">
                  <c:v>103.0245914268644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E$2:$E$41</c:f>
              <c:numCache>
                <c:formatCode>General</c:formatCode>
                <c:ptCount val="40"/>
                <c:pt idx="0">
                  <c:v>0.2389830508474576</c:v>
                </c:pt>
                <c:pt idx="1">
                  <c:v>0.24958217270195</c:v>
                </c:pt>
                <c:pt idx="2">
                  <c:v>0.2598901098901098</c:v>
                </c:pt>
                <c:pt idx="3">
                  <c:v>0.26991869918699196</c:v>
                </c:pt>
                <c:pt idx="4">
                  <c:v>0.2796791443850267</c:v>
                </c:pt>
                <c:pt idx="5">
                  <c:v>0.2891820580474935</c:v>
                </c:pt>
                <c:pt idx="6">
                  <c:v>0.2984374999999999</c:v>
                </c:pt>
                <c:pt idx="7">
                  <c:v>0.3074550128534704</c:v>
                </c:pt>
                <c:pt idx="8">
                  <c:v>0.316243654822335</c:v>
                </c:pt>
                <c:pt idx="9">
                  <c:v>0.32481203007518794</c:v>
                </c:pt>
                <c:pt idx="10">
                  <c:v>0.3331683168316832</c:v>
                </c:pt>
                <c:pt idx="11">
                  <c:v>0.3413202933985329</c:v>
                </c:pt>
                <c:pt idx="12">
                  <c:v>0.3492753623188405</c:v>
                </c:pt>
                <c:pt idx="13">
                  <c:v>0.35704057279236273</c:v>
                </c:pt>
                <c:pt idx="14">
                  <c:v>0.364622641509434</c:v>
                </c:pt>
                <c:pt idx="15">
                  <c:v>0.372027972027972</c:v>
                </c:pt>
                <c:pt idx="16">
                  <c:v>0.3792626728110599</c:v>
                </c:pt>
                <c:pt idx="17">
                  <c:v>0.3863325740318907</c:v>
                </c:pt>
                <c:pt idx="18">
                  <c:v>0.3932432432432433</c:v>
                </c:pt>
                <c:pt idx="19">
                  <c:v>0.4</c:v>
                </c:pt>
                <c:pt idx="20">
                  <c:v>0.4066079295154186</c:v>
                </c:pt>
                <c:pt idx="21">
                  <c:v>0.41307189542483663</c:v>
                </c:pt>
                <c:pt idx="22">
                  <c:v>0.41939655172413803</c:v>
                </c:pt>
                <c:pt idx="23">
                  <c:v>0.42558635394456296</c:v>
                </c:pt>
                <c:pt idx="24">
                  <c:v>0.4316455696202533</c:v>
                </c:pt>
                <c:pt idx="25">
                  <c:v>0.43757828810020877</c:v>
                </c:pt>
                <c:pt idx="26">
                  <c:v>0.44338842975206616</c:v>
                </c:pt>
                <c:pt idx="27">
                  <c:v>0.4490797546012271</c:v>
                </c:pt>
                <c:pt idx="28">
                  <c:v>0.4546558704453442</c:v>
                </c:pt>
                <c:pt idx="29">
                  <c:v>0.46012024048096195</c:v>
                </c:pt>
                <c:pt idx="30">
                  <c:v>0.4654761904761905</c:v>
                </c:pt>
                <c:pt idx="31">
                  <c:v>0.4707269155206288</c:v>
                </c:pt>
                <c:pt idx="32">
                  <c:v>0.47587548638132304</c:v>
                </c:pt>
                <c:pt idx="33">
                  <c:v>0.48092485549132946</c:v>
                </c:pt>
                <c:pt idx="34">
                  <c:v>0.48587786259541993</c:v>
                </c:pt>
                <c:pt idx="35">
                  <c:v>0.49073724007561437</c:v>
                </c:pt>
                <c:pt idx="36">
                  <c:v>0.4955056179775281</c:v>
                </c:pt>
                <c:pt idx="37">
                  <c:v>0.5001855287569573</c:v>
                </c:pt>
                <c:pt idx="38">
                  <c:v>0.5047794117647059</c:v>
                </c:pt>
                <c:pt idx="39">
                  <c:v>0.50928961748633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41.510165557039</c:v>
                </c:pt>
                <c:pt idx="1">
                  <c:v>139.35838964565943</c:v>
                </c:pt>
                <c:pt idx="2">
                  <c:v>137.28221090819693</c:v>
                </c:pt>
                <c:pt idx="3">
                  <c:v>135.2778555517712</c:v>
                </c:pt>
                <c:pt idx="4">
                  <c:v>133.27158248315962</c:v>
                </c:pt>
                <c:pt idx="5">
                  <c:v>130.7204230742184</c:v>
                </c:pt>
                <c:pt idx="6">
                  <c:v>128.268657853668</c:v>
                </c:pt>
                <c:pt idx="7">
                  <c:v>125.91011011512016</c:v>
                </c:pt>
                <c:pt idx="8">
                  <c:v>123.63916872911223</c:v>
                </c:pt>
                <c:pt idx="9">
                  <c:v>121.45072191803096</c:v>
                </c:pt>
                <c:pt idx="10">
                  <c:v>119.34009974760266</c:v>
                </c:pt>
                <c:pt idx="11">
                  <c:v>117.30302413966693</c:v>
                </c:pt>
                <c:pt idx="12">
                  <c:v>115.33556537463777</c:v>
                </c:pt>
                <c:pt idx="13">
                  <c:v>113.43410419394078</c:v>
                </c:pt>
                <c:pt idx="14">
                  <c:v>111.6717636206979</c:v>
                </c:pt>
                <c:pt idx="15">
                  <c:v>110.63458889598077</c:v>
                </c:pt>
                <c:pt idx="16">
                  <c:v>109.61468223605458</c:v>
                </c:pt>
                <c:pt idx="17">
                  <c:v>108.6115693650237</c:v>
                </c:pt>
                <c:pt idx="18">
                  <c:v>107.62479709987609</c:v>
                </c:pt>
                <c:pt idx="19">
                  <c:v>106.65393197160287</c:v>
                </c:pt>
                <c:pt idx="20">
                  <c:v>105.69855896061497</c:v>
                </c:pt>
                <c:pt idx="21">
                  <c:v>104.7582803356792</c:v>
                </c:pt>
                <c:pt idx="22">
                  <c:v>103.83271458669006</c:v>
                </c:pt>
                <c:pt idx="23">
                  <c:v>101.8867833737496</c:v>
                </c:pt>
                <c:pt idx="24">
                  <c:v>100.0</c:v>
                </c:pt>
                <c:pt idx="25">
                  <c:v>98.17003300050493</c:v>
                </c:pt>
                <c:pt idx="26">
                  <c:v>96.39464400559432</c:v>
                </c:pt>
                <c:pt idx="27">
                  <c:v>94.67168324841266</c:v>
                </c:pt>
                <c:pt idx="28">
                  <c:v>92.99908600598911</c:v>
                </c:pt>
                <c:pt idx="29">
                  <c:v>91.37486971760109</c:v>
                </c:pt>
                <c:pt idx="30">
                  <c:v>89.79713156262858</c:v>
                </c:pt>
                <c:pt idx="31">
                  <c:v>88.2640463209464</c:v>
                </c:pt>
                <c:pt idx="32">
                  <c:v>86.7738643789478</c:v>
                </c:pt>
                <c:pt idx="33">
                  <c:v>85.32490978115639</c:v>
                </c:pt>
                <c:pt idx="34">
                  <c:v>83.91557825958145</c:v>
                </c:pt>
                <c:pt idx="35">
                  <c:v>82.54433519974171</c:v>
                </c:pt>
                <c:pt idx="36">
                  <c:v>81.20971352352714</c:v>
                </c:pt>
                <c:pt idx="37">
                  <c:v>79.91031148506082</c:v>
                </c:pt>
                <c:pt idx="38">
                  <c:v>78.6447903870497</c:v>
                </c:pt>
                <c:pt idx="39">
                  <c:v>77.41187223252064</c:v>
                </c:pt>
                <c:pt idx="40">
                  <c:v>76.2103373310454</c:v>
                </c:pt>
                <c:pt idx="41">
                  <c:v>75.03902188033541</c:v>
                </c:pt>
                <c:pt idx="42">
                  <c:v>73.89681554407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13.29763074985773</c:v>
                </c:pt>
                <c:pt idx="1">
                  <c:v>112.73270950560052</c:v>
                </c:pt>
                <c:pt idx="2">
                  <c:v>112.19381958815804</c:v>
                </c:pt>
                <c:pt idx="3">
                  <c:v>111.67972795878612</c:v>
                </c:pt>
                <c:pt idx="4">
                  <c:v>111.13071116207331</c:v>
                </c:pt>
                <c:pt idx="5">
                  <c:v>110.08930768474126</c:v>
                </c:pt>
                <c:pt idx="6">
                  <c:v>109.09010653363758</c:v>
                </c:pt>
                <c:pt idx="7">
                  <c:v>108.13027375088306</c:v>
                </c:pt>
                <c:pt idx="8">
                  <c:v>107.20726132294061</c:v>
                </c:pt>
                <c:pt idx="9">
                  <c:v>106.31877258847166</c:v>
                </c:pt>
                <c:pt idx="10">
                  <c:v>105.46273206640177</c:v>
                </c:pt>
                <c:pt idx="11">
                  <c:v>104.63725914158164</c:v>
                </c:pt>
                <c:pt idx="12">
                  <c:v>103.84064511398338</c:v>
                </c:pt>
                <c:pt idx="13">
                  <c:v>103.07133317822803</c:v>
                </c:pt>
                <c:pt idx="14">
                  <c:v>102.39792604100084</c:v>
                </c:pt>
                <c:pt idx="15">
                  <c:v>102.36541310005478</c:v>
                </c:pt>
                <c:pt idx="16">
                  <c:v>102.33180002559989</c:v>
                </c:pt>
                <c:pt idx="17">
                  <c:v>102.29707034809579</c:v>
                </c:pt>
                <c:pt idx="18">
                  <c:v>102.2612118836302</c:v>
                </c:pt>
                <c:pt idx="19">
                  <c:v>102.22421628762636</c:v>
                </c:pt>
                <c:pt idx="20">
                  <c:v>102.18607865045377</c:v>
                </c:pt>
                <c:pt idx="21">
                  <c:v>102.1467971310616</c:v>
                </c:pt>
                <c:pt idx="22">
                  <c:v>102.10637262511335</c:v>
                </c:pt>
                <c:pt idx="23">
                  <c:v>101.03976227840248</c:v>
                </c:pt>
                <c:pt idx="24">
                  <c:v>100.0</c:v>
                </c:pt>
                <c:pt idx="25">
                  <c:v>98.9862050278306</c:v>
                </c:pt>
                <c:pt idx="26">
                  <c:v>97.99751414710579</c:v>
                </c:pt>
                <c:pt idx="27">
                  <c:v>97.03308092194045</c:v>
                </c:pt>
                <c:pt idx="28">
                  <c:v>96.09207566943809</c:v>
                </c:pt>
                <c:pt idx="29">
                  <c:v>95.17368596356336</c:v>
                </c:pt>
                <c:pt idx="30">
                  <c:v>94.2771174794738</c:v>
                </c:pt>
                <c:pt idx="31">
                  <c:v>93.4015950177612</c:v>
                </c:pt>
                <c:pt idx="32">
                  <c:v>92.5463635790038</c:v>
                </c:pt>
                <c:pt idx="33">
                  <c:v>91.71068938955257</c:v>
                </c:pt>
                <c:pt idx="34">
                  <c:v>90.89386080768728</c:v>
                </c:pt>
                <c:pt idx="35">
                  <c:v>90.09518906397409</c:v>
                </c:pt>
                <c:pt idx="36">
                  <c:v>89.31400881027686</c:v>
                </c:pt>
                <c:pt idx="37">
                  <c:v>88.54967846826264</c:v>
                </c:pt>
                <c:pt idx="38">
                  <c:v>87.80158038062426</c:v>
                </c:pt>
                <c:pt idx="39">
                  <c:v>87.06912077706261</c:v>
                </c:pt>
                <c:pt idx="40">
                  <c:v>86.35172957282458</c:v>
                </c:pt>
                <c:pt idx="41">
                  <c:v>85.64886002088828</c:v>
                </c:pt>
                <c:pt idx="42">
                  <c:v>84.9599882402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74.1198047676834</c:v>
                </c:pt>
                <c:pt idx="1">
                  <c:v>75.75798834635009</c:v>
                </c:pt>
                <c:pt idx="2">
                  <c:v>77.35337437484647</c:v>
                </c:pt>
                <c:pt idx="3">
                  <c:v>78.90826171737348</c:v>
                </c:pt>
                <c:pt idx="4">
                  <c:v>80.38244909384376</c:v>
                </c:pt>
                <c:pt idx="5">
                  <c:v>81.43755814781092</c:v>
                </c:pt>
                <c:pt idx="6">
                  <c:v>82.45531771288019</c:v>
                </c:pt>
                <c:pt idx="7">
                  <c:v>83.43755135852265</c:v>
                </c:pt>
                <c:pt idx="8">
                  <c:v>84.38597842271245</c:v>
                </c:pt>
                <c:pt idx="9">
                  <c:v>85.30222361065674</c:v>
                </c:pt>
                <c:pt idx="10">
                  <c:v>86.18782500418585</c:v>
                </c:pt>
                <c:pt idx="11">
                  <c:v>87.04424080556775</c:v>
                </c:pt>
                <c:pt idx="12">
                  <c:v>87.87285507447824</c:v>
                </c:pt>
                <c:pt idx="13">
                  <c:v>88.67498266401567</c:v>
                </c:pt>
                <c:pt idx="14">
                  <c:v>89.51316577144695</c:v>
                </c:pt>
                <c:pt idx="15">
                  <c:v>90.87707315815295</c:v>
                </c:pt>
                <c:pt idx="16">
                  <c:v>92.21434694419226</c:v>
                </c:pt>
                <c:pt idx="17">
                  <c:v>93.52560666045811</c:v>
                </c:pt>
                <c:pt idx="18">
                  <c:v>94.81145277600426</c:v>
                </c:pt>
                <c:pt idx="19">
                  <c:v>96.07246754865683</c:v>
                </c:pt>
                <c:pt idx="20">
                  <c:v>97.3092158166888</c:v>
                </c:pt>
                <c:pt idx="21">
                  <c:v>98.52224573729524</c:v>
                </c:pt>
                <c:pt idx="22">
                  <c:v>99.71208947694907</c:v>
                </c:pt>
                <c:pt idx="23">
                  <c:v>99.86508318228404</c:v>
                </c:pt>
                <c:pt idx="24">
                  <c:v>100.0</c:v>
                </c:pt>
                <c:pt idx="25">
                  <c:v>100.11798314616082</c:v>
                </c:pt>
                <c:pt idx="26">
                  <c:v>100.2200875771612</c:v>
                </c:pt>
                <c:pt idx="27">
                  <c:v>100.30728446611683</c:v>
                </c:pt>
                <c:pt idx="28">
                  <c:v>100.38046615201802</c:v>
                </c:pt>
                <c:pt idx="29">
                  <c:v>100.44045140966263</c:v>
                </c:pt>
                <c:pt idx="30">
                  <c:v>100.48799089070913</c:v>
                </c:pt>
                <c:pt idx="31">
                  <c:v>100.52377259814212</c:v>
                </c:pt>
                <c:pt idx="32">
                  <c:v>100.54842727475346</c:v>
                </c:pt>
                <c:pt idx="33">
                  <c:v>100.56253360795932</c:v>
                </c:pt>
                <c:pt idx="34">
                  <c:v>100.56662317597763</c:v>
                </c:pt>
                <c:pt idx="35">
                  <c:v>100.5611850822345</c:v>
                </c:pt>
                <c:pt idx="36">
                  <c:v>100.54667024464972</c:v>
                </c:pt>
                <c:pt idx="37">
                  <c:v>100.52349532342335</c:v>
                </c:pt>
                <c:pt idx="38">
                  <c:v>100.49204628480821</c:v>
                </c:pt>
                <c:pt idx="39">
                  <c:v>100.45268160915471</c:v>
                </c:pt>
                <c:pt idx="40">
                  <c:v>100.4057351594204</c:v>
                </c:pt>
                <c:pt idx="41">
                  <c:v>100.3515187317493</c:v>
                </c:pt>
                <c:pt idx="42">
                  <c:v>100.290324313020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2749644159027515</c:v>
                </c:pt>
                <c:pt idx="1">
                  <c:v>0.2824390095532388</c:v>
                </c:pt>
                <c:pt idx="2">
                  <c:v>0.28976106047616457</c:v>
                </c:pt>
                <c:pt idx="3">
                  <c:v>0.29693519117842576</c:v>
                </c:pt>
                <c:pt idx="4">
                  <c:v>0.30396583926664145</c:v>
                </c:pt>
                <c:pt idx="5">
                  <c:v>0.3108572666006352</c:v>
                </c:pt>
                <c:pt idx="6">
                  <c:v>0.31761356790847184</c:v>
                </c:pt>
                <c:pt idx="7">
                  <c:v>0.32423867889965186</c:v>
                </c:pt>
                <c:pt idx="8">
                  <c:v>0.3307363839102322</c:v>
                </c:pt>
                <c:pt idx="9">
                  <c:v>0.33711032311108713</c:v>
                </c:pt>
                <c:pt idx="10">
                  <c:v>0.34336399930815237</c:v>
                </c:pt>
                <c:pt idx="11">
                  <c:v>0.34950078436134696</c:v>
                </c:pt>
                <c:pt idx="12">
                  <c:v>0.3555239252468902</c:v>
                </c:pt>
                <c:pt idx="13">
                  <c:v>0.3614365497859095</c:v>
                </c:pt>
                <c:pt idx="14">
                  <c:v>0.3672416720605832</c:v>
                </c:pt>
                <c:pt idx="15">
                  <c:v>0.3729421975375147</c:v>
                </c:pt>
                <c:pt idx="16">
                  <c:v>0.37854092791664423</c:v>
                </c:pt>
                <c:pt idx="17">
                  <c:v>0.38404056572269163</c:v>
                </c:pt>
                <c:pt idx="18">
                  <c:v>0.38944371865494876</c:v>
                </c:pt>
                <c:pt idx="19">
                  <c:v>0.394752903710123</c:v>
                </c:pt>
                <c:pt idx="20">
                  <c:v>0.3999705510919323</c:v>
                </c:pt>
                <c:pt idx="21">
                  <c:v>0.4050990079202063</c:v>
                </c:pt>
                <c:pt idx="22">
                  <c:v>0.41014054175139103</c:v>
                </c:pt>
                <c:pt idx="23">
                  <c:v>0.4150973439215475</c:v>
                </c:pt>
                <c:pt idx="24">
                  <c:v>0.4199715327222011</c:v>
                </c:pt>
                <c:pt idx="25">
                  <c:v>0.42476515641871193</c:v>
                </c:pt>
                <c:pt idx="26">
                  <c:v>0.4294801961201979</c:v>
                </c:pt>
                <c:pt idx="27">
                  <c:v>0.4341185685094645</c:v>
                </c:pt>
                <c:pt idx="28">
                  <c:v>0.43868212844083987</c:v>
                </c:pt>
                <c:pt idx="29">
                  <c:v>0.4431726714133131</c:v>
                </c:pt>
                <c:pt idx="30">
                  <c:v>0.4475919359259059</c:v>
                </c:pt>
                <c:pt idx="31">
                  <c:v>0.4519416057217649</c:v>
                </c:pt>
                <c:pt idx="32">
                  <c:v>0.45622331192706367</c:v>
                </c:pt>
                <c:pt idx="33">
                  <c:v>0.4604386350904197</c:v>
                </c:pt>
                <c:pt idx="34">
                  <c:v>0.4645891071281857</c:v>
                </c:pt>
                <c:pt idx="35">
                  <c:v>0.46867621318064234</c:v>
                </c:pt>
                <c:pt idx="36">
                  <c:v>0.4727013933838192</c:v>
                </c:pt>
                <c:pt idx="37">
                  <c:v>0.47666604456138456</c:v>
                </c:pt>
                <c:pt idx="38">
                  <c:v>0.4805715218407772</c:v>
                </c:pt>
                <c:pt idx="39">
                  <c:v>0.4844191401975122</c:v>
                </c:pt>
                <c:pt idx="40">
                  <c:v>0.48821017593135396</c:v>
                </c:pt>
                <c:pt idx="41">
                  <c:v>0.49194586807784046</c:v>
                </c:pt>
                <c:pt idx="42">
                  <c:v>0.49562741975843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84.20189958105638</c:v>
                </c:pt>
                <c:pt idx="1">
                  <c:v>175.1686967232263</c:v>
                </c:pt>
                <c:pt idx="2">
                  <c:v>166.89625082361562</c:v>
                </c:pt>
                <c:pt idx="3">
                  <c:v>159.30421137592762</c:v>
                </c:pt>
                <c:pt idx="4">
                  <c:v>152.31870303000716</c:v>
                </c:pt>
                <c:pt idx="5">
                  <c:v>145.873001755376</c:v>
                </c:pt>
                <c:pt idx="6">
                  <c:v>138.52324693234445</c:v>
                </c:pt>
                <c:pt idx="7">
                  <c:v>131.61803717921396</c:v>
                </c:pt>
                <c:pt idx="8">
                  <c:v>125.26119810600198</c:v>
                </c:pt>
                <c:pt idx="9">
                  <c:v>119.39888879878562</c:v>
                </c:pt>
                <c:pt idx="10">
                  <c:v>113.98267970589795</c:v>
                </c:pt>
                <c:pt idx="11">
                  <c:v>108.96922111906424</c:v>
                </c:pt>
                <c:pt idx="12">
                  <c:v>104.31982191610811</c:v>
                </c:pt>
                <c:pt idx="13">
                  <c:v>100.0</c:v>
                </c:pt>
                <c:pt idx="14">
                  <c:v>95.97904034449004</c:v>
                </c:pt>
                <c:pt idx="15">
                  <c:v>92.22957947687479</c:v>
                </c:pt>
                <c:pt idx="16">
                  <c:v>85.49344998721178</c:v>
                </c:pt>
                <c:pt idx="17">
                  <c:v>79.1104011077682</c:v>
                </c:pt>
                <c:pt idx="18">
                  <c:v>73.38106068532107</c:v>
                </c:pt>
                <c:pt idx="19">
                  <c:v>68.22980496668144</c:v>
                </c:pt>
                <c:pt idx="20">
                  <c:v>63.590383211629344</c:v>
                </c:pt>
                <c:pt idx="21">
                  <c:v>59.40444948324489</c:v>
                </c:pt>
                <c:pt idx="22">
                  <c:v>55.620413560825455</c:v>
                </c:pt>
                <c:pt idx="23">
                  <c:v>52.19255392450122</c:v>
                </c:pt>
                <c:pt idx="24">
                  <c:v>49.08032749612136</c:v>
                </c:pt>
                <c:pt idx="25">
                  <c:v>46.24781592413114</c:v>
                </c:pt>
                <c:pt idx="26">
                  <c:v>44.47632793563288</c:v>
                </c:pt>
                <c:pt idx="27">
                  <c:v>42.89677349998647</c:v>
                </c:pt>
                <c:pt idx="28">
                  <c:v>41.405156819817506</c:v>
                </c:pt>
                <c:pt idx="29">
                  <c:v>39.9951717317335</c:v>
                </c:pt>
                <c:pt idx="30">
                  <c:v>38.660955811580294</c:v>
                </c:pt>
                <c:pt idx="31">
                  <c:v>37.3970750284442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53.8618373045163</c:v>
                </c:pt>
                <c:pt idx="1">
                  <c:v>148.52607934660796</c:v>
                </c:pt>
                <c:pt idx="2">
                  <c:v>143.6188169075479</c:v>
                </c:pt>
                <c:pt idx="3">
                  <c:v>139.0982715612693</c:v>
                </c:pt>
                <c:pt idx="4">
                  <c:v>134.9244458906378</c:v>
                </c:pt>
                <c:pt idx="5">
                  <c:v>131.06011482497567</c:v>
                </c:pt>
                <c:pt idx="6">
                  <c:v>126.20978115197114</c:v>
                </c:pt>
                <c:pt idx="7">
                  <c:v>121.58576830198629</c:v>
                </c:pt>
                <c:pt idx="8">
                  <c:v>117.30182088484047</c:v>
                </c:pt>
                <c:pt idx="9">
                  <c:v>113.32731601417943</c:v>
                </c:pt>
                <c:pt idx="10">
                  <c:v>109.63418481333096</c:v>
                </c:pt>
                <c:pt idx="11">
                  <c:v>106.19691544996958</c:v>
                </c:pt>
                <c:pt idx="12">
                  <c:v>102.99244602781586</c:v>
                </c:pt>
                <c:pt idx="13">
                  <c:v>100.0</c:v>
                </c:pt>
                <c:pt idx="14">
                  <c:v>97.20089731650441</c:v>
                </c:pt>
                <c:pt idx="15">
                  <c:v>94.5783607925827</c:v>
                </c:pt>
                <c:pt idx="16">
                  <c:v>88.76876156010461</c:v>
                </c:pt>
                <c:pt idx="17">
                  <c:v>83.15846969252348</c:v>
                </c:pt>
                <c:pt idx="18">
                  <c:v>78.07978354950377</c:v>
                </c:pt>
                <c:pt idx="19">
                  <c:v>73.47638153861367</c:v>
                </c:pt>
                <c:pt idx="20">
                  <c:v>69.29830045120384</c:v>
                </c:pt>
                <c:pt idx="21">
                  <c:v>65.50091025188414</c:v>
                </c:pt>
                <c:pt idx="22">
                  <c:v>62.04413363105559</c:v>
                </c:pt>
                <c:pt idx="23">
                  <c:v>58.89187415581083</c:v>
                </c:pt>
                <c:pt idx="24">
                  <c:v>56.01160175113078</c:v>
                </c:pt>
                <c:pt idx="25">
                  <c:v>53.37404351195693</c:v>
                </c:pt>
                <c:pt idx="26">
                  <c:v>51.89972624835916</c:v>
                </c:pt>
                <c:pt idx="27">
                  <c:v>50.606291649313484</c:v>
                </c:pt>
                <c:pt idx="28">
                  <c:v>49.37732160921061</c:v>
                </c:pt>
                <c:pt idx="29">
                  <c:v>48.20858087441576</c:v>
                </c:pt>
                <c:pt idx="30">
                  <c:v>47.0960541336106</c:v>
                </c:pt>
                <c:pt idx="31">
                  <c:v>46.035955098115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15.05916158796485</c:v>
                </c:pt>
                <c:pt idx="1">
                  <c:v>114.47454287270406</c:v>
                </c:pt>
                <c:pt idx="2">
                  <c:v>113.88740085280719</c:v>
                </c:pt>
                <c:pt idx="3">
                  <c:v>113.3064841604129</c:v>
                </c:pt>
                <c:pt idx="4">
                  <c:v>112.73605369416786</c:v>
                </c:pt>
                <c:pt idx="5">
                  <c:v>112.1773374165685</c:v>
                </c:pt>
                <c:pt idx="6">
                  <c:v>110.52506578410299</c:v>
                </c:pt>
                <c:pt idx="7">
                  <c:v>108.81588831502211</c:v>
                </c:pt>
                <c:pt idx="8">
                  <c:v>107.17714881626961</c:v>
                </c:pt>
                <c:pt idx="9">
                  <c:v>105.6087260168567</c:v>
                </c:pt>
                <c:pt idx="10">
                  <c:v>104.10922282151047</c:v>
                </c:pt>
                <c:pt idx="11">
                  <c:v>102.6764351787181</c:v>
                </c:pt>
                <c:pt idx="12">
                  <c:v>101.30767636752327</c:v>
                </c:pt>
                <c:pt idx="13">
                  <c:v>100.0</c:v>
                </c:pt>
                <c:pt idx="14">
                  <c:v>98.75035296582094</c:v>
                </c:pt>
                <c:pt idx="15">
                  <c:v>97.55567977433364</c:v>
                </c:pt>
                <c:pt idx="16">
                  <c:v>92.89910051696154</c:v>
                </c:pt>
                <c:pt idx="17">
                  <c:v>88.24738152689339</c:v>
                </c:pt>
                <c:pt idx="18">
                  <c:v>83.97513721046492</c:v>
                </c:pt>
                <c:pt idx="19">
                  <c:v>80.05026820384899</c:v>
                </c:pt>
                <c:pt idx="20">
                  <c:v>76.44320833573903</c:v>
                </c:pt>
                <c:pt idx="21">
                  <c:v>73.12647045992844</c:v>
                </c:pt>
                <c:pt idx="22">
                  <c:v>70.07433998021465</c:v>
                </c:pt>
                <c:pt idx="23">
                  <c:v>67.26270704452743</c:v>
                </c:pt>
                <c:pt idx="24">
                  <c:v>64.66900431732599</c:v>
                </c:pt>
                <c:pt idx="25">
                  <c:v>62.272209023230204</c:v>
                </c:pt>
                <c:pt idx="26">
                  <c:v>61.17113453829257</c:v>
                </c:pt>
                <c:pt idx="27">
                  <c:v>60.23728004636126</c:v>
                </c:pt>
                <c:pt idx="28">
                  <c:v>59.33823365686881</c:v>
                </c:pt>
                <c:pt idx="29">
                  <c:v>58.47239322753075</c:v>
                </c:pt>
                <c:pt idx="30">
                  <c:v>57.63808982906474</c:v>
                </c:pt>
                <c:pt idx="31">
                  <c:v>56.83362848629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3384354107757624</c:v>
                </c:pt>
                <c:pt idx="1">
                  <c:v>0.3439674994198622</c:v>
                </c:pt>
                <c:pt idx="2">
                  <c:v>0.35378834523693026</c:v>
                </c:pt>
                <c:pt idx="3">
                  <c:v>0.36331949058741814</c:v>
                </c:pt>
                <c:pt idx="4">
                  <c:v>0.3725735677591124</c:v>
                </c:pt>
                <c:pt idx="5">
                  <c:v>0.3815624851264604</c:v>
                </c:pt>
                <c:pt idx="6">
                  <c:v>0.3902974782743918</c:v>
                </c:pt>
                <c:pt idx="7">
                  <c:v>0.39878915684995725</c:v>
                </c:pt>
                <c:pt idx="8">
                  <c:v>0.40704754755256795</c:v>
                </c:pt>
                <c:pt idx="9">
                  <c:v>0.4150821336290912</c:v>
                </c:pt>
                <c:pt idx="10">
                  <c:v>0.42290189120089494</c:v>
                </c:pt>
                <c:pt idx="11">
                  <c:v>0.43051532271539505</c:v>
                </c:pt>
                <c:pt idx="12">
                  <c:v>0.43793048778420496</c:v>
                </c:pt>
                <c:pt idx="13">
                  <c:v>0.4451550316430198</c:v>
                </c:pt>
                <c:pt idx="14">
                  <c:v>0.4521962114445043</c:v>
                </c:pt>
                <c:pt idx="15">
                  <c:v>0.4590609205742724</c:v>
                </c:pt>
                <c:pt idx="16">
                  <c:v>0.4657557111612245</c:v>
                </c:pt>
                <c:pt idx="17">
                  <c:v>0.47228681493675967</c:v>
                </c:pt>
                <c:pt idx="18">
                  <c:v>0.4786601625824509</c:v>
                </c:pt>
                <c:pt idx="19">
                  <c:v>0.48488140169244554</c:v>
                </c:pt>
                <c:pt idx="20">
                  <c:v>0.4909559134649402</c:v>
                </c:pt>
                <c:pt idx="21">
                  <c:v>0.49688882822642133</c:v>
                </c:pt>
                <c:pt idx="22">
                  <c:v>0.5026850398827989</c:v>
                </c:pt>
                <c:pt idx="23">
                  <c:v>0.5083492193829948</c:v>
                </c:pt>
                <c:pt idx="24">
                  <c:v>0.5138858272728258</c:v>
                </c:pt>
                <c:pt idx="25">
                  <c:v>0.5192991254100995</c:v>
                </c:pt>
                <c:pt idx="26">
                  <c:v>0.524593187905583</c:v>
                </c:pt>
                <c:pt idx="27">
                  <c:v>0.5297719113488774</c:v>
                </c:pt>
                <c:pt idx="28">
                  <c:v>0.534839024373135</c:v>
                </c:pt>
                <c:pt idx="29">
                  <c:v>0.5397980966079631</c:v>
                </c:pt>
                <c:pt idx="30">
                  <c:v>0.5446525470656851</c:v>
                </c:pt>
                <c:pt idx="31">
                  <c:v>0.54940565200236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55.3644915637229</c:v>
                </c:pt>
                <c:pt idx="1">
                  <c:v>151.15439491987505</c:v>
                </c:pt>
                <c:pt idx="2">
                  <c:v>147.24392581897524</c:v>
                </c:pt>
                <c:pt idx="3">
                  <c:v>143.59890109284794</c:v>
                </c:pt>
                <c:pt idx="4">
                  <c:v>140.1896230850857</c:v>
                </c:pt>
                <c:pt idx="5">
                  <c:v>136.99032339494687</c:v>
                </c:pt>
                <c:pt idx="6">
                  <c:v>132.38370578409823</c:v>
                </c:pt>
                <c:pt idx="7">
                  <c:v>127.89797345134401</c:v>
                </c:pt>
                <c:pt idx="8">
                  <c:v>123.68501455118522</c:v>
                </c:pt>
                <c:pt idx="9">
                  <c:v>119.71722192520066</c:v>
                </c:pt>
                <c:pt idx="10">
                  <c:v>115.97152257038192</c:v>
                </c:pt>
                <c:pt idx="11">
                  <c:v>112.42868712931558</c:v>
                </c:pt>
                <c:pt idx="12">
                  <c:v>109.07265290248489</c:v>
                </c:pt>
                <c:pt idx="13">
                  <c:v>105.88991173844224</c:v>
                </c:pt>
                <c:pt idx="14">
                  <c:v>102.86898686552159</c:v>
                </c:pt>
                <c:pt idx="15">
                  <c:v>100.0</c:v>
                </c:pt>
                <c:pt idx="16">
                  <c:v>95.43752396623113</c:v>
                </c:pt>
                <c:pt idx="17">
                  <c:v>91.0440930764794</c:v>
                </c:pt>
                <c:pt idx="18">
                  <c:v>87.00659074328885</c:v>
                </c:pt>
                <c:pt idx="19">
                  <c:v>83.2977868577355</c:v>
                </c:pt>
                <c:pt idx="20">
                  <c:v>79.89220209380647</c:v>
                </c:pt>
                <c:pt idx="21">
                  <c:v>76.76519136818612</c:v>
                </c:pt>
                <c:pt idx="22">
                  <c:v>73.89263065543402</c:v>
                </c:pt>
                <c:pt idx="23">
                  <c:v>71.25101704907271</c:v>
                </c:pt>
                <c:pt idx="24">
                  <c:v>68.817776672813</c:v>
                </c:pt>
                <c:pt idx="25">
                  <c:v>66.57161550044405</c:v>
                </c:pt>
                <c:pt idx="26">
                  <c:v>65.41717441691206</c:v>
                </c:pt>
                <c:pt idx="27">
                  <c:v>64.41099138733182</c:v>
                </c:pt>
                <c:pt idx="28">
                  <c:v>63.44178940845012</c:v>
                </c:pt>
                <c:pt idx="29">
                  <c:v>62.50715866738776</c:v>
                </c:pt>
                <c:pt idx="30">
                  <c:v>61.60487896321995</c:v>
                </c:pt>
                <c:pt idx="31">
                  <c:v>60.732905326782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26.7065104030483</c:v>
                </c:pt>
                <c:pt idx="1">
                  <c:v>125.12748913707112</c:v>
                </c:pt>
                <c:pt idx="2">
                  <c:v>123.6971519949672</c:v>
                </c:pt>
                <c:pt idx="3">
                  <c:v>122.39732221258978</c:v>
                </c:pt>
                <c:pt idx="4">
                  <c:v>121.21204073535432</c:v>
                </c:pt>
                <c:pt idx="5">
                  <c:v>120.1273495118005</c:v>
                </c:pt>
                <c:pt idx="6">
                  <c:v>117.7139558380102</c:v>
                </c:pt>
                <c:pt idx="7">
                  <c:v>115.29731106909418</c:v>
                </c:pt>
                <c:pt idx="8">
                  <c:v>113.020428866119</c:v>
                </c:pt>
                <c:pt idx="9">
                  <c:v>110.86767178460279</c:v>
                </c:pt>
                <c:pt idx="10">
                  <c:v>108.82631930049823</c:v>
                </c:pt>
                <c:pt idx="11">
                  <c:v>106.88618555051252</c:v>
                </c:pt>
                <c:pt idx="12">
                  <c:v>105.03920063642786</c:v>
                </c:pt>
                <c:pt idx="13">
                  <c:v>103.279006272978</c:v>
                </c:pt>
                <c:pt idx="14">
                  <c:v>101.60059475725159</c:v>
                </c:pt>
                <c:pt idx="15">
                  <c:v>100.0</c:v>
                </c:pt>
                <c:pt idx="16">
                  <c:v>96.6176988002262</c:v>
                </c:pt>
                <c:pt idx="17">
                  <c:v>93.2965286496584</c:v>
                </c:pt>
                <c:pt idx="18">
                  <c:v>90.23609144969983</c:v>
                </c:pt>
                <c:pt idx="19">
                  <c:v>87.42090647517459</c:v>
                </c:pt>
                <c:pt idx="20">
                  <c:v>84.83603044303453</c:v>
                </c:pt>
                <c:pt idx="21">
                  <c:v>82.466179457102</c:v>
                </c:pt>
                <c:pt idx="22">
                  <c:v>80.29543730180691</c:v>
                </c:pt>
                <c:pt idx="23">
                  <c:v>78.30739379065709</c:v>
                </c:pt>
                <c:pt idx="24">
                  <c:v>76.48552127288859</c:v>
                </c:pt>
                <c:pt idx="25">
                  <c:v>74.81362246542903</c:v>
                </c:pt>
                <c:pt idx="26">
                  <c:v>74.32499756974138</c:v>
                </c:pt>
                <c:pt idx="27">
                  <c:v>73.97795202388178</c:v>
                </c:pt>
                <c:pt idx="28">
                  <c:v>73.6489697389233</c:v>
                </c:pt>
                <c:pt idx="29">
                  <c:v>73.33659280382558</c:v>
                </c:pt>
                <c:pt idx="30">
                  <c:v>73.03946949794486</c:v>
                </c:pt>
                <c:pt idx="31">
                  <c:v>72.75634869123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88.98149391840153</c:v>
                </c:pt>
                <c:pt idx="1">
                  <c:v>90.87586564772678</c:v>
                </c:pt>
                <c:pt idx="2">
                  <c:v>92.71906406832713</c:v>
                </c:pt>
                <c:pt idx="3">
                  <c:v>94.51419496895234</c:v>
                </c:pt>
                <c:pt idx="4">
                  <c:v>96.26354938128988</c:v>
                </c:pt>
                <c:pt idx="5">
                  <c:v>97.96884461803796</c:v>
                </c:pt>
                <c:pt idx="6">
                  <c:v>98.44534390657633</c:v>
                </c:pt>
                <c:pt idx="7">
                  <c:v>98.75274372732757</c:v>
                </c:pt>
                <c:pt idx="8">
                  <c:v>99.02297685753497</c:v>
                </c:pt>
                <c:pt idx="9">
                  <c:v>99.25646417759015</c:v>
                </c:pt>
                <c:pt idx="10">
                  <c:v>99.45436940745682</c:v>
                </c:pt>
                <c:pt idx="11">
                  <c:v>99.61863304663677</c:v>
                </c:pt>
                <c:pt idx="12">
                  <c:v>99.75190066634748</c:v>
                </c:pt>
                <c:pt idx="13">
                  <c:v>99.85739668016657</c:v>
                </c:pt>
                <c:pt idx="14">
                  <c:v>99.93877990761673</c:v>
                </c:pt>
                <c:pt idx="15">
                  <c:v>100.0</c:v>
                </c:pt>
                <c:pt idx="16">
                  <c:v>98.15604686892715</c:v>
                </c:pt>
                <c:pt idx="17">
                  <c:v>96.23084650212724</c:v>
                </c:pt>
                <c:pt idx="18">
                  <c:v>94.44169801948419</c:v>
                </c:pt>
                <c:pt idx="19">
                  <c:v>92.78868443788532</c:v>
                </c:pt>
                <c:pt idx="20">
                  <c:v>91.27078632948307</c:v>
                </c:pt>
                <c:pt idx="21">
                  <c:v>89.88505799033986</c:v>
                </c:pt>
                <c:pt idx="22">
                  <c:v>88.62637062482328</c:v>
                </c:pt>
                <c:pt idx="23">
                  <c:v>87.48760941974885</c:v>
                </c:pt>
                <c:pt idx="24">
                  <c:v>86.46014885521309</c:v>
                </c:pt>
                <c:pt idx="25">
                  <c:v>85.5344357713752</c:v>
                </c:pt>
                <c:pt idx="26">
                  <c:v>85.91455190959074</c:v>
                </c:pt>
                <c:pt idx="27">
                  <c:v>86.42783524431738</c:v>
                </c:pt>
                <c:pt idx="28">
                  <c:v>86.93447189072938</c:v>
                </c:pt>
                <c:pt idx="29">
                  <c:v>87.43425123024855</c:v>
                </c:pt>
                <c:pt idx="30">
                  <c:v>87.92695869968546</c:v>
                </c:pt>
                <c:pt idx="31">
                  <c:v>88.412381862497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1028378903161413</c:v>
                </c:pt>
                <c:pt idx="1">
                  <c:v>0.3207657983168481</c:v>
                </c:pt>
                <c:pt idx="2">
                  <c:v>0.3309339749887514</c:v>
                </c:pt>
                <c:pt idx="3">
                  <c:v>0.3408022054461446</c:v>
                </c:pt>
                <c:pt idx="4">
                  <c:v>0.35038356873907855</c:v>
                </c:pt>
                <c:pt idx="5">
                  <c:v>0.35969039440184225</c:v>
                </c:pt>
                <c:pt idx="6">
                  <c:v>0.3687343153848673</c:v>
                </c:pt>
                <c:pt idx="7">
                  <c:v>0.37752631656335084</c:v>
                </c:pt>
                <c:pt idx="8">
                  <c:v>0.3860767792479202</c:v>
                </c:pt>
                <c:pt idx="9">
                  <c:v>0.3943955220765393</c:v>
                </c:pt>
                <c:pt idx="10">
                  <c:v>0.40249183862631804</c:v>
                </c:pt>
                <c:pt idx="11">
                  <c:v>0.41037453204813445</c:v>
                </c:pt>
                <c:pt idx="12">
                  <c:v>0.41805194699542436</c:v>
                </c:pt>
                <c:pt idx="13">
                  <c:v>0.4255319990905989</c:v>
                </c:pt>
                <c:pt idx="14">
                  <c:v>0.43282220214782485</c:v>
                </c:pt>
                <c:pt idx="15">
                  <c:v>0.43992969334897986</c:v>
                </c:pt>
                <c:pt idx="16">
                  <c:v>0.44686125655010633</c:v>
                </c:pt>
                <c:pt idx="17">
                  <c:v>0.4536233438783447</c:v>
                </c:pt>
                <c:pt idx="18">
                  <c:v>0.46022209576387185</c:v>
                </c:pt>
                <c:pt idx="19">
                  <c:v>0.46666335953757276</c:v>
                </c:pt>
                <c:pt idx="20">
                  <c:v>0.47295270671283723</c:v>
                </c:pt>
                <c:pt idx="21">
                  <c:v>0.47909544905884144</c:v>
                </c:pt>
                <c:pt idx="22">
                  <c:v>0.4850966535627718</c:v>
                </c:pt>
                <c:pt idx="23">
                  <c:v>0.49096115636957394</c:v>
                </c:pt>
                <c:pt idx="24">
                  <c:v>0.49669357577982653</c:v>
                </c:pt>
                <c:pt idx="25">
                  <c:v>0.5022983243791603</c:v>
                </c:pt>
                <c:pt idx="26">
                  <c:v>0.507779620366174</c:v>
                </c:pt>
                <c:pt idx="27">
                  <c:v>0.5131414981399629</c:v>
                </c:pt>
                <c:pt idx="28">
                  <c:v>0.5183878182031099</c:v>
                </c:pt>
                <c:pt idx="29">
                  <c:v>0.5235222764312217</c:v>
                </c:pt>
                <c:pt idx="30">
                  <c:v>0.5285484127557869</c:v>
                </c:pt>
                <c:pt idx="31">
                  <c:v>0.533469619303221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B$2:$B$43</c:f>
              <c:numCache>
                <c:formatCode>General</c:formatCode>
                <c:ptCount val="42"/>
                <c:pt idx="0">
                  <c:v>170.73335869083635</c:v>
                </c:pt>
                <c:pt idx="1">
                  <c:v>167.39212864883172</c:v>
                </c:pt>
                <c:pt idx="2">
                  <c:v>164.1831827133031</c:v>
                </c:pt>
                <c:pt idx="3">
                  <c:v>161.0989840080508</c:v>
                </c:pt>
                <c:pt idx="4">
                  <c:v>155.33030964186966</c:v>
                </c:pt>
                <c:pt idx="5">
                  <c:v>149.63072184627063</c:v>
                </c:pt>
                <c:pt idx="6">
                  <c:v>144.2919431598517</c:v>
                </c:pt>
                <c:pt idx="7">
                  <c:v>139.28193663107425</c:v>
                </c:pt>
                <c:pt idx="8">
                  <c:v>134.57170528091555</c:v>
                </c:pt>
                <c:pt idx="9">
                  <c:v>130.13530303321696</c:v>
                </c:pt>
                <c:pt idx="10">
                  <c:v>125.94966972427912</c:v>
                </c:pt>
                <c:pt idx="11">
                  <c:v>121.99436626097801</c:v>
                </c:pt>
                <c:pt idx="12">
                  <c:v>118.25126900099896</c:v>
                </c:pt>
                <c:pt idx="13">
                  <c:v>114.70426295987136</c:v>
                </c:pt>
                <c:pt idx="14">
                  <c:v>112.54883965792106</c:v>
                </c:pt>
                <c:pt idx="15">
                  <c:v>110.59471731127036</c:v>
                </c:pt>
                <c:pt idx="16">
                  <c:v>108.69878536491481</c:v>
                </c:pt>
                <c:pt idx="17">
                  <c:v>106.85823821547571</c:v>
                </c:pt>
                <c:pt idx="18">
                  <c:v>105.07045499880414</c:v>
                </c:pt>
                <c:pt idx="19">
                  <c:v>103.3329875347553</c:v>
                </c:pt>
                <c:pt idx="20">
                  <c:v>101.6435485016372</c:v>
                </c:pt>
                <c:pt idx="21">
                  <c:v>100.0</c:v>
                </c:pt>
                <c:pt idx="22">
                  <c:v>97.15720787594884</c:v>
                </c:pt>
                <c:pt idx="23">
                  <c:v>94.13919248890558</c:v>
                </c:pt>
                <c:pt idx="24">
                  <c:v>91.26043865251255</c:v>
                </c:pt>
                <c:pt idx="25">
                  <c:v>88.51404262664411</c:v>
                </c:pt>
                <c:pt idx="26">
                  <c:v>85.89327410460517</c:v>
                </c:pt>
                <c:pt idx="27">
                  <c:v>83.39160370865261</c:v>
                </c:pt>
                <c:pt idx="28">
                  <c:v>81.00272561437549</c:v>
                </c:pt>
                <c:pt idx="29">
                  <c:v>78.72057533002852</c:v>
                </c:pt>
                <c:pt idx="30">
                  <c:v>76.53934281909865</c:v>
                </c:pt>
                <c:pt idx="31">
                  <c:v>74.45348127658474</c:v>
                </c:pt>
                <c:pt idx="32">
                  <c:v>72.45771195439416</c:v>
                </c:pt>
                <c:pt idx="33">
                  <c:v>70.54702548314188</c:v>
                </c:pt>
                <c:pt idx="34">
                  <c:v>68.71668016156796</c:v>
                </c:pt>
                <c:pt idx="35">
                  <c:v>66.96219768612792</c:v>
                </c:pt>
                <c:pt idx="36">
                  <c:v>65.27935677728009</c:v>
                </c:pt>
                <c:pt idx="37">
                  <c:v>63.664185130387274</c:v>
                </c:pt>
                <c:pt idx="38">
                  <c:v>62.11295008214478</c:v>
                </c:pt>
                <c:pt idx="39">
                  <c:v>60.62214834160137</c:v>
                </c:pt>
                <c:pt idx="40">
                  <c:v>59.18849509095463</c:v>
                </c:pt>
                <c:pt idx="41">
                  <c:v>57.808912717619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C$2:$C$43</c:f>
              <c:numCache>
                <c:formatCode>General</c:formatCode>
                <c:ptCount val="42"/>
                <c:pt idx="0">
                  <c:v>140.63655442645137</c:v>
                </c:pt>
                <c:pt idx="1">
                  <c:v>139.2854403808376</c:v>
                </c:pt>
                <c:pt idx="2">
                  <c:v>137.9897719637464</c:v>
                </c:pt>
                <c:pt idx="3">
                  <c:v>136.74644966438888</c:v>
                </c:pt>
                <c:pt idx="4">
                  <c:v>133.15190792334474</c:v>
                </c:pt>
                <c:pt idx="5">
                  <c:v>129.52156697999467</c:v>
                </c:pt>
                <c:pt idx="6">
                  <c:v>126.11181392096358</c:v>
                </c:pt>
                <c:pt idx="7">
                  <c:v>122.90329364296156</c:v>
                </c:pt>
                <c:pt idx="8">
                  <c:v>119.87831447085536</c:v>
                </c:pt>
                <c:pt idx="9">
                  <c:v>117.02097949457806</c:v>
                </c:pt>
                <c:pt idx="10">
                  <c:v>114.31715989244688</c:v>
                </c:pt>
                <c:pt idx="11">
                  <c:v>111.75436950122833</c:v>
                </c:pt>
                <c:pt idx="12">
                  <c:v>109.32158921919985</c:v>
                </c:pt>
                <c:pt idx="13">
                  <c:v>107.00907561838618</c:v>
                </c:pt>
                <c:pt idx="14">
                  <c:v>105.9417193642789</c:v>
                </c:pt>
                <c:pt idx="15">
                  <c:v>105.02907989577588</c:v>
                </c:pt>
                <c:pt idx="16">
                  <c:v>104.13968987653435</c:v>
                </c:pt>
                <c:pt idx="17">
                  <c:v>103.27227870895442</c:v>
                </c:pt>
                <c:pt idx="18">
                  <c:v>102.42566387042227</c:v>
                </c:pt>
                <c:pt idx="19">
                  <c:v>101.598746583735</c:v>
                </c:pt>
                <c:pt idx="20">
                  <c:v>100.79050713361414</c:v>
                </c:pt>
                <c:pt idx="21">
                  <c:v>100.0</c:v>
                </c:pt>
                <c:pt idx="22">
                  <c:v>97.97719343863743</c:v>
                </c:pt>
                <c:pt idx="23">
                  <c:v>95.7296371368417</c:v>
                </c:pt>
                <c:pt idx="24">
                  <c:v>93.5741662375644</c:v>
                </c:pt>
                <c:pt idx="25">
                  <c:v>91.5071195839855</c:v>
                </c:pt>
                <c:pt idx="26">
                  <c:v>89.5247912663268</c:v>
                </c:pt>
                <c:pt idx="27">
                  <c:v>87.6234658727775</c:v>
                </c:pt>
                <c:pt idx="28">
                  <c:v>85.79945006303493</c:v>
                </c:pt>
                <c:pt idx="29">
                  <c:v>84.04910020306237</c:v>
                </c:pt>
                <c:pt idx="30">
                  <c:v>82.3688459741948</c:v>
                </c:pt>
                <c:pt idx="31">
                  <c:v>80.75521001363587</c:v>
                </c:pt>
                <c:pt idx="32">
                  <c:v>79.20482375625178</c:v>
                </c:pt>
                <c:pt idx="33">
                  <c:v>77.71443973083821</c:v>
                </c:pt>
                <c:pt idx="34">
                  <c:v>76.28094062053145</c:v>
                </c:pt>
                <c:pt idx="35">
                  <c:v>74.90134543032147</c:v>
                </c:pt>
                <c:pt idx="36">
                  <c:v>73.57281311863132</c:v>
                </c:pt>
                <c:pt idx="37">
                  <c:v>72.29264404857676</c:v>
                </c:pt>
                <c:pt idx="38">
                  <c:v>71.05827960148164</c:v>
                </c:pt>
                <c:pt idx="39">
                  <c:v>69.86730027385664</c:v>
                </c:pt>
                <c:pt idx="40">
                  <c:v>68.71742255216236</c:v>
                </c:pt>
                <c:pt idx="41">
                  <c:v>67.606494829695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D$2:$D$43</c:f>
              <c:numCache>
                <c:formatCode>General</c:formatCode>
                <c:ptCount val="42"/>
                <c:pt idx="0">
                  <c:v>96.27005136885947</c:v>
                </c:pt>
                <c:pt idx="1">
                  <c:v>97.86253826780744</c:v>
                </c:pt>
                <c:pt idx="2">
                  <c:v>99.39632530864885</c:v>
                </c:pt>
                <c:pt idx="3">
                  <c:v>100.87493516319839</c:v>
                </c:pt>
                <c:pt idx="4">
                  <c:v>100.48875313151586</c:v>
                </c:pt>
                <c:pt idx="5">
                  <c:v>99.90908734712883</c:v>
                </c:pt>
                <c:pt idx="6">
                  <c:v>99.34108532605704</c:v>
                </c:pt>
                <c:pt idx="7">
                  <c:v>98.78450550499386</c:v>
                </c:pt>
                <c:pt idx="8">
                  <c:v>98.23866409564755</c:v>
                </c:pt>
                <c:pt idx="9">
                  <c:v>97.70275896900169</c:v>
                </c:pt>
                <c:pt idx="10">
                  <c:v>97.17605917052778</c:v>
                </c:pt>
                <c:pt idx="11">
                  <c:v>96.65799476195394</c:v>
                </c:pt>
                <c:pt idx="12">
                  <c:v>96.14818050502787</c:v>
                </c:pt>
                <c:pt idx="13">
                  <c:v>95.6464004834619</c:v>
                </c:pt>
                <c:pt idx="14">
                  <c:v>96.18656400102856</c:v>
                </c:pt>
                <c:pt idx="15">
                  <c:v>96.81341447159559</c:v>
                </c:pt>
                <c:pt idx="16">
                  <c:v>97.41124442385797</c:v>
                </c:pt>
                <c:pt idx="17">
                  <c:v>97.98110690478333</c:v>
                </c:pt>
                <c:pt idx="18">
                  <c:v>98.52399511787925</c:v>
                </c:pt>
                <c:pt idx="19">
                  <c:v>99.04085005246561</c:v>
                </c:pt>
                <c:pt idx="20">
                  <c:v>99.53256683564182</c:v>
                </c:pt>
                <c:pt idx="21">
                  <c:v>100.0</c:v>
                </c:pt>
                <c:pt idx="22">
                  <c:v>99.17501508131353</c:v>
                </c:pt>
                <c:pt idx="23">
                  <c:v>98.04944773530706</c:v>
                </c:pt>
                <c:pt idx="24">
                  <c:v>96.94645952642124</c:v>
                </c:pt>
                <c:pt idx="25">
                  <c:v>95.86724994466576</c:v>
                </c:pt>
                <c:pt idx="26">
                  <c:v>94.81263640255851</c:v>
                </c:pt>
                <c:pt idx="27">
                  <c:v>93.7831031666286</c:v>
                </c:pt>
                <c:pt idx="28">
                  <c:v>92.77884813585503</c:v>
                </c:pt>
                <c:pt idx="29">
                  <c:v>91.79982678930821</c:v>
                </c:pt>
                <c:pt idx="30">
                  <c:v>90.84579282209779</c:v>
                </c:pt>
                <c:pt idx="31">
                  <c:v>89.91633516758905</c:v>
                </c:pt>
                <c:pt idx="32">
                  <c:v>89.01091125976507</c:v>
                </c:pt>
                <c:pt idx="33">
                  <c:v>88.1288765201145</c:v>
                </c:pt>
                <c:pt idx="34">
                  <c:v>87.2695101581364</c:v>
                </c:pt>
                <c:pt idx="35">
                  <c:v>86.43203745456734</c:v>
                </c:pt>
                <c:pt idx="36">
                  <c:v>85.61564875393101</c:v>
                </c:pt>
                <c:pt idx="37">
                  <c:v>84.819515430745</c:v>
                </c:pt>
                <c:pt idx="38">
                  <c:v>84.04280311474663</c:v>
                </c:pt>
                <c:pt idx="39">
                  <c:v>83.28468246796203</c:v>
                </c:pt>
                <c:pt idx="40">
                  <c:v>82.54433780323652</c:v>
                </c:pt>
                <c:pt idx="41">
                  <c:v>81.82097382271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E$2:$E$43</c:f>
              <c:numCache>
                <c:formatCode>General</c:formatCode>
                <c:ptCount val="42"/>
                <c:pt idx="0">
                  <c:v>0.28047413627387763</c:v>
                </c:pt>
                <c:pt idx="1">
                  <c:v>0.28783125144490135</c:v>
                </c:pt>
                <c:pt idx="2">
                  <c:v>0.29503943715902176</c:v>
                </c:pt>
                <c:pt idx="3">
                  <c:v>0.30210317025362077</c:v>
                </c:pt>
                <c:pt idx="4">
                  <c:v>0.3090267499138032</c:v>
                </c:pt>
                <c:pt idx="5">
                  <c:v>0.3158143063979505</c:v>
                </c:pt>
                <c:pt idx="6">
                  <c:v>0.3224698092540014</c:v>
                </c:pt>
                <c:pt idx="7">
                  <c:v>0.3289970750608032</c:v>
                </c:pt>
                <c:pt idx="8">
                  <c:v>0.33539977472625343</c:v>
                </c:pt>
                <c:pt idx="9">
                  <c:v>0.3416814403715629</c:v>
                </c:pt>
                <c:pt idx="10">
                  <c:v>0.3478454718287581</c:v>
                </c:pt>
                <c:pt idx="11">
                  <c:v>0.3538951427765432</c:v>
                </c:pt>
                <c:pt idx="12">
                  <c:v>0.3598336065377882</c:v>
                </c:pt>
                <c:pt idx="13">
                  <c:v>0.3656639015602128</c:v>
                </c:pt>
                <c:pt idx="14">
                  <c:v>0.371388956600283</c:v>
                </c:pt>
                <c:pt idx="15">
                  <c:v>0.3770115956289031</c:v>
                </c:pt>
                <c:pt idx="16">
                  <c:v>0.38253454247616453</c:v>
                </c:pt>
                <c:pt idx="17">
                  <c:v>0.38796042523120694</c:v>
                </c:pt>
                <c:pt idx="18">
                  <c:v>0.39329178041211993</c:v>
                </c:pt>
                <c:pt idx="19">
                  <c:v>0.3985310569197871</c:v>
                </c:pt>
                <c:pt idx="20">
                  <c:v>0.40368061978862474</c:v>
                </c:pt>
                <c:pt idx="21">
                  <c:v>0.40874275374627644</c:v>
                </c:pt>
                <c:pt idx="22">
                  <c:v>0.41371966659353</c:v>
                </c:pt>
                <c:pt idx="23">
                  <c:v>0.4186134924149529</c:v>
                </c:pt>
                <c:pt idx="24">
                  <c:v>0.4234262946300609</c:v>
                </c:pt>
                <c:pt idx="25">
                  <c:v>0.4281600688941819</c:v>
                </c:pt>
                <c:pt idx="26">
                  <c:v>0.43281674585758423</c:v>
                </c:pt>
                <c:pt idx="27">
                  <c:v>0.4373981937908834</c:v>
                </c:pt>
                <c:pt idx="28">
                  <c:v>0.44190622108422567</c:v>
                </c:pt>
                <c:pt idx="29">
                  <c:v>0.4463425786272762</c:v>
                </c:pt>
                <c:pt idx="30">
                  <c:v>0.45070896207658795</c:v>
                </c:pt>
                <c:pt idx="31">
                  <c:v>0.4550070140165208</c:v>
                </c:pt>
                <c:pt idx="32">
                  <c:v>0.45923832601949816</c:v>
                </c:pt>
                <c:pt idx="33">
                  <c:v>0.4634044406110275</c:v>
                </c:pt>
                <c:pt idx="34">
                  <c:v>0.46750685314458235</c:v>
                </c:pt>
                <c:pt idx="35">
                  <c:v>0.4715470135911332</c:v>
                </c:pt>
                <c:pt idx="36">
                  <c:v>0.4755263282478266</c:v>
                </c:pt>
                <c:pt idx="37">
                  <c:v>0.4794461613700402</c:v>
                </c:pt>
                <c:pt idx="38">
                  <c:v>0.48330783673079647</c:v>
                </c:pt>
                <c:pt idx="39">
                  <c:v>0.4871126391112766</c:v>
                </c:pt>
                <c:pt idx="40">
                  <c:v>0.49086181572596027</c:v>
                </c:pt>
                <c:pt idx="41">
                  <c:v>0.494556577585713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B$2:$B$121</c:f>
              <c:numCache>
                <c:formatCode>General</c:formatCode>
                <c:ptCount val="120"/>
                <c:pt idx="0">
                  <c:v>168.00777859518638</c:v>
                </c:pt>
                <c:pt idx="1">
                  <c:v>166.81990904204122</c:v>
                </c:pt>
                <c:pt idx="2">
                  <c:v>165.64663679098277</c:v>
                </c:pt>
                <c:pt idx="3">
                  <c:v>164.4877172108866</c:v>
                </c:pt>
                <c:pt idx="4">
                  <c:v>163.3429105276147</c:v>
                </c:pt>
                <c:pt idx="5">
                  <c:v>162.21198171660453</c:v>
                </c:pt>
                <c:pt idx="6">
                  <c:v>161.09470039798126</c:v>
                </c:pt>
                <c:pt idx="7">
                  <c:v>159.9908407341621</c:v>
                </c:pt>
                <c:pt idx="8">
                  <c:v>158.90018132987424</c:v>
                </c:pt>
                <c:pt idx="9">
                  <c:v>157.8225051345322</c:v>
                </c:pt>
                <c:pt idx="10">
                  <c:v>156.7575993469273</c:v>
                </c:pt>
                <c:pt idx="11">
                  <c:v>155.70525532216112</c:v>
                </c:pt>
                <c:pt idx="12">
                  <c:v>154.66526848077874</c:v>
                </c:pt>
                <c:pt idx="13">
                  <c:v>153.63743822004432</c:v>
                </c:pt>
                <c:pt idx="14">
                  <c:v>152.62156782730708</c:v>
                </c:pt>
                <c:pt idx="15">
                  <c:v>151.61746439540678</c:v>
                </c:pt>
                <c:pt idx="16">
                  <c:v>150.6249387400721</c:v>
                </c:pt>
                <c:pt idx="17">
                  <c:v>149.64380531926</c:v>
                </c:pt>
                <c:pt idx="18">
                  <c:v>148.67388215438606</c:v>
                </c:pt>
                <c:pt idx="19">
                  <c:v>147.71499075340867</c:v>
                </c:pt>
                <c:pt idx="20">
                  <c:v>145.79945491674204</c:v>
                </c:pt>
                <c:pt idx="21">
                  <c:v>143.67736296683495</c:v>
                </c:pt>
                <c:pt idx="22">
                  <c:v>141.5926054536467</c:v>
                </c:pt>
                <c:pt idx="23">
                  <c:v>139.54443610357873</c:v>
                </c:pt>
                <c:pt idx="24">
                  <c:v>137.53212402786167</c:v>
                </c:pt>
                <c:pt idx="25">
                  <c:v>135.55495335687084</c:v>
                </c:pt>
                <c:pt idx="26">
                  <c:v>133.61222288509364</c:v>
                </c:pt>
                <c:pt idx="27">
                  <c:v>131.70324572736484</c:v>
                </c:pt>
                <c:pt idx="28">
                  <c:v>129.8273489867564</c:v>
                </c:pt>
                <c:pt idx="29">
                  <c:v>127.98387343435245</c:v>
                </c:pt>
                <c:pt idx="30">
                  <c:v>126.17217320094088</c:v>
                </c:pt>
                <c:pt idx="31">
                  <c:v>124.3916154805508</c:v>
                </c:pt>
                <c:pt idx="32">
                  <c:v>122.64158024562222</c:v>
                </c:pt>
                <c:pt idx="33">
                  <c:v>120.9214599735128</c:v>
                </c:pt>
                <c:pt idx="34">
                  <c:v>119.23065938397177</c:v>
                </c:pt>
                <c:pt idx="35">
                  <c:v>117.56859518712682</c:v>
                </c:pt>
                <c:pt idx="36">
                  <c:v>115.93469584151546</c:v>
                </c:pt>
                <c:pt idx="37">
                  <c:v>114.32840132162545</c:v>
                </c:pt>
                <c:pt idx="38">
                  <c:v>112.74916289440952</c:v>
                </c:pt>
                <c:pt idx="39">
                  <c:v>111.19644290421276</c:v>
                </c:pt>
                <c:pt idx="40">
                  <c:v>110.36139618963057</c:v>
                </c:pt>
                <c:pt idx="41">
                  <c:v>109.70724550435156</c:v>
                </c:pt>
                <c:pt idx="42">
                  <c:v>109.05902298288277</c:v>
                </c:pt>
                <c:pt idx="43">
                  <c:v>108.41665589009786</c:v>
                </c:pt>
                <c:pt idx="44">
                  <c:v>107.7800725381045</c:v>
                </c:pt>
                <c:pt idx="45">
                  <c:v>107.14920227001899</c:v>
                </c:pt>
                <c:pt idx="46">
                  <c:v>106.5239754439897</c:v>
                </c:pt>
                <c:pt idx="47">
                  <c:v>105.9043234174736</c:v>
                </c:pt>
                <c:pt idx="48">
                  <c:v>105.29017853175908</c:v>
                </c:pt>
                <c:pt idx="49">
                  <c:v>104.68147409672683</c:v>
                </c:pt>
                <c:pt idx="50">
                  <c:v>104.07814437585532</c:v>
                </c:pt>
                <c:pt idx="51">
                  <c:v>103.48012457145765</c:v>
                </c:pt>
                <c:pt idx="52">
                  <c:v>102.88735081015218</c:v>
                </c:pt>
                <c:pt idx="53">
                  <c:v>102.29976012856295</c:v>
                </c:pt>
                <c:pt idx="54">
                  <c:v>101.7172904592436</c:v>
                </c:pt>
                <c:pt idx="55">
                  <c:v>101.13988061682433</c:v>
                </c:pt>
                <c:pt idx="56">
                  <c:v>100.56747028437738</c:v>
                </c:pt>
                <c:pt idx="57">
                  <c:v>100.0</c:v>
                </c:pt>
                <c:pt idx="58">
                  <c:v>99.43741114360563</c:v>
                </c:pt>
                <c:pt idx="59">
                  <c:v>98.8796459239299</c:v>
                </c:pt>
                <c:pt idx="60">
                  <c:v>98.40326999810097</c:v>
                </c:pt>
                <c:pt idx="61">
                  <c:v>97.94957557731455</c:v>
                </c:pt>
                <c:pt idx="62">
                  <c:v>97.49924096547846</c:v>
                </c:pt>
                <c:pt idx="63">
                  <c:v>97.05223366009615</c:v>
                </c:pt>
                <c:pt idx="64">
                  <c:v>96.60852154399092</c:v>
                </c:pt>
                <c:pt idx="65">
                  <c:v>96.16807287965875</c:v>
                </c:pt>
                <c:pt idx="66">
                  <c:v>95.73085630372287</c:v>
                </c:pt>
                <c:pt idx="67">
                  <c:v>95.29684082148246</c:v>
                </c:pt>
                <c:pt idx="68">
                  <c:v>94.86599580156148</c:v>
                </c:pt>
                <c:pt idx="69">
                  <c:v>94.4382909706483</c:v>
                </c:pt>
                <c:pt idx="70">
                  <c:v>94.0136964083283</c:v>
                </c:pt>
                <c:pt idx="71">
                  <c:v>93.59218254200675</c:v>
                </c:pt>
                <c:pt idx="72">
                  <c:v>93.17372014192115</c:v>
                </c:pt>
                <c:pt idx="73">
                  <c:v>92.75828031623678</c:v>
                </c:pt>
                <c:pt idx="74">
                  <c:v>92.3458345062332</c:v>
                </c:pt>
                <c:pt idx="75">
                  <c:v>91.93635448156745</c:v>
                </c:pt>
                <c:pt idx="76">
                  <c:v>91.52981233562384</c:v>
                </c:pt>
                <c:pt idx="77">
                  <c:v>91.12618048094173</c:v>
                </c:pt>
                <c:pt idx="78">
                  <c:v>90.7254316447222</c:v>
                </c:pt>
                <c:pt idx="79">
                  <c:v>90.32753886441147</c:v>
                </c:pt>
                <c:pt idx="80">
                  <c:v>89.93247548336069</c:v>
                </c:pt>
                <c:pt idx="81">
                  <c:v>89.54021514655786</c:v>
                </c:pt>
                <c:pt idx="82">
                  <c:v>89.15073179643501</c:v>
                </c:pt>
                <c:pt idx="83">
                  <c:v>88.7639996687445</c:v>
                </c:pt>
                <c:pt idx="84">
                  <c:v>88.37999328850495</c:v>
                </c:pt>
                <c:pt idx="85">
                  <c:v>87.99868746601743</c:v>
                </c:pt>
                <c:pt idx="86">
                  <c:v>87.62005729294702</c:v>
                </c:pt>
                <c:pt idx="87">
                  <c:v>87.2440781384706</c:v>
                </c:pt>
                <c:pt idx="88">
                  <c:v>86.87072564549003</c:v>
                </c:pt>
                <c:pt idx="89">
                  <c:v>86.49997572690634</c:v>
                </c:pt>
                <c:pt idx="90">
                  <c:v>86.1318045619597</c:v>
                </c:pt>
                <c:pt idx="91">
                  <c:v>85.76618859262591</c:v>
                </c:pt>
                <c:pt idx="92">
                  <c:v>85.4031045200758</c:v>
                </c:pt>
                <c:pt idx="93">
                  <c:v>85.04252930119172</c:v>
                </c:pt>
                <c:pt idx="94">
                  <c:v>84.68444014514178</c:v>
                </c:pt>
                <c:pt idx="95">
                  <c:v>84.3288145100112</c:v>
                </c:pt>
                <c:pt idx="96">
                  <c:v>83.97563009948567</c:v>
                </c:pt>
                <c:pt idx="97">
                  <c:v>83.62486485959384</c:v>
                </c:pt>
                <c:pt idx="98">
                  <c:v>83.27649697549987</c:v>
                </c:pt>
                <c:pt idx="99">
                  <c:v>82.93050486834684</c:v>
                </c:pt>
                <c:pt idx="100">
                  <c:v>82.04050167265848</c:v>
                </c:pt>
                <c:pt idx="101">
                  <c:v>81.03013277980763</c:v>
                </c:pt>
                <c:pt idx="102">
                  <c:v>80.03711848327478</c:v>
                </c:pt>
                <c:pt idx="103">
                  <c:v>79.06102961135196</c:v>
                </c:pt>
                <c:pt idx="104">
                  <c:v>78.10145083012969</c:v>
                </c:pt>
                <c:pt idx="105">
                  <c:v>77.15798013373558</c:v>
                </c:pt>
                <c:pt idx="106">
                  <c:v>76.23022835346565</c:v>
                </c:pt>
                <c:pt idx="107">
                  <c:v>75.31781868528007</c:v>
                </c:pt>
                <c:pt idx="108">
                  <c:v>74.42038623512002</c:v>
                </c:pt>
                <c:pt idx="109">
                  <c:v>73.53757758149847</c:v>
                </c:pt>
                <c:pt idx="110">
                  <c:v>72.66905035481082</c:v>
                </c:pt>
                <c:pt idx="111">
                  <c:v>71.81447283282083</c:v>
                </c:pt>
                <c:pt idx="112">
                  <c:v>70.97352355177419</c:v>
                </c:pt>
                <c:pt idx="113">
                  <c:v>70.14589093259535</c:v>
                </c:pt>
                <c:pt idx="114">
                  <c:v>69.33127292163903</c:v>
                </c:pt>
                <c:pt idx="115">
                  <c:v>68.52937664546945</c:v>
                </c:pt>
                <c:pt idx="116">
                  <c:v>67.73991807914837</c:v>
                </c:pt>
                <c:pt idx="117">
                  <c:v>66.96262172753487</c:v>
                </c:pt>
                <c:pt idx="118">
                  <c:v>66.19722031909755</c:v>
                </c:pt>
                <c:pt idx="119">
                  <c:v>65.443454511764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C$2:$C$121</c:f>
              <c:numCache>
                <c:formatCode>General</c:formatCode>
                <c:ptCount val="120"/>
                <c:pt idx="0">
                  <c:v>130.64812816726692</c:v>
                </c:pt>
                <c:pt idx="1">
                  <c:v>130.37461687263445</c:v>
                </c:pt>
                <c:pt idx="2">
                  <c:v>130.10331976382244</c:v>
                </c:pt>
                <c:pt idx="3">
                  <c:v>129.83421411257785</c:v>
                </c:pt>
                <c:pt idx="4">
                  <c:v>129.5672772400283</c:v>
                </c:pt>
                <c:pt idx="5">
                  <c:v>129.3024865253683</c:v>
                </c:pt>
                <c:pt idx="6">
                  <c:v>129.0398194140696</c:v>
                </c:pt>
                <c:pt idx="7">
                  <c:v>128.7792534256518</c:v>
                </c:pt>
                <c:pt idx="8">
                  <c:v>128.52076616102264</c:v>
                </c:pt>
                <c:pt idx="9">
                  <c:v>128.26433530940778</c:v>
                </c:pt>
                <c:pt idx="10">
                  <c:v>128.00993865489437</c:v>
                </c:pt>
                <c:pt idx="11">
                  <c:v>127.75755408259701</c:v>
                </c:pt>
                <c:pt idx="12">
                  <c:v>127.50715958447087</c:v>
                </c:pt>
                <c:pt idx="13">
                  <c:v>127.25873326478079</c:v>
                </c:pt>
                <c:pt idx="14">
                  <c:v>127.01225334524582</c:v>
                </c:pt>
                <c:pt idx="15">
                  <c:v>126.76769816987101</c:v>
                </c:pt>
                <c:pt idx="16">
                  <c:v>126.52504620948206</c:v>
                </c:pt>
                <c:pt idx="17">
                  <c:v>126.28427606597438</c:v>
                </c:pt>
                <c:pt idx="18">
                  <c:v>126.0453664762877</c:v>
                </c:pt>
                <c:pt idx="19">
                  <c:v>125.80829631612337</c:v>
                </c:pt>
                <c:pt idx="20">
                  <c:v>124.74567918153842</c:v>
                </c:pt>
                <c:pt idx="21">
                  <c:v>123.49071208411999</c:v>
                </c:pt>
                <c:pt idx="22">
                  <c:v>122.2514459193574</c:v>
                </c:pt>
                <c:pt idx="23">
                  <c:v>121.02766871377028</c:v>
                </c:pt>
                <c:pt idx="24">
                  <c:v>119.81917033459533</c:v>
                </c:pt>
                <c:pt idx="25">
                  <c:v>118.62574246627722</c:v>
                </c:pt>
                <c:pt idx="26">
                  <c:v>117.44717858790783</c:v>
                </c:pt>
                <c:pt idx="27">
                  <c:v>116.28327395244231</c:v>
                </c:pt>
                <c:pt idx="28">
                  <c:v>115.133825568337</c:v>
                </c:pt>
                <c:pt idx="29">
                  <c:v>113.99863218412672</c:v>
                </c:pt>
                <c:pt idx="30">
                  <c:v>112.87749427628768</c:v>
                </c:pt>
                <c:pt idx="31">
                  <c:v>111.77021404064426</c:v>
                </c:pt>
                <c:pt idx="32">
                  <c:v>110.67659538744424</c:v>
                </c:pt>
                <c:pt idx="33">
                  <c:v>109.59644394014987</c:v>
                </c:pt>
                <c:pt idx="34">
                  <c:v>108.52956703790983</c:v>
                </c:pt>
                <c:pt idx="35">
                  <c:v>107.47577374159853</c:v>
                </c:pt>
                <c:pt idx="36">
                  <c:v>106.43487484326744</c:v>
                </c:pt>
                <c:pt idx="37">
                  <c:v>105.40668287879514</c:v>
                </c:pt>
                <c:pt idx="38">
                  <c:v>104.39101214348969</c:v>
                </c:pt>
                <c:pt idx="39">
                  <c:v>103.38767871036663</c:v>
                </c:pt>
                <c:pt idx="40">
                  <c:v>103.04189990078719</c:v>
                </c:pt>
                <c:pt idx="41">
                  <c:v>102.85911169992758</c:v>
                </c:pt>
                <c:pt idx="42">
                  <c:v>102.67680465463896</c:v>
                </c:pt>
                <c:pt idx="43">
                  <c:v>102.4949793016443</c:v>
                </c:pt>
                <c:pt idx="44">
                  <c:v>102.31363603838317</c:v>
                </c:pt>
                <c:pt idx="45">
                  <c:v>102.13277512794437</c:v>
                </c:pt>
                <c:pt idx="46">
                  <c:v>101.95239670385638</c:v>
                </c:pt>
                <c:pt idx="47">
                  <c:v>101.7725007747486</c:v>
                </c:pt>
                <c:pt idx="48">
                  <c:v>101.5930872288816</c:v>
                </c:pt>
                <c:pt idx="49">
                  <c:v>101.41415583854645</c:v>
                </c:pt>
                <c:pt idx="50">
                  <c:v>101.23570626434567</c:v>
                </c:pt>
                <c:pt idx="51">
                  <c:v>101.05773805934956</c:v>
                </c:pt>
                <c:pt idx="52">
                  <c:v>100.88025067313622</c:v>
                </c:pt>
                <c:pt idx="53">
                  <c:v>100.70324345571822</c:v>
                </c:pt>
                <c:pt idx="54">
                  <c:v>100.52671566135598</c:v>
                </c:pt>
                <c:pt idx="55">
                  <c:v>100.3506664522631</c:v>
                </c:pt>
                <c:pt idx="56">
                  <c:v>100.17509490220564</c:v>
                </c:pt>
                <c:pt idx="57">
                  <c:v>100.0</c:v>
                </c:pt>
                <c:pt idx="58">
                  <c:v>99.82538065290615</c:v>
                </c:pt>
                <c:pt idx="59">
                  <c:v>99.65123568992873</c:v>
                </c:pt>
                <c:pt idx="60">
                  <c:v>99.55504087913803</c:v>
                </c:pt>
                <c:pt idx="61">
                  <c:v>99.47815565852197</c:v>
                </c:pt>
                <c:pt idx="62">
                  <c:v>99.40115736783683</c:v>
                </c:pt>
                <c:pt idx="63">
                  <c:v>99.32405204583242</c:v>
                </c:pt>
                <c:pt idx="64">
                  <c:v>99.24684562000732</c:v>
                </c:pt>
                <c:pt idx="65">
                  <c:v>99.16954390830674</c:v>
                </c:pt>
                <c:pt idx="66">
                  <c:v>99.09215262079186</c:v>
                </c:pt>
                <c:pt idx="67">
                  <c:v>99.01467736127827</c:v>
                </c:pt>
                <c:pt idx="68">
                  <c:v>98.93712362894973</c:v>
                </c:pt>
                <c:pt idx="69">
                  <c:v>98.85949681994283</c:v>
                </c:pt>
                <c:pt idx="70">
                  <c:v>98.78180222890506</c:v>
                </c:pt>
                <c:pt idx="71">
                  <c:v>98.70404505052714</c:v>
                </c:pt>
                <c:pt idx="72">
                  <c:v>98.62623038105113</c:v>
                </c:pt>
                <c:pt idx="73">
                  <c:v>98.54836321975048</c:v>
                </c:pt>
                <c:pt idx="74">
                  <c:v>98.47044847039092</c:v>
                </c:pt>
                <c:pt idx="75">
                  <c:v>98.39249094266145</c:v>
                </c:pt>
                <c:pt idx="76">
                  <c:v>98.31449535358774</c:v>
                </c:pt>
                <c:pt idx="77">
                  <c:v>98.23646632891915</c:v>
                </c:pt>
                <c:pt idx="78">
                  <c:v>98.15840840449532</c:v>
                </c:pt>
                <c:pt idx="79">
                  <c:v>98.08032602759012</c:v>
                </c:pt>
                <c:pt idx="80">
                  <c:v>98.00222355823509</c:v>
                </c:pt>
                <c:pt idx="81">
                  <c:v>97.92410527052098</c:v>
                </c:pt>
                <c:pt idx="82">
                  <c:v>97.84597535388082</c:v>
                </c:pt>
                <c:pt idx="83">
                  <c:v>97.76783791435112</c:v>
                </c:pt>
                <c:pt idx="84">
                  <c:v>97.68969697581404</c:v>
                </c:pt>
                <c:pt idx="85">
                  <c:v>97.61155648122167</c:v>
                </c:pt>
                <c:pt idx="86">
                  <c:v>97.53342029379995</c:v>
                </c:pt>
                <c:pt idx="87">
                  <c:v>97.45529219823503</c:v>
                </c:pt>
                <c:pt idx="88">
                  <c:v>97.37717590184253</c:v>
                </c:pt>
                <c:pt idx="89">
                  <c:v>97.29907503571617</c:v>
                </c:pt>
                <c:pt idx="90">
                  <c:v>97.22099315586443</c:v>
                </c:pt>
                <c:pt idx="91">
                  <c:v>97.142933744324</c:v>
                </c:pt>
                <c:pt idx="92">
                  <c:v>97.06490021026204</c:v>
                </c:pt>
                <c:pt idx="93">
                  <c:v>96.98689589105875</c:v>
                </c:pt>
                <c:pt idx="94">
                  <c:v>96.90892405337621</c:v>
                </c:pt>
                <c:pt idx="95">
                  <c:v>96.83098789421074</c:v>
                </c:pt>
                <c:pt idx="96">
                  <c:v>96.75309054192779</c:v>
                </c:pt>
                <c:pt idx="97">
                  <c:v>96.67523505728678</c:v>
                </c:pt>
                <c:pt idx="98">
                  <c:v>96.5974244344472</c:v>
                </c:pt>
                <c:pt idx="99">
                  <c:v>96.5196616019601</c:v>
                </c:pt>
                <c:pt idx="100">
                  <c:v>95.80452773804528</c:v>
                </c:pt>
                <c:pt idx="101">
                  <c:v>94.9415576428442</c:v>
                </c:pt>
                <c:pt idx="102">
                  <c:v>94.09108948194928</c:v>
                </c:pt>
                <c:pt idx="103">
                  <c:v>93.25282052773865</c:v>
                </c:pt>
                <c:pt idx="104">
                  <c:v>92.42645772045152</c:v>
                </c:pt>
                <c:pt idx="105">
                  <c:v>91.61171733319364</c:v>
                </c:pt>
                <c:pt idx="106">
                  <c:v>90.80832464751157</c:v>
                </c:pt>
                <c:pt idx="107">
                  <c:v>90.01601363941803</c:v>
                </c:pt>
                <c:pt idx="108">
                  <c:v>89.23452667571905</c:v>
                </c:pt>
                <c:pt idx="109">
                  <c:v>88.46361422046975</c:v>
                </c:pt>
                <c:pt idx="110">
                  <c:v>87.70303455136322</c:v>
                </c:pt>
                <c:pt idx="111">
                  <c:v>86.95255348584719</c:v>
                </c:pt>
                <c:pt idx="112">
                  <c:v>86.21194411674713</c:v>
                </c:pt>
                <c:pt idx="113">
                  <c:v>85.48098655715755</c:v>
                </c:pt>
                <c:pt idx="114">
                  <c:v>84.75946769436807</c:v>
                </c:pt>
                <c:pt idx="115">
                  <c:v>84.04718095257397</c:v>
                </c:pt>
                <c:pt idx="116">
                  <c:v>83.3439260641189</c:v>
                </c:pt>
                <c:pt idx="117">
                  <c:v>82.64950884902171</c:v>
                </c:pt>
                <c:pt idx="118">
                  <c:v>81.96374100252719</c:v>
                </c:pt>
                <c:pt idx="119">
                  <c:v>81.286439890432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D$2:$D$121</c:f>
              <c:numCache>
                <c:formatCode>General</c:formatCode>
                <c:ptCount val="120"/>
                <c:pt idx="0">
                  <c:v>68.47358222027671</c:v>
                </c:pt>
                <c:pt idx="1">
                  <c:v>69.72331942966798</c:v>
                </c:pt>
                <c:pt idx="2">
                  <c:v>70.95461678314572</c:v>
                </c:pt>
                <c:pt idx="3">
                  <c:v>72.16782210826102</c:v>
                </c:pt>
                <c:pt idx="4">
                  <c:v>73.36327524357542</c:v>
                </c:pt>
                <c:pt idx="5">
                  <c:v>74.54130824170981</c:v>
                </c:pt>
                <c:pt idx="6">
                  <c:v>75.70224556688333</c:v>
                </c:pt>
                <c:pt idx="7">
                  <c:v>76.84640428710674</c:v>
                </c:pt>
                <c:pt idx="8">
                  <c:v>77.97409426117518</c:v>
                </c:pt>
                <c:pt idx="9">
                  <c:v>79.08561832060826</c:v>
                </c:pt>
                <c:pt idx="10">
                  <c:v>80.18127244668408</c:v>
                </c:pt>
                <c:pt idx="11">
                  <c:v>81.26134594270175</c:v>
                </c:pt>
                <c:pt idx="12">
                  <c:v>82.32612160161041</c:v>
                </c:pt>
                <c:pt idx="13">
                  <c:v>83.37587586913406</c:v>
                </c:pt>
                <c:pt idx="14">
                  <c:v>84.41087900251983</c:v>
                </c:pt>
                <c:pt idx="15">
                  <c:v>85.43139522503263</c:v>
                </c:pt>
                <c:pt idx="16">
                  <c:v>86.43768287631846</c:v>
                </c:pt>
                <c:pt idx="17">
                  <c:v>87.4299945587492</c:v>
                </c:pt>
                <c:pt idx="18">
                  <c:v>88.40857727986369</c:v>
                </c:pt>
                <c:pt idx="19">
                  <c:v>89.37367259101651</c:v>
                </c:pt>
                <c:pt idx="20">
                  <c:v>89.7300827032586</c:v>
                </c:pt>
                <c:pt idx="21">
                  <c:v>89.91740527259088</c:v>
                </c:pt>
                <c:pt idx="22">
                  <c:v>90.08436828179236</c:v>
                </c:pt>
                <c:pt idx="23">
                  <c:v>90.23165330163039</c:v>
                </c:pt>
                <c:pt idx="24">
                  <c:v>90.35992098482745</c:v>
                </c:pt>
                <c:pt idx="25">
                  <c:v>90.46981162152457</c:v>
                </c:pt>
                <c:pt idx="26">
                  <c:v>90.56194567915993</c:v>
                </c:pt>
                <c:pt idx="27">
                  <c:v>90.6369243279613</c:v>
                </c:pt>
                <c:pt idx="28">
                  <c:v>90.69532995314296</c:v>
                </c:pt>
                <c:pt idx="29">
                  <c:v>90.73772665481698</c:v>
                </c:pt>
                <c:pt idx="30">
                  <c:v>90.76466073650786</c:v>
                </c:pt>
                <c:pt idx="31">
                  <c:v>90.77666118308501</c:v>
                </c:pt>
                <c:pt idx="32">
                  <c:v>90.77424012881605</c:v>
                </c:pt>
                <c:pt idx="33">
                  <c:v>90.75789331616896</c:v>
                </c:pt>
                <c:pt idx="34">
                  <c:v>90.72810054590053</c:v>
                </c:pt>
                <c:pt idx="35">
                  <c:v>90.68532611888638</c:v>
                </c:pt>
                <c:pt idx="36">
                  <c:v>90.63001927008318</c:v>
                </c:pt>
                <c:pt idx="37">
                  <c:v>90.56261459493655</c:v>
                </c:pt>
                <c:pt idx="38">
                  <c:v>90.48353246849304</c:v>
                </c:pt>
                <c:pt idx="39">
                  <c:v>90.39317945741352</c:v>
                </c:pt>
                <c:pt idx="40">
                  <c:v>90.86141571036788</c:v>
                </c:pt>
                <c:pt idx="41">
                  <c:v>91.46310690789414</c:v>
                </c:pt>
                <c:pt idx="42">
                  <c:v>92.05620401443018</c:v>
                </c:pt>
                <c:pt idx="43">
                  <c:v>92.64082972438852</c:v>
                </c:pt>
                <c:pt idx="44">
                  <c:v>93.2171046139826</c:v>
                </c:pt>
                <c:pt idx="45">
                  <c:v>93.78514718144791</c:v>
                </c:pt>
                <c:pt idx="46">
                  <c:v>94.3450738864716</c:v>
                </c:pt>
                <c:pt idx="47">
                  <c:v>94.89699918885304</c:v>
                </c:pt>
                <c:pt idx="48">
                  <c:v>95.44103558640627</c:v>
                </c:pt>
                <c:pt idx="49">
                  <c:v>95.97729365211623</c:v>
                </c:pt>
                <c:pt idx="50">
                  <c:v>96.50588207057127</c:v>
                </c:pt>
                <c:pt idx="51">
                  <c:v>97.0269076736772</c:v>
                </c:pt>
                <c:pt idx="52">
                  <c:v>97.54047547567315</c:v>
                </c:pt>
                <c:pt idx="53">
                  <c:v>98.04668870746019</c:v>
                </c:pt>
                <c:pt idx="54">
                  <c:v>98.54564885025631</c:v>
                </c:pt>
                <c:pt idx="55">
                  <c:v>99.03745566859085</c:v>
                </c:pt>
                <c:pt idx="56">
                  <c:v>99.52220724265186</c:v>
                </c:pt>
                <c:pt idx="57">
                  <c:v>100.0</c:v>
                </c:pt>
                <c:pt idx="58">
                  <c:v>100.47092874665726</c:v>
                </c:pt>
                <c:pt idx="59">
                  <c:v>100.93508669759012</c:v>
                </c:pt>
                <c:pt idx="60">
                  <c:v>101.47157730531757</c:v>
                </c:pt>
                <c:pt idx="61">
                  <c:v>102.0217898236967</c:v>
                </c:pt>
                <c:pt idx="62">
                  <c:v>102.56610567279003</c:v>
                </c:pt>
                <c:pt idx="63">
                  <c:v>103.10459508521386</c:v>
                </c:pt>
                <c:pt idx="64">
                  <c:v>103.63732735566036</c:v>
                </c:pt>
                <c:pt idx="65">
                  <c:v>104.16437085480526</c:v>
                </c:pt>
                <c:pt idx="66">
                  <c:v>104.68579304297423</c:v>
                </c:pt>
                <c:pt idx="67">
                  <c:v>105.20166048356828</c:v>
                </c:pt>
                <c:pt idx="68">
                  <c:v>105.71203885625972</c:v>
                </c:pt>
                <c:pt idx="69">
                  <c:v>106.21699296995732</c:v>
                </c:pt>
                <c:pt idx="70">
                  <c:v>106.71658677554876</c:v>
                </c:pt>
                <c:pt idx="71">
                  <c:v>107.21088337842393</c:v>
                </c:pt>
                <c:pt idx="72">
                  <c:v>107.69994505078525</c:v>
                </c:pt>
                <c:pt idx="73">
                  <c:v>108.18383324374446</c:v>
                </c:pt>
                <c:pt idx="74">
                  <c:v>108.66260859921961</c:v>
                </c:pt>
                <c:pt idx="75">
                  <c:v>109.13633096162347</c:v>
                </c:pt>
                <c:pt idx="76">
                  <c:v>109.60505938936076</c:v>
                </c:pt>
                <c:pt idx="77">
                  <c:v>110.06885216612832</c:v>
                </c:pt>
                <c:pt idx="78">
                  <c:v>110.52776681202738</c:v>
                </c:pt>
                <c:pt idx="79">
                  <c:v>110.98186009448942</c:v>
                </c:pt>
                <c:pt idx="80">
                  <c:v>111.4311880390212</c:v>
                </c:pt>
                <c:pt idx="81">
                  <c:v>111.87580593976945</c:v>
                </c:pt>
                <c:pt idx="82">
                  <c:v>112.31576836991441</c:v>
                </c:pt>
                <c:pt idx="83">
                  <c:v>112.75112919188864</c:v>
                </c:pt>
                <c:pt idx="84">
                  <c:v>113.18194156742938</c:v>
                </c:pt>
                <c:pt idx="85">
                  <c:v>113.60825796746776</c:v>
                </c:pt>
                <c:pt idx="86">
                  <c:v>114.03013018185477</c:v>
                </c:pt>
                <c:pt idx="87">
                  <c:v>114.44760932892987</c:v>
                </c:pt>
                <c:pt idx="88">
                  <c:v>114.8607458649364</c:v>
                </c:pt>
                <c:pt idx="89">
                  <c:v>115.26958959328067</c:v>
                </c:pt>
                <c:pt idx="90">
                  <c:v>115.67418967364884</c:v>
                </c:pt>
                <c:pt idx="91">
                  <c:v>116.07459463097038</c:v>
                </c:pt>
                <c:pt idx="92">
                  <c:v>116.4708523642442</c:v>
                </c:pt>
                <c:pt idx="93">
                  <c:v>116.86301015522085</c:v>
                </c:pt>
                <c:pt idx="94">
                  <c:v>117.25111467694876</c:v>
                </c:pt>
                <c:pt idx="95">
                  <c:v>117.63521200218558</c:v>
                </c:pt>
                <c:pt idx="96">
                  <c:v>118.01534761167345</c:v>
                </c:pt>
                <c:pt idx="97">
                  <c:v>118.39156640229021</c:v>
                </c:pt>
                <c:pt idx="98">
                  <c:v>118.76391269506854</c:v>
                </c:pt>
                <c:pt idx="99">
                  <c:v>119.13243024309101</c:v>
                </c:pt>
                <c:pt idx="100">
                  <c:v>118.70661125525102</c:v>
                </c:pt>
                <c:pt idx="101">
                  <c:v>118.08688009719555</c:v>
                </c:pt>
                <c:pt idx="102">
                  <c:v>117.47161768673715</c:v>
                </c:pt>
                <c:pt idx="103">
                  <c:v>116.86073079456902</c:v>
                </c:pt>
                <c:pt idx="104">
                  <c:v>116.2541289463279</c:v>
                </c:pt>
                <c:pt idx="105">
                  <c:v>115.65172437763967</c:v>
                </c:pt>
                <c:pt idx="106">
                  <c:v>115.05343198589301</c:v>
                </c:pt>
                <c:pt idx="107">
                  <c:v>114.45916927930779</c:v>
                </c:pt>
                <c:pt idx="108">
                  <c:v>113.86885632380441</c:v>
                </c:pt>
                <c:pt idx="109">
                  <c:v>113.28241568812972</c:v>
                </c:pt>
                <c:pt idx="110">
                  <c:v>112.6997723876346</c:v>
                </c:pt>
                <c:pt idx="111">
                  <c:v>112.12085382707035</c:v>
                </c:pt>
                <c:pt idx="112">
                  <c:v>111.54558974272</c:v>
                </c:pt>
                <c:pt idx="113">
                  <c:v>110.97391214414047</c:v>
                </c:pt>
                <c:pt idx="114">
                  <c:v>110.4057552557718</c:v>
                </c:pt>
                <c:pt idx="115">
                  <c:v>109.84105545862502</c:v>
                </c:pt>
                <c:pt idx="116">
                  <c:v>109.27975123223636</c:v>
                </c:pt>
                <c:pt idx="117">
                  <c:v>108.72178309705998</c:v>
                </c:pt>
                <c:pt idx="118">
                  <c:v>108.16709355743215</c:v>
                </c:pt>
                <c:pt idx="119">
                  <c:v>107.615627045235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E$2:$E$121</c:f>
              <c:numCache>
                <c:formatCode>General</c:formatCode>
                <c:ptCount val="120"/>
                <c:pt idx="0">
                  <c:v>0.19724645652492434</c:v>
                </c:pt>
                <c:pt idx="1">
                  <c:v>0.20126424202780233</c:v>
                </c:pt>
                <c:pt idx="2">
                  <c:v>0.20524200974678772</c:v>
                </c:pt>
                <c:pt idx="3">
                  <c:v>0.20918035459442486</c:v>
                </c:pt>
                <c:pt idx="4">
                  <c:v>0.2130798597492847</c:v>
                </c:pt>
                <c:pt idx="5">
                  <c:v>0.21694109694384173</c:v>
                </c:pt>
                <c:pt idx="6">
                  <c:v>0.22076462674392072</c:v>
                </c:pt>
                <c:pt idx="7">
                  <c:v>0.2245509988199948</c:v>
                </c:pt>
                <c:pt idx="8">
                  <c:v>0.22830075221061374</c:v>
                </c:pt>
                <c:pt idx="9">
                  <c:v>0.23201441557822403</c:v>
                </c:pt>
                <c:pt idx="10">
                  <c:v>0.23569250745763862</c:v>
                </c:pt>
                <c:pt idx="11">
                  <c:v>0.23933553649740202</c:v>
                </c:pt>
                <c:pt idx="12">
                  <c:v>0.24294400169428335</c:v>
                </c:pt>
                <c:pt idx="13">
                  <c:v>0.24651839262112807</c:v>
                </c:pt>
                <c:pt idx="14">
                  <c:v>0.2500591896482846</c:v>
                </c:pt>
                <c:pt idx="15">
                  <c:v>0.2535668641588164</c:v>
                </c:pt>
                <c:pt idx="16">
                  <c:v>0.25704187875770457</c:v>
                </c:pt>
                <c:pt idx="17">
                  <c:v>0.26048468747523146</c:v>
                </c:pt>
                <c:pt idx="18">
                  <c:v>0.26389573596473687</c:v>
                </c:pt>
                <c:pt idx="19">
                  <c:v>0.2672754616949263</c:v>
                </c:pt>
                <c:pt idx="20">
                  <c:v>0.2706242941369056</c:v>
                </c:pt>
                <c:pt idx="21">
                  <c:v>0.2739426549461098</c:v>
                </c:pt>
                <c:pt idx="22">
                  <c:v>0.2772309581392887</c:v>
                </c:pt>
                <c:pt idx="23">
                  <c:v>0.28048961026670405</c:v>
                </c:pt>
                <c:pt idx="24">
                  <c:v>0.28371901057968996</c:v>
                </c:pt>
                <c:pt idx="25">
                  <c:v>0.28691955119372176</c:v>
                </c:pt>
                <c:pt idx="26">
                  <c:v>0.2900916172471305</c:v>
                </c:pt>
                <c:pt idx="27">
                  <c:v>0.293235587055602</c:v>
                </c:pt>
                <c:pt idx="28">
                  <c:v>0.29635183226258793</c:v>
                </c:pt>
                <c:pt idx="29">
                  <c:v>0.2994407179857548</c:v>
                </c:pt>
                <c:pt idx="30">
                  <c:v>0.30250260295959325</c:v>
                </c:pt>
                <c:pt idx="31">
                  <c:v>0.30553783967430354</c:v>
                </c:pt>
                <c:pt idx="32">
                  <c:v>0.3085467745110699</c:v>
                </c:pt>
                <c:pt idx="33">
                  <c:v>0.311529747873835</c:v>
                </c:pt>
                <c:pt idx="34">
                  <c:v>0.3144870943176759</c:v>
                </c:pt>
                <c:pt idx="35">
                  <c:v>0.31741914267388777</c:v>
                </c:pt>
                <c:pt idx="36">
                  <c:v>0.3203262161718694</c:v>
                </c:pt>
                <c:pt idx="37">
                  <c:v>0.32320863255790894</c:v>
                </c:pt>
                <c:pt idx="38">
                  <c:v>0.32606670421095846</c:v>
                </c:pt>
                <c:pt idx="39">
                  <c:v>0.3289007382554875</c:v>
                </c:pt>
                <c:pt idx="40">
                  <c:v>0.3317110366715032</c:v>
                </c:pt>
                <c:pt idx="41">
                  <c:v>0.3344978964018137</c:v>
                </c:pt>
                <c:pt idx="42">
                  <c:v>0.33726160945662337</c:v>
                </c:pt>
                <c:pt idx="43">
                  <c:v>0.34000246301552906</c:v>
                </c:pt>
                <c:pt idx="44">
                  <c:v>0.3427207395269973</c:v>
                </c:pt>
                <c:pt idx="45">
                  <c:v>0.34541671680539365</c:v>
                </c:pt>
                <c:pt idx="46">
                  <c:v>0.3480906681256329</c:v>
                </c:pt>
                <c:pt idx="47">
                  <c:v>0.3507428623155205</c:v>
                </c:pt>
                <c:pt idx="48">
                  <c:v>0.35337356384584656</c:v>
                </c:pt>
                <c:pt idx="49">
                  <c:v>0.35598303291830075</c:v>
                </c:pt>
                <c:pt idx="50">
                  <c:v>0.3585715255512659</c:v>
                </c:pt>
                <c:pt idx="51">
                  <c:v>0.3611392936635506</c:v>
                </c:pt>
                <c:pt idx="52">
                  <c:v>0.3636865851561203</c:v>
                </c:pt>
                <c:pt idx="53">
                  <c:v>0.36621364399187817</c:v>
                </c:pt>
                <c:pt idx="54">
                  <c:v>0.3687207102735558</c:v>
                </c:pt>
                <c:pt idx="55">
                  <c:v>0.37120802031975936</c:v>
                </c:pt>
                <c:pt idx="56">
                  <c:v>0.3736758067392266</c:v>
                </c:pt>
                <c:pt idx="57">
                  <c:v>0.3761242985033423</c:v>
                </c:pt>
                <c:pt idx="58">
                  <c:v>0.3785537210169586</c:v>
                </c:pt>
                <c:pt idx="59">
                  <c:v>0.3809642961875678</c:v>
                </c:pt>
                <c:pt idx="60">
                  <c:v>0.3833562424928707</c:v>
                </c:pt>
                <c:pt idx="61">
                  <c:v>0.38572977504678574</c:v>
                </c:pt>
                <c:pt idx="62">
                  <c:v>0.3880851056639377</c:v>
                </c:pt>
                <c:pt idx="63">
                  <c:v>0.3904224429226697</c:v>
                </c:pt>
                <c:pt idx="64">
                  <c:v>0.392741992226617</c:v>
                </c:pt>
                <c:pt idx="65">
                  <c:v>0.39504395586487845</c:v>
                </c:pt>
                <c:pt idx="66">
                  <c:v>0.3973285330708267</c:v>
                </c:pt>
                <c:pt idx="67">
                  <c:v>0.39959592007958966</c:v>
                </c:pt>
                <c:pt idx="68">
                  <c:v>0.4018463101842389</c:v>
                </c:pt>
                <c:pt idx="69">
                  <c:v>0.4040798937907205</c:v>
                </c:pt>
                <c:pt idx="70">
                  <c:v>0.4062968584715585</c:v>
                </c:pt>
                <c:pt idx="71">
                  <c:v>0.40849738901836524</c:v>
                </c:pt>
                <c:pt idx="72">
                  <c:v>0.41068166749318663</c:v>
                </c:pt>
                <c:pt idx="73">
                  <c:v>0.41284987327871575</c:v>
                </c:pt>
                <c:pt idx="74">
                  <c:v>0.4150021831274009</c:v>
                </c:pt>
                <c:pt idx="75">
                  <c:v>0.4171387712094774</c:v>
                </c:pt>
                <c:pt idx="76">
                  <c:v>0.4192598091599525</c:v>
                </c:pt>
                <c:pt idx="77">
                  <c:v>0.42136546612456466</c:v>
                </c:pt>
                <c:pt idx="78">
                  <c:v>0.4234559088047505</c:v>
                </c:pt>
                <c:pt idx="79">
                  <c:v>0.42553130150163765</c:v>
                </c:pt>
                <c:pt idx="80">
                  <c:v>0.4275918061590923</c:v>
                </c:pt>
                <c:pt idx="81">
                  <c:v>0.4296375824058432</c:v>
                </c:pt>
                <c:pt idx="82">
                  <c:v>0.43166878759670574</c:v>
                </c:pt>
                <c:pt idx="83">
                  <c:v>0.43368557685292736</c:v>
                </c:pt>
                <c:pt idx="84">
                  <c:v>0.4356881031016794</c:v>
                </c:pt>
                <c:pt idx="85">
                  <c:v>0.43767651711471084</c:v>
                </c:pt>
                <c:pt idx="86">
                  <c:v>0.4396509675461901</c:v>
                </c:pt>
                <c:pt idx="87">
                  <c:v>0.4416116009697513</c:v>
                </c:pt>
                <c:pt idx="88">
                  <c:v>0.4435585619147662</c:v>
                </c:pt>
                <c:pt idx="89">
                  <c:v>0.44549199290185865</c:v>
                </c:pt>
                <c:pt idx="90">
                  <c:v>0.44741203447768335</c:v>
                </c:pt>
                <c:pt idx="91">
                  <c:v>0.44931882524898187</c:v>
                </c:pt>
                <c:pt idx="92">
                  <c:v>0.4512125019159386</c:v>
                </c:pt>
                <c:pt idx="93">
                  <c:v>0.45309319930484904</c:v>
                </c:pt>
                <c:pt idx="94">
                  <c:v>0.4549610504001193</c:v>
                </c:pt>
                <c:pt idx="95">
                  <c:v>0.4568161863756124</c:v>
                </c:pt>
                <c:pt idx="96">
                  <c:v>0.45865873662535583</c:v>
                </c:pt>
                <c:pt idx="97">
                  <c:v>0.46048882879362735</c:v>
                </c:pt>
                <c:pt idx="98">
                  <c:v>0.46230658880443043</c:v>
                </c:pt>
                <c:pt idx="99">
                  <c:v>0.4641121408903793</c:v>
                </c:pt>
                <c:pt idx="100">
                  <c:v>0.46590560762100036</c:v>
                </c:pt>
                <c:pt idx="101">
                  <c:v>0.4676871099304701</c:v>
                </c:pt>
                <c:pt idx="102">
                  <c:v>0.469456767144797</c:v>
                </c:pt>
                <c:pt idx="103">
                  <c:v>0.4712146970084656</c:v>
                </c:pt>
                <c:pt idx="104">
                  <c:v>0.4729610157105513</c:v>
                </c:pt>
                <c:pt idx="105">
                  <c:v>0.4746958379103191</c:v>
                </c:pt>
                <c:pt idx="106">
                  <c:v>0.4764192767623192</c:v>
                </c:pt>
                <c:pt idx="107">
                  <c:v>0.47813144394099066</c:v>
                </c:pt>
                <c:pt idx="108">
                  <c:v>0.47983244966478145</c:v>
                </c:pt>
                <c:pt idx="109">
                  <c:v>0.4815224027198016</c:v>
                </c:pt>
                <c:pt idx="110">
                  <c:v>0.4832014104830148</c:v>
                </c:pt>
                <c:pt idx="111">
                  <c:v>0.4848695789449805</c:v>
                </c:pt>
                <c:pt idx="112">
                  <c:v>0.4865270127321588</c:v>
                </c:pt>
                <c:pt idx="113">
                  <c:v>0.4881738151287843</c:v>
                </c:pt>
                <c:pt idx="114">
                  <c:v>0.48981008809832144</c:v>
                </c:pt>
                <c:pt idx="115">
                  <c:v>0.4914359323045091</c:v>
                </c:pt>
                <c:pt idx="116">
                  <c:v>0.4930514471320042</c:v>
                </c:pt>
                <c:pt idx="117">
                  <c:v>0.49465673070663385</c:v>
                </c:pt>
                <c:pt idx="118">
                  <c:v>0.49625187991526176</c:v>
                </c:pt>
                <c:pt idx="119">
                  <c:v>0.497836990425282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moiselle (3.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Nicolas Feuillatte (4.5%)</c:v>
                </c:pt>
                <c:pt idx="4">
                  <c:v>Canard-Duchêne (3.1%)</c:v>
                </c:pt>
                <c:pt idx="5">
                  <c:v>Ruinart (12.8%)</c:v>
                </c:pt>
                <c:pt idx="6">
                  <c:v>Laurent Perrier (3.9%)</c:v>
                </c:pt>
                <c:pt idx="7">
                  <c:v>Bottega (3.7%)</c:v>
                </c:pt>
                <c:pt idx="8">
                  <c:v>Deutz (4.8%)</c:v>
                </c:pt>
                <c:pt idx="9">
                  <c:v>Carlo V (5.4%)</c:v>
                </c:pt>
              </c:strCache>
            </c:strRef>
          </c:cat>
          <c:val>
            <c:numRef>
              <c:f>Sheet1!$B$2:$B$11</c:f>
              <c:numCache>
                <c:formatCode>General</c:formatCode>
                <c:ptCount val="10"/>
                <c:pt idx="0">
                  <c:v>0.13680751889525905</c:v>
                </c:pt>
                <c:pt idx="1">
                  <c:v>0.11361670561498903</c:v>
                </c:pt>
                <c:pt idx="2">
                  <c:v>0.11036284793987838</c:v>
                </c:pt>
                <c:pt idx="3">
                  <c:v>0.10008584138115587</c:v>
                </c:pt>
                <c:pt idx="4">
                  <c:v>0.07499791958537161</c:v>
                </c:pt>
                <c:pt idx="5">
                  <c:v>0.0461243594185922</c:v>
                </c:pt>
                <c:pt idx="6">
                  <c:v>0.03134232164170155</c:v>
                </c:pt>
                <c:pt idx="7">
                  <c:v>0.02962216279445551</c:v>
                </c:pt>
                <c:pt idx="8">
                  <c:v>0.029615195320249987</c:v>
                </c:pt>
                <c:pt idx="9">
                  <c:v>0.02649434442087386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B$2:$B$17</c:f>
              <c:numCache>
                <c:formatCode>General</c:formatCode>
                <c:ptCount val="16"/>
                <c:pt idx="0">
                  <c:v>150.5736810807042</c:v>
                </c:pt>
                <c:pt idx="1">
                  <c:v>141.09145202538429</c:v>
                </c:pt>
                <c:pt idx="2">
                  <c:v>132.6379863098232</c:v>
                </c:pt>
                <c:pt idx="3">
                  <c:v>125.06280252447873</c:v>
                </c:pt>
                <c:pt idx="4">
                  <c:v>118.2397312246032</c:v>
                </c:pt>
                <c:pt idx="5">
                  <c:v>112.0634356153384</c:v>
                </c:pt>
                <c:pt idx="6">
                  <c:v>106.63705713389693</c:v>
                </c:pt>
                <c:pt idx="7">
                  <c:v>103.24422770832267</c:v>
                </c:pt>
                <c:pt idx="8">
                  <c:v>100.0</c:v>
                </c:pt>
                <c:pt idx="9">
                  <c:v>96.8959089874516</c:v>
                </c:pt>
                <c:pt idx="10">
                  <c:v>93.92406168308123</c:v>
                </c:pt>
                <c:pt idx="11">
                  <c:v>91.07709720637058</c:v>
                </c:pt>
                <c:pt idx="12">
                  <c:v>88.34814909364025</c:v>
                </c:pt>
                <c:pt idx="13">
                  <c:v>85.73080985608186</c:v>
                </c:pt>
                <c:pt idx="14">
                  <c:v>83.21909776332039</c:v>
                </c:pt>
                <c:pt idx="15">
                  <c:v>80.807425803144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C$2:$C$17</c:f>
              <c:numCache>
                <c:formatCode>General</c:formatCode>
                <c:ptCount val="16"/>
                <c:pt idx="0">
                  <c:v>121.93718207917831</c:v>
                </c:pt>
                <c:pt idx="1">
                  <c:v>117.6130074269583</c:v>
                </c:pt>
                <c:pt idx="2">
                  <c:v>113.71997022653133</c:v>
                </c:pt>
                <c:pt idx="3">
                  <c:v>110.19885629357837</c:v>
                </c:pt>
                <c:pt idx="4">
                  <c:v>106.9981449215379</c:v>
                </c:pt>
                <c:pt idx="5">
                  <c:v>104.0736642294795</c:v>
                </c:pt>
                <c:pt idx="6">
                  <c:v>101.5695923363413</c:v>
                </c:pt>
                <c:pt idx="7">
                  <c:v>100.79105905732075</c:v>
                </c:pt>
                <c:pt idx="8">
                  <c:v>100.0</c:v>
                </c:pt>
                <c:pt idx="9">
                  <c:v>99.19833495573081</c:v>
                </c:pt>
                <c:pt idx="10">
                  <c:v>98.38777849459218</c:v>
                </c:pt>
                <c:pt idx="11">
                  <c:v>97.56986520006296</c:v>
                </c:pt>
                <c:pt idx="12">
                  <c:v>96.74597164738049</c:v>
                </c:pt>
                <c:pt idx="13">
                  <c:v>95.91733551375538</c:v>
                </c:pt>
                <c:pt idx="14">
                  <c:v>95.08507217079925</c:v>
                </c:pt>
                <c:pt idx="15">
                  <c:v>94.250189073607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D$2:$D$17</c:f>
              <c:numCache>
                <c:formatCode>General</c:formatCode>
                <c:ptCount val="16"/>
                <c:pt idx="0">
                  <c:v>92.73674434789173</c:v>
                </c:pt>
                <c:pt idx="1">
                  <c:v>93.67107842460756</c:v>
                </c:pt>
                <c:pt idx="2">
                  <c:v>94.42725070428989</c:v>
                </c:pt>
                <c:pt idx="3">
                  <c:v>95.03909027393095</c:v>
                </c:pt>
                <c:pt idx="4">
                  <c:v>95.53116819732101</c:v>
                </c:pt>
                <c:pt idx="5">
                  <c:v>95.92165591678656</c:v>
                </c:pt>
                <c:pt idx="6">
                  <c:v>96.39695294941994</c:v>
                </c:pt>
                <c:pt idx="7">
                  <c:v>98.28707830550486</c:v>
                </c:pt>
                <c:pt idx="8">
                  <c:v>100.0</c:v>
                </c:pt>
                <c:pt idx="9">
                  <c:v>101.5482513801868</c:v>
                </c:pt>
                <c:pt idx="10">
                  <c:v>102.94336700633615</c:v>
                </c:pt>
                <c:pt idx="11">
                  <c:v>104.19597430143969</c:v>
                </c:pt>
                <c:pt idx="12">
                  <c:v>105.31587636481991</c:v>
                </c:pt>
                <c:pt idx="13">
                  <c:v>106.31212671583812</c:v>
                </c:pt>
                <c:pt idx="14">
                  <c:v>107.19309669404564</c:v>
                </c:pt>
                <c:pt idx="15">
                  <c:v>107.9665361978177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E$2:$E$17</c:f>
              <c:numCache>
                <c:formatCode>General</c:formatCode>
                <c:ptCount val="16"/>
                <c:pt idx="0">
                  <c:v>0.3772746564293528</c:v>
                </c:pt>
                <c:pt idx="1">
                  <c:v>0.39506680910279995</c:v>
                </c:pt>
                <c:pt idx="2">
                  <c:v>0.4118705088499443</c:v>
                </c:pt>
                <c:pt idx="3">
                  <c:v>0.4277659005026486</c:v>
                </c:pt>
                <c:pt idx="4">
                  <c:v>0.44282469259468427</c:v>
                </c:pt>
                <c:pt idx="5">
                  <c:v>0.45711123893841016</c:v>
                </c:pt>
                <c:pt idx="6">
                  <c:v>0.47068345796495004</c:v>
                </c:pt>
                <c:pt idx="7">
                  <c:v>0.4835936175267804</c:v>
                </c:pt>
                <c:pt idx="8">
                  <c:v>0.4958890075856666</c:v>
                </c:pt>
                <c:pt idx="9">
                  <c:v>0.5076125190371629</c:v>
                </c:pt>
                <c:pt idx="10">
                  <c:v>0.5188031436045</c:v>
                </c:pt>
                <c:pt idx="11">
                  <c:v>0.5294964070799556</c:v>
                </c:pt>
                <c:pt idx="12">
                  <c:v>0.5397247460564782</c:v>
                </c:pt>
                <c:pt idx="13">
                  <c:v>0.5495178365659148</c:v>
                </c:pt>
                <c:pt idx="14">
                  <c:v>0.5589028816374583</c:v>
                </c:pt>
                <c:pt idx="15">
                  <c:v>0.567904863644857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B$2:$B$31</c:f>
              <c:numCache>
                <c:formatCode>General</c:formatCode>
                <c:ptCount val="30"/>
                <c:pt idx="0">
                  <c:v>194.72749631428573</c:v>
                </c:pt>
                <c:pt idx="1">
                  <c:v>187.03048108225826</c:v>
                </c:pt>
                <c:pt idx="2">
                  <c:v>179.76401817279807</c:v>
                </c:pt>
                <c:pt idx="3">
                  <c:v>172.90040963366894</c:v>
                </c:pt>
                <c:pt idx="4">
                  <c:v>165.63128121434835</c:v>
                </c:pt>
                <c:pt idx="5">
                  <c:v>158.13170039986332</c:v>
                </c:pt>
                <c:pt idx="6">
                  <c:v>151.213126380725</c:v>
                </c:pt>
                <c:pt idx="7">
                  <c:v>144.83245629418596</c:v>
                </c:pt>
                <c:pt idx="8">
                  <c:v>138.94407668419052</c:v>
                </c:pt>
                <c:pt idx="9">
                  <c:v>133.50191256966758</c:v>
                </c:pt>
                <c:pt idx="10">
                  <c:v>128.4613781209005</c:v>
                </c:pt>
                <c:pt idx="11">
                  <c:v>123.78080287586215</c:v>
                </c:pt>
                <c:pt idx="12">
                  <c:v>119.42224301035449</c:v>
                </c:pt>
                <c:pt idx="13">
                  <c:v>115.35177927558264</c:v>
                </c:pt>
                <c:pt idx="14">
                  <c:v>110.53860881660135</c:v>
                </c:pt>
                <c:pt idx="15">
                  <c:v>105.0818348331733</c:v>
                </c:pt>
                <c:pt idx="16">
                  <c:v>100.0</c:v>
                </c:pt>
                <c:pt idx="17">
                  <c:v>95.26894783509651</c:v>
                </c:pt>
                <c:pt idx="18">
                  <c:v>90.86486202297672</c:v>
                </c:pt>
                <c:pt idx="19">
                  <c:v>86.76473521288686</c:v>
                </c:pt>
                <c:pt idx="20">
                  <c:v>82.94663678149342</c:v>
                </c:pt>
                <c:pt idx="21">
                  <c:v>79.38982471818996</c:v>
                </c:pt>
                <c:pt idx="22">
                  <c:v>76.07475853475687</c:v>
                </c:pt>
                <c:pt idx="23">
                  <c:v>72.98306505792533</c:v>
                </c:pt>
                <c:pt idx="24">
                  <c:v>68.82910220357847</c:v>
                </c:pt>
                <c:pt idx="25">
                  <c:v>63.884177505290765</c:v>
                </c:pt>
                <c:pt idx="26">
                  <c:v>59.45499726110953</c:v>
                </c:pt>
                <c:pt idx="27">
                  <c:v>55.48104987126396</c:v>
                </c:pt>
                <c:pt idx="28">
                  <c:v>51.90799407817646</c:v>
                </c:pt>
                <c:pt idx="29">
                  <c:v>48.687533919123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C$2:$C$31</c:f>
              <c:numCache>
                <c:formatCode>General</c:formatCode>
                <c:ptCount val="30"/>
                <c:pt idx="0">
                  <c:v>153.0208453309086</c:v>
                </c:pt>
                <c:pt idx="1">
                  <c:v>149.44859606712004</c:v>
                </c:pt>
                <c:pt idx="2">
                  <c:v>146.02572809769347</c:v>
                </c:pt>
                <c:pt idx="3">
                  <c:v>142.74592197904326</c:v>
                </c:pt>
                <c:pt idx="4">
                  <c:v>138.94874300983352</c:v>
                </c:pt>
                <c:pt idx="5">
                  <c:v>134.76705256234263</c:v>
                </c:pt>
                <c:pt idx="6">
                  <c:v>130.89119969537356</c:v>
                </c:pt>
                <c:pt idx="7">
                  <c:v>127.30586136398345</c:v>
                </c:pt>
                <c:pt idx="8">
                  <c:v>123.99130681846742</c:v>
                </c:pt>
                <c:pt idx="9">
                  <c:v>120.92507096220204</c:v>
                </c:pt>
                <c:pt idx="10">
                  <c:v>118.08369768586182</c:v>
                </c:pt>
                <c:pt idx="11">
                  <c:v>115.44414972167314</c:v>
                </c:pt>
                <c:pt idx="12">
                  <c:v>112.98475273252694</c:v>
                </c:pt>
                <c:pt idx="13">
                  <c:v>110.68571479334884</c:v>
                </c:pt>
                <c:pt idx="14">
                  <c:v>107.55561005975764</c:v>
                </c:pt>
                <c:pt idx="15">
                  <c:v>103.66295909988222</c:v>
                </c:pt>
                <c:pt idx="16">
                  <c:v>100.0</c:v>
                </c:pt>
                <c:pt idx="17">
                  <c:v>96.55698636150534</c:v>
                </c:pt>
                <c:pt idx="18">
                  <c:v>93.32329614008565</c:v>
                </c:pt>
                <c:pt idx="19">
                  <c:v>90.2879302834061</c:v>
                </c:pt>
                <c:pt idx="20">
                  <c:v>87.43983867667728</c:v>
                </c:pt>
                <c:pt idx="21">
                  <c:v>84.76810283697591</c:v>
                </c:pt>
                <c:pt idx="22">
                  <c:v>82.26202212003282</c:v>
                </c:pt>
                <c:pt idx="23">
                  <c:v>79.91115068209763</c:v>
                </c:pt>
                <c:pt idx="24">
                  <c:v>76.30191838578962</c:v>
                </c:pt>
                <c:pt idx="25">
                  <c:v>71.69485894915172</c:v>
                </c:pt>
                <c:pt idx="26">
                  <c:v>67.5388339216733</c:v>
                </c:pt>
                <c:pt idx="27">
                  <c:v>63.785250796336065</c:v>
                </c:pt>
                <c:pt idx="28">
                  <c:v>60.389445756866834</c:v>
                </c:pt>
                <c:pt idx="29">
                  <c:v>57.3109401993671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D$2:$D$31</c:f>
              <c:numCache>
                <c:formatCode>General</c:formatCode>
                <c:ptCount val="30"/>
                <c:pt idx="0">
                  <c:v>107.56417795403372</c:v>
                </c:pt>
                <c:pt idx="1">
                  <c:v>108.54485209011881</c:v>
                </c:pt>
                <c:pt idx="2">
                  <c:v>109.35678210187612</c:v>
                </c:pt>
                <c:pt idx="3">
                  <c:v>110.01847893822134</c:v>
                </c:pt>
                <c:pt idx="4">
                  <c:v>110.02676066065466</c:v>
                </c:pt>
                <c:pt idx="5">
                  <c:v>109.46878553725546</c:v>
                </c:pt>
                <c:pt idx="6">
                  <c:v>108.90965703111542</c:v>
                </c:pt>
                <c:pt idx="7">
                  <c:v>108.36588774894568</c:v>
                </c:pt>
                <c:pt idx="8">
                  <c:v>107.84721820368918</c:v>
                </c:pt>
                <c:pt idx="9">
                  <c:v>107.35791342636598</c:v>
                </c:pt>
                <c:pt idx="10">
                  <c:v>106.89832165080225</c:v>
                </c:pt>
                <c:pt idx="11">
                  <c:v>106.4663093333341</c:v>
                </c:pt>
                <c:pt idx="12">
                  <c:v>106.05838944084287</c:v>
                </c:pt>
                <c:pt idx="13">
                  <c:v>105.67051566612346</c:v>
                </c:pt>
                <c:pt idx="14">
                  <c:v>104.35374013232077</c:v>
                </c:pt>
                <c:pt idx="15">
                  <c:v>102.1420595071388</c:v>
                </c:pt>
                <c:pt idx="16">
                  <c:v>100.0</c:v>
                </c:pt>
                <c:pt idx="17">
                  <c:v>97.93419728213479</c:v>
                </c:pt>
                <c:pt idx="18">
                  <c:v>95.94894301190797</c:v>
                </c:pt>
                <c:pt idx="19">
                  <c:v>94.04674056101484</c:v>
                </c:pt>
                <c:pt idx="20">
                  <c:v>92.22871589916024</c:v>
                </c:pt>
                <c:pt idx="21">
                  <c:v>90.4948957428471</c:v>
                </c:pt>
                <c:pt idx="22">
                  <c:v>88.84438889548825</c:v>
                </c:pt>
                <c:pt idx="23">
                  <c:v>87.27551341033525</c:v>
                </c:pt>
                <c:pt idx="24">
                  <c:v>84.23363690302834</c:v>
                </c:pt>
                <c:pt idx="25">
                  <c:v>79.96922361692333</c:v>
                </c:pt>
                <c:pt idx="26">
                  <c:v>76.08816076031401</c:v>
                </c:pt>
                <c:pt idx="27">
                  <c:v>72.55460058592985</c:v>
                </c:pt>
                <c:pt idx="28">
                  <c:v>69.33416564709461</c:v>
                </c:pt>
                <c:pt idx="29">
                  <c:v>66.394641381282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E$2:$E$31</c:f>
              <c:numCache>
                <c:formatCode>General</c:formatCode>
                <c:ptCount val="30"/>
                <c:pt idx="0">
                  <c:v>0.3500860337415407</c:v>
                </c:pt>
                <c:pt idx="1">
                  <c:v>0.361408576707716</c:v>
                </c:pt>
                <c:pt idx="2">
                  <c:v>0.37234336135313184</c:v>
                </c:pt>
                <c:pt idx="3">
                  <c:v>0.3829099714313619</c:v>
                </c:pt>
                <c:pt idx="4">
                  <c:v>0.39312669375865716</c:v>
                </c:pt>
                <c:pt idx="5">
                  <c:v>0.40301062382773445</c:v>
                </c:pt>
                <c:pt idx="6">
                  <c:v>0.4125777612663927</c:v>
                </c:pt>
                <c:pt idx="7">
                  <c:v>0.4218430962621909</c:v>
                </c:pt>
                <c:pt idx="8">
                  <c:v>0.4308206879351382</c:v>
                </c:pt>
                <c:pt idx="9">
                  <c:v>0.4395237355202278</c:v>
                </c:pt>
                <c:pt idx="10">
                  <c:v>0.44796464311781464</c:v>
                </c:pt>
                <c:pt idx="11">
                  <c:v>0.45615507867986493</c:v>
                </c:pt>
                <c:pt idx="12">
                  <c:v>0.46410602782197224</c:v>
                </c:pt>
                <c:pt idx="13">
                  <c:v>0.4718278429830388</c:v>
                </c:pt>
                <c:pt idx="14">
                  <c:v>0.47933028839521175</c:v>
                </c:pt>
                <c:pt idx="15">
                  <c:v>0.48662258127483043</c:v>
                </c:pt>
                <c:pt idx="16">
                  <c:v>0.4937134295997637</c:v>
                </c:pt>
                <c:pt idx="17">
                  <c:v>0.5006110667986771</c:v>
                </c:pt>
                <c:pt idx="18">
                  <c:v>0.5073232836427809</c:v>
                </c:pt>
                <c:pt idx="19">
                  <c:v>0.5138574575997732</c:v>
                </c:pt>
                <c:pt idx="20">
                  <c:v>0.5202205798824986</c:v>
                </c:pt>
                <c:pt idx="21">
                  <c:v>0.5264192804008127</c:v>
                </c:pt>
                <c:pt idx="22">
                  <c:v>0.5324598508038635</c:v>
                </c:pt>
                <c:pt idx="23">
                  <c:v>0.5383482657811448</c:v>
                </c:pt>
                <c:pt idx="24">
                  <c:v>0.5440902027739165</c:v>
                </c:pt>
                <c:pt idx="25">
                  <c:v>0.5496910602336965</c:v>
                </c:pt>
                <c:pt idx="26">
                  <c:v>0.5551559745512488</c:v>
                </c:pt>
                <c:pt idx="27">
                  <c:v>0.5604898357676606</c:v>
                </c:pt>
                <c:pt idx="28">
                  <c:v>0.5656973021685178</c:v>
                </c:pt>
                <c:pt idx="29">
                  <c:v>0.5707828138527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B$2:$B$62</c:f>
              <c:numCache>
                <c:formatCode>General</c:formatCode>
                <c:ptCount val="61"/>
                <c:pt idx="0">
                  <c:v>172.76644022729073</c:v>
                </c:pt>
                <c:pt idx="1">
                  <c:v>170.63598976081315</c:v>
                </c:pt>
                <c:pt idx="2">
                  <c:v>168.55320383947966</c:v>
                </c:pt>
                <c:pt idx="3">
                  <c:v>166.51638776802025</c:v>
                </c:pt>
                <c:pt idx="4">
                  <c:v>164.5239389782565</c:v>
                </c:pt>
                <c:pt idx="5">
                  <c:v>162.57433983357703</c:v>
                </c:pt>
                <c:pt idx="6">
                  <c:v>160.66615115684974</c:v>
                </c:pt>
                <c:pt idx="7">
                  <c:v>158.79800639761496</c:v>
                </c:pt>
                <c:pt idx="8">
                  <c:v>156.96860636484104</c:v>
                </c:pt>
                <c:pt idx="9">
                  <c:v>153.99269450271785</c:v>
                </c:pt>
                <c:pt idx="10">
                  <c:v>151.11790356298152</c:v>
                </c:pt>
                <c:pt idx="11">
                  <c:v>148.33930903530904</c:v>
                </c:pt>
                <c:pt idx="12">
                  <c:v>145.6522898804155</c:v>
                </c:pt>
                <c:pt idx="13">
                  <c:v>143.05250670960658</c:v>
                </c:pt>
                <c:pt idx="14">
                  <c:v>140.5358816811025</c:v>
                </c:pt>
                <c:pt idx="15">
                  <c:v>138.09857997290038</c:v>
                </c:pt>
                <c:pt idx="16">
                  <c:v>135.73699270320233</c:v>
                </c:pt>
                <c:pt idx="17">
                  <c:v>133.44772117995046</c:v>
                </c:pt>
                <c:pt idx="18">
                  <c:v>131.227562370659</c:v>
                </c:pt>
                <c:pt idx="19">
                  <c:v>129.073495492729</c:v>
                </c:pt>
                <c:pt idx="20">
                  <c:v>126.98266963265401</c:v>
                </c:pt>
                <c:pt idx="21">
                  <c:v>124.95239231014668</c:v>
                </c:pt>
                <c:pt idx="22">
                  <c:v>122.98011891018396</c:v>
                </c:pt>
                <c:pt idx="23">
                  <c:v>121.06344291241003</c:v>
                </c:pt>
                <c:pt idx="24">
                  <c:v>119.20008685321652</c:v>
                </c:pt>
                <c:pt idx="25">
                  <c:v>117.38789396123718</c:v>
                </c:pt>
                <c:pt idx="26">
                  <c:v>115.62482041194733</c:v>
                </c:pt>
                <c:pt idx="27">
                  <c:v>113.90892815161655</c:v>
                </c:pt>
                <c:pt idx="28">
                  <c:v>112.2383782450166</c:v>
                </c:pt>
                <c:pt idx="29">
                  <c:v>109.9803906718809</c:v>
                </c:pt>
                <c:pt idx="30">
                  <c:v>107.81716999280624</c:v>
                </c:pt>
                <c:pt idx="31">
                  <c:v>105.7427716884155</c:v>
                </c:pt>
                <c:pt idx="32">
                  <c:v>103.75173197806629</c:v>
                </c:pt>
                <c:pt idx="33">
                  <c:v>101.83902077919291</c:v>
                </c:pt>
                <c:pt idx="34">
                  <c:v>100.0</c:v>
                </c:pt>
                <c:pt idx="35">
                  <c:v>98.23038649203208</c:v>
                </c:pt>
                <c:pt idx="36">
                  <c:v>96.52621908068548</c:v>
                </c:pt>
                <c:pt idx="37">
                  <c:v>94.88382917027346</c:v>
                </c:pt>
                <c:pt idx="38">
                  <c:v>93.29981448764788</c:v>
                </c:pt>
                <c:pt idx="39">
                  <c:v>91.77101558627399</c:v>
                </c:pt>
                <c:pt idx="40">
                  <c:v>90.29449478239856</c:v>
                </c:pt>
                <c:pt idx="41">
                  <c:v>89.34925667004251</c:v>
                </c:pt>
                <c:pt idx="42">
                  <c:v>88.41957109247322</c:v>
                </c:pt>
                <c:pt idx="43">
                  <c:v>87.50508695813917</c:v>
                </c:pt>
                <c:pt idx="44">
                  <c:v>86.60546301728078</c:v>
                </c:pt>
                <c:pt idx="45">
                  <c:v>85.7203675226305</c:v>
                </c:pt>
                <c:pt idx="46">
                  <c:v>84.84947790480669</c:v>
                </c:pt>
                <c:pt idx="47">
                  <c:v>83.99248046160143</c:v>
                </c:pt>
                <c:pt idx="48">
                  <c:v>83.14907006043224</c:v>
                </c:pt>
                <c:pt idx="49">
                  <c:v>82.47389322274364</c:v>
                </c:pt>
                <c:pt idx="50">
                  <c:v>81.80792791681989</c:v>
                </c:pt>
                <c:pt idx="51">
                  <c:v>81.15097756940246</c:v>
                </c:pt>
                <c:pt idx="52">
                  <c:v>80.50285131570648</c:v>
                </c:pt>
                <c:pt idx="53">
                  <c:v>79.86336379569366</c:v>
                </c:pt>
                <c:pt idx="54">
                  <c:v>79.23233495880737</c:v>
                </c:pt>
                <c:pt idx="55">
                  <c:v>78.60958987677992</c:v>
                </c:pt>
                <c:pt idx="56">
                  <c:v>77.99495856414629</c:v>
                </c:pt>
                <c:pt idx="57">
                  <c:v>77.38827580611354</c:v>
                </c:pt>
                <c:pt idx="58">
                  <c:v>76.78938099344786</c:v>
                </c:pt>
                <c:pt idx="59">
                  <c:v>76.19811796406363</c:v>
                </c:pt>
                <c:pt idx="60">
                  <c:v>75.614334851010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C$2:$C$62</c:f>
              <c:numCache>
                <c:formatCode>General</c:formatCode>
                <c:ptCount val="61"/>
                <c:pt idx="0">
                  <c:v>132.08789910655182</c:v>
                </c:pt>
                <c:pt idx="1">
                  <c:v>131.64079801889278</c:v>
                </c:pt>
                <c:pt idx="2">
                  <c:v>131.20131045582065</c:v>
                </c:pt>
                <c:pt idx="3">
                  <c:v>130.76909436652656</c:v>
                </c:pt>
                <c:pt idx="4">
                  <c:v>130.34383386329498</c:v>
                </c:pt>
                <c:pt idx="5">
                  <c:v>129.92523664858496</c:v>
                </c:pt>
                <c:pt idx="6">
                  <c:v>129.5130317278052</c:v>
                </c:pt>
                <c:pt idx="7">
                  <c:v>129.10696737422842</c:v>
                </c:pt>
                <c:pt idx="8">
                  <c:v>128.70680931641385</c:v>
                </c:pt>
                <c:pt idx="9">
                  <c:v>127.33233568600753</c:v>
                </c:pt>
                <c:pt idx="10">
                  <c:v>126.00106433932699</c:v>
                </c:pt>
                <c:pt idx="11">
                  <c:v>124.71094669751386</c:v>
                </c:pt>
                <c:pt idx="12">
                  <c:v>123.46005586379376</c:v>
                </c:pt>
                <c:pt idx="13">
                  <c:v>122.24657839772387</c:v>
                </c:pt>
                <c:pt idx="14">
                  <c:v>121.06880667120703</c:v>
                </c:pt>
                <c:pt idx="15">
                  <c:v>119.92513176662342</c:v>
                </c:pt>
                <c:pt idx="16">
                  <c:v>118.81403687964436</c:v>
                </c:pt>
                <c:pt idx="17">
                  <c:v>117.73409119154464</c:v>
                </c:pt>
                <c:pt idx="18">
                  <c:v>116.68394417794441</c:v>
                </c:pt>
                <c:pt idx="19">
                  <c:v>115.662320323036</c:v>
                </c:pt>
                <c:pt idx="20">
                  <c:v>114.66801421032424</c:v>
                </c:pt>
                <c:pt idx="21">
                  <c:v>113.69988596283666</c:v>
                </c:pt>
                <c:pt idx="22">
                  <c:v>112.75685700755854</c:v>
                </c:pt>
                <c:pt idx="23">
                  <c:v>111.83790614058535</c:v>
                </c:pt>
                <c:pt idx="24">
                  <c:v>110.94206587109203</c:v>
                </c:pt>
                <c:pt idx="25">
                  <c:v>110.06841902376021</c:v>
                </c:pt>
                <c:pt idx="26">
                  <c:v>109.21609558073165</c:v>
                </c:pt>
                <c:pt idx="27">
                  <c:v>108.38426974551896</c:v>
                </c:pt>
                <c:pt idx="28">
                  <c:v>107.57215721255355</c:v>
                </c:pt>
                <c:pt idx="29">
                  <c:v>106.17003452595992</c:v>
                </c:pt>
                <c:pt idx="30">
                  <c:v>104.82879155076728</c:v>
                </c:pt>
                <c:pt idx="31">
                  <c:v>103.54457406546254</c:v>
                </c:pt>
                <c:pt idx="32">
                  <c:v>102.31383750724392</c:v>
                </c:pt>
                <c:pt idx="33">
                  <c:v>101.13331687246281</c:v>
                </c:pt>
                <c:pt idx="34">
                  <c:v>100.0</c:v>
                </c:pt>
                <c:pt idx="35">
                  <c:v>98.91110381735055</c:v>
                </c:pt>
                <c:pt idx="36">
                  <c:v>97.86405318479595</c:v>
                </c:pt>
                <c:pt idx="37">
                  <c:v>96.8564620210607</c:v>
                </c:pt>
                <c:pt idx="38">
                  <c:v>95.8861164352917</c:v>
                </c:pt>
                <c:pt idx="39">
                  <c:v>94.95095962599986</c:v>
                </c:pt>
                <c:pt idx="40">
                  <c:v>94.0490783385148</c:v>
                </c:pt>
                <c:pt idx="41">
                  <c:v>93.6837124752281</c:v>
                </c:pt>
                <c:pt idx="42">
                  <c:v>93.32166801964759</c:v>
                </c:pt>
                <c:pt idx="43">
                  <c:v>92.96289498341525</c:v>
                </c:pt>
                <c:pt idx="44">
                  <c:v>92.60734418365163</c:v>
                </c:pt>
                <c:pt idx="45">
                  <c:v>92.25496721819546</c:v>
                </c:pt>
                <c:pt idx="46">
                  <c:v>91.90571644268032</c:v>
                </c:pt>
                <c:pt idx="47">
                  <c:v>91.5595449492893</c:v>
                </c:pt>
                <c:pt idx="48">
                  <c:v>91.21640654705881</c:v>
                </c:pt>
                <c:pt idx="49">
                  <c:v>91.04734960036578</c:v>
                </c:pt>
                <c:pt idx="50">
                  <c:v>90.87916871668989</c:v>
                </c:pt>
                <c:pt idx="51">
                  <c:v>90.71183562146972</c:v>
                </c:pt>
                <c:pt idx="52">
                  <c:v>90.54532301418075</c:v>
                </c:pt>
                <c:pt idx="53">
                  <c:v>90.37960453544406</c:v>
                </c:pt>
                <c:pt idx="54">
                  <c:v>90.2146547353087</c:v>
                </c:pt>
                <c:pt idx="55">
                  <c:v>90.05044904266786</c:v>
                </c:pt>
                <c:pt idx="56">
                  <c:v>89.88696373578112</c:v>
                </c:pt>
                <c:pt idx="57">
                  <c:v>89.72417591386653</c:v>
                </c:pt>
                <c:pt idx="58">
                  <c:v>89.56206346972853</c:v>
                </c:pt>
                <c:pt idx="59">
                  <c:v>89.40060506338726</c:v>
                </c:pt>
                <c:pt idx="60">
                  <c:v>89.2397800966785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D$2:$D$62</c:f>
              <c:numCache>
                <c:formatCode>General</c:formatCode>
                <c:ptCount val="61"/>
                <c:pt idx="0">
                  <c:v>86.97360342873431</c:v>
                </c:pt>
                <c:pt idx="1">
                  <c:v>88.39330064857207</c:v>
                </c:pt>
                <c:pt idx="2">
                  <c:v>89.77615328103627</c:v>
                </c:pt>
                <c:pt idx="3">
                  <c:v>91.12332240807622</c:v>
                </c:pt>
                <c:pt idx="4">
                  <c:v>92.43592186556681</c:v>
                </c:pt>
                <c:pt idx="5">
                  <c:v>93.71502082324461</c:v>
                </c:pt>
                <c:pt idx="6">
                  <c:v>94.96164616167111</c:v>
                </c:pt>
                <c:pt idx="7">
                  <c:v>96.17678466921554</c:v>
                </c:pt>
                <c:pt idx="8">
                  <c:v>97.36138507869151</c:v>
                </c:pt>
                <c:pt idx="9">
                  <c:v>97.76466640398098</c:v>
                </c:pt>
                <c:pt idx="10">
                  <c:v>98.14669421442963</c:v>
                </c:pt>
                <c:pt idx="11">
                  <c:v>98.50862898624754</c:v>
                </c:pt>
                <c:pt idx="12">
                  <c:v>98.85154945860806</c:v>
                </c:pt>
                <c:pt idx="13">
                  <c:v>99.17645966735385</c:v>
                </c:pt>
                <c:pt idx="14">
                  <c:v>99.48429528182004</c:v>
                </c:pt>
                <c:pt idx="15">
                  <c:v>99.77592931897021</c:v>
                </c:pt>
                <c:pt idx="16">
                  <c:v>100.05217730096471</c:v>
                </c:pt>
                <c:pt idx="17">
                  <c:v>100.3138019151075</c:v>
                </c:pt>
                <c:pt idx="18">
                  <c:v>100.5615172286761</c:v>
                </c:pt>
                <c:pt idx="19">
                  <c:v>100.79599250544564</c:v>
                </c:pt>
                <c:pt idx="20">
                  <c:v>101.01785566560164</c:v>
                </c:pt>
                <c:pt idx="21">
                  <c:v>101.22769642620288</c:v>
                </c:pt>
                <c:pt idx="22">
                  <c:v>101.42606915529781</c:v>
                </c:pt>
                <c:pt idx="23">
                  <c:v>101.61349546920182</c:v>
                </c:pt>
                <c:pt idx="24">
                  <c:v>101.79046659922126</c:v>
                </c:pt>
                <c:pt idx="25">
                  <c:v>101.9574455512608</c:v>
                </c:pt>
                <c:pt idx="26">
                  <c:v>102.11486907919576</c:v>
                </c:pt>
                <c:pt idx="27">
                  <c:v>102.26314949064206</c:v>
                </c:pt>
                <c:pt idx="28">
                  <c:v>102.40267630173085</c:v>
                </c:pt>
                <c:pt idx="29">
                  <c:v>101.94886616745127</c:v>
                </c:pt>
                <c:pt idx="30">
                  <c:v>101.51832899029374</c:v>
                </c:pt>
                <c:pt idx="31">
                  <c:v>101.10953303490548</c:v>
                </c:pt>
                <c:pt idx="32">
                  <c:v>100.72106597417869</c:v>
                </c:pt>
                <c:pt idx="33">
                  <c:v>100.35162364248798</c:v>
                </c:pt>
                <c:pt idx="34">
                  <c:v>100.0</c:v>
                </c:pt>
                <c:pt idx="35">
                  <c:v>99.66507817001329</c:v>
                </c:pt>
                <c:pt idx="36">
                  <c:v>99.34582242681056</c:v>
                </c:pt>
                <c:pt idx="37">
                  <c:v>99.0412710254968</c:v>
                </c:pt>
                <c:pt idx="38">
                  <c:v>98.75052977780811</c:v>
                </c:pt>
                <c:pt idx="39">
                  <c:v>98.47276628905621</c:v>
                </c:pt>
                <c:pt idx="40">
                  <c:v>98.20720478129488</c:v>
                </c:pt>
                <c:pt idx="41">
                  <c:v>98.48411276593085</c:v>
                </c:pt>
                <c:pt idx="42">
                  <c:v>98.75077937514263</c:v>
                </c:pt>
                <c:pt idx="43">
                  <c:v>99.00748881879379</c:v>
                </c:pt>
                <c:pt idx="44">
                  <c:v>99.25451607467451</c:v>
                </c:pt>
                <c:pt idx="45">
                  <c:v>99.49212721340615</c:v>
                </c:pt>
                <c:pt idx="46">
                  <c:v>99.72057971087968</c:v>
                </c:pt>
                <c:pt idx="47">
                  <c:v>99.9401227487812</c:v>
                </c:pt>
                <c:pt idx="48">
                  <c:v>100.15099750374483</c:v>
                </c:pt>
                <c:pt idx="49">
                  <c:v>100.54232588644558</c:v>
                </c:pt>
                <c:pt idx="50">
                  <c:v>100.92529598453768</c:v>
                </c:pt>
                <c:pt idx="51">
                  <c:v>101.3000660309568</c:v>
                </c:pt>
                <c:pt idx="52">
                  <c:v>101.66678998374643</c:v>
                </c:pt>
                <c:pt idx="53">
                  <c:v>102.0256176826683</c:v>
                </c:pt>
                <c:pt idx="54">
                  <c:v>102.37669499889337</c:v>
                </c:pt>
                <c:pt idx="55">
                  <c:v>102.72016397812949</c:v>
                </c:pt>
                <c:pt idx="56">
                  <c:v>103.05616297752813</c:v>
                </c:pt>
                <c:pt idx="57">
                  <c:v>103.38482679668782</c:v>
                </c:pt>
                <c:pt idx="58">
                  <c:v>103.70628680305217</c:v>
                </c:pt>
                <c:pt idx="59">
                  <c:v>104.02067105198695</c:v>
                </c:pt>
                <c:pt idx="60">
                  <c:v>104.3281044018028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E$2:$E$62</c:f>
              <c:numCache>
                <c:formatCode>General</c:formatCode>
                <c:ptCount val="61"/>
                <c:pt idx="0">
                  <c:v>0.31334492661457336</c:v>
                </c:pt>
                <c:pt idx="1">
                  <c:v>0.3195310083567845</c:v>
                </c:pt>
                <c:pt idx="2">
                  <c:v>0.3256066243535988</c:v>
                </c:pt>
                <c:pt idx="3">
                  <c:v>0.331574707323921</c:v>
                </c:pt>
                <c:pt idx="4">
                  <c:v>0.33743808708423756</c:v>
                </c:pt>
                <c:pt idx="5">
                  <c:v>0.34319949502263547</c:v>
                </c:pt>
                <c:pt idx="6">
                  <c:v>0.34886156834140575</c:v>
                </c:pt>
                <c:pt idx="7">
                  <c:v>0.35442685408207747</c:v>
                </c:pt>
                <c:pt idx="8">
                  <c:v>0.35989781294578876</c:v>
                </c:pt>
                <c:pt idx="9">
                  <c:v>0.3652768229210342</c:v>
                </c:pt>
                <c:pt idx="10">
                  <c:v>0.3705661827300257</c:v>
                </c:pt>
                <c:pt idx="11">
                  <c:v>0.37576811510415764</c:v>
                </c:pt>
                <c:pt idx="12">
                  <c:v>0.38088476989838593</c:v>
                </c:pt>
                <c:pt idx="13">
                  <c:v>0.38591822705368356</c:v>
                </c:pt>
                <c:pt idx="14">
                  <c:v>0.3908704994161538</c:v>
                </c:pt>
                <c:pt idx="15">
                  <c:v>0.3957435354208246</c:v>
                </c:pt>
                <c:pt idx="16">
                  <c:v>0.4005392216476435</c:v>
                </c:pt>
                <c:pt idx="17">
                  <c:v>0.4052593852567171</c:v>
                </c:pt>
                <c:pt idx="18">
                  <c:v>0.40990579630939905</c:v>
                </c:pt>
                <c:pt idx="19">
                  <c:v>0.41448016998141907</c:v>
                </c:pt>
                <c:pt idx="20">
                  <c:v>0.4189841686738698</c:v>
                </c:pt>
                <c:pt idx="21">
                  <c:v>0.42341940402750433</c:v>
                </c:pt>
                <c:pt idx="22">
                  <c:v>0.4277874388454779</c:v>
                </c:pt>
                <c:pt idx="23">
                  <c:v>0.43208978892934646</c:v>
                </c:pt>
                <c:pt idx="24">
                  <c:v>0.4363279248328587</c:v>
                </c:pt>
                <c:pt idx="25">
                  <c:v>0.44050327353780033</c:v>
                </c:pt>
                <c:pt idx="26">
                  <c:v>0.444617220055905</c:v>
                </c:pt>
                <c:pt idx="27">
                  <c:v>0.44867110896060636</c:v>
                </c:pt>
                <c:pt idx="28">
                  <c:v>0.4526662458521962</c:v>
                </c:pt>
                <c:pt idx="29">
                  <c:v>0.4566038987597343</c:v>
                </c:pt>
                <c:pt idx="30">
                  <c:v>0.4604852994828791</c:v>
                </c:pt>
                <c:pt idx="31">
                  <c:v>0.4643116448766175</c:v>
                </c:pt>
                <c:pt idx="32">
                  <c:v>0.46808409808171175</c:v>
                </c:pt>
                <c:pt idx="33">
                  <c:v>0.471803789703518</c:v>
                </c:pt>
                <c:pt idx="34">
                  <c:v>0.47547181894168805</c:v>
                </c:pt>
                <c:pt idx="35">
                  <c:v>0.4790892546731247</c:v>
                </c:pt>
                <c:pt idx="36">
                  <c:v>0.482657136490432</c:v>
                </c:pt>
                <c:pt idx="37">
                  <c:v>0.4861764756979801</c:v>
                </c:pt>
                <c:pt idx="38">
                  <c:v>0.48964825626758834</c:v>
                </c:pt>
                <c:pt idx="39">
                  <c:v>0.4930734357557254</c:v>
                </c:pt>
                <c:pt idx="40">
                  <c:v>0.49645294618402064</c:v>
                </c:pt>
                <c:pt idx="41">
                  <c:v>0.4997876948847885</c:v>
                </c:pt>
                <c:pt idx="42">
                  <c:v>0.503078565313178</c:v>
                </c:pt>
                <c:pt idx="43">
                  <c:v>0.5063264178274711</c:v>
                </c:pt>
                <c:pt idx="44">
                  <c:v>0.5095320904389811</c:v>
                </c:pt>
                <c:pt idx="45">
                  <c:v>0.512696399532923</c:v>
                </c:pt>
                <c:pt idx="46">
                  <c:v>0.5158201405615583</c:v>
                </c:pt>
                <c:pt idx="47">
                  <c:v>0.5189040887108476</c:v>
                </c:pt>
                <c:pt idx="48">
                  <c:v>0.5219489995417916</c:v>
                </c:pt>
                <c:pt idx="49">
                  <c:v>0.5249556096075665</c:v>
                </c:pt>
                <c:pt idx="50">
                  <c:v>0.5279246370475192</c:v>
                </c:pt>
                <c:pt idx="51">
                  <c:v>0.5308567821590253</c:v>
                </c:pt>
                <c:pt idx="52">
                  <c:v>0.5337527279481672</c:v>
                </c:pt>
                <c:pt idx="53">
                  <c:v>0.5366131406601415</c:v>
                </c:pt>
                <c:pt idx="54">
                  <c:v>0.5394386702902627</c:v>
                </c:pt>
                <c:pt idx="55">
                  <c:v>0.5422299510763823</c:v>
                </c:pt>
                <c:pt idx="56">
                  <c:v>0.5449876019735126</c:v>
                </c:pt>
                <c:pt idx="57">
                  <c:v>0.5477122271113957</c:v>
                </c:pt>
                <c:pt idx="58">
                  <c:v>0.5504044162357327</c:v>
                </c:pt>
                <c:pt idx="59">
                  <c:v>0.5530647451337459</c:v>
                </c:pt>
                <c:pt idx="60">
                  <c:v>0.555693776044723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B$2:$B$71</c:f>
              <c:numCache>
                <c:formatCode>General</c:formatCode>
                <c:ptCount val="70"/>
                <c:pt idx="0">
                  <c:v>172.87340696796448</c:v>
                </c:pt>
                <c:pt idx="1">
                  <c:v>168.743811772325</c:v>
                </c:pt>
                <c:pt idx="2">
                  <c:v>164.80534519926084</c:v>
                </c:pt>
                <c:pt idx="3">
                  <c:v>161.04787912919338</c:v>
                </c:pt>
                <c:pt idx="4">
                  <c:v>157.46170493469108</c:v>
                </c:pt>
                <c:pt idx="5">
                  <c:v>154.03751665838175</c:v>
                </c:pt>
                <c:pt idx="6">
                  <c:v>150.76640851989382</c:v>
                </c:pt>
                <c:pt idx="7">
                  <c:v>147.6398793026972</c:v>
                </c:pt>
                <c:pt idx="8">
                  <c:v>144.64983808858167</c:v>
                </c:pt>
                <c:pt idx="9">
                  <c:v>141.78860772082137</c:v>
                </c:pt>
                <c:pt idx="10">
                  <c:v>140.3303008825457</c:v>
                </c:pt>
                <c:pt idx="11">
                  <c:v>139.04289850484886</c:v>
                </c:pt>
                <c:pt idx="12">
                  <c:v>137.7786247582212</c:v>
                </c:pt>
                <c:pt idx="13">
                  <c:v>136.53683925242325</c:v>
                </c:pt>
                <c:pt idx="14">
                  <c:v>135.31692379445371</c:v>
                </c:pt>
                <c:pt idx="15">
                  <c:v>134.11828137183096</c:v>
                </c:pt>
                <c:pt idx="16">
                  <c:v>132.9403352248598</c:v>
                </c:pt>
                <c:pt idx="17">
                  <c:v>131.78252799543165</c:v>
                </c:pt>
                <c:pt idx="18">
                  <c:v>130.13409102330115</c:v>
                </c:pt>
                <c:pt idx="19">
                  <c:v>128.40162777426096</c:v>
                </c:pt>
                <c:pt idx="20">
                  <c:v>126.7138250666029</c:v>
                </c:pt>
                <c:pt idx="21">
                  <c:v>125.06907949111259</c:v>
                </c:pt>
                <c:pt idx="22">
                  <c:v>123.46585046201648</c:v>
                </c:pt>
                <c:pt idx="23">
                  <c:v>121.90265889648076</c:v>
                </c:pt>
                <c:pt idx="24">
                  <c:v>120.37808569786412</c:v>
                </c:pt>
                <c:pt idx="25">
                  <c:v>118.89077006974891</c:v>
                </c:pt>
                <c:pt idx="26">
                  <c:v>117.4394076917247</c:v>
                </c:pt>
                <c:pt idx="27">
                  <c:v>116.02274878931078</c:v>
                </c:pt>
                <c:pt idx="28">
                  <c:v>114.63959612984922</c:v>
                </c:pt>
                <c:pt idx="29">
                  <c:v>113.28880297409883</c:v>
                </c:pt>
                <c:pt idx="30">
                  <c:v>111.96927101019556</c:v>
                </c:pt>
                <c:pt idx="31">
                  <c:v>110.67994829294545</c:v>
                </c:pt>
                <c:pt idx="32">
                  <c:v>109.41982720753096</c:v>
                </c:pt>
                <c:pt idx="33">
                  <c:v>108.18794247287926</c:v>
                </c:pt>
                <c:pt idx="34">
                  <c:v>106.98336919639732</c:v>
                </c:pt>
                <c:pt idx="35">
                  <c:v>105.80522098864573</c:v>
                </c:pt>
                <c:pt idx="36">
                  <c:v>104.65264814386627</c:v>
                </c:pt>
                <c:pt idx="37">
                  <c:v>103.52483589011541</c:v>
                </c:pt>
                <c:pt idx="38">
                  <c:v>101.80924692064994</c:v>
                </c:pt>
                <c:pt idx="39">
                  <c:v>100.0</c:v>
                </c:pt>
                <c:pt idx="40">
                  <c:v>98.25141276446907</c:v>
                </c:pt>
                <c:pt idx="41">
                  <c:v>96.56084308769371</c:v>
                </c:pt>
                <c:pt idx="42">
                  <c:v>94.92576975331558</c:v>
                </c:pt>
                <c:pt idx="43">
                  <c:v>93.34378682748904</c:v>
                </c:pt>
                <c:pt idx="44">
                  <c:v>91.81259787771012</c:v>
                </c:pt>
                <c:pt idx="45">
                  <c:v>90.33001022250878</c:v>
                </c:pt>
                <c:pt idx="46">
                  <c:v>88.8939293639142</c:v>
                </c:pt>
                <c:pt idx="47">
                  <c:v>87.50235371468399</c:v>
                </c:pt>
                <c:pt idx="48">
                  <c:v>86.15336969166687</c:v>
                </c:pt>
                <c:pt idx="49">
                  <c:v>84.84514721006191</c:v>
                </c:pt>
                <c:pt idx="50">
                  <c:v>83.95825029161811</c:v>
                </c:pt>
                <c:pt idx="51">
                  <c:v>83.17990437055933</c:v>
                </c:pt>
                <c:pt idx="52">
                  <c:v>82.41153089608851</c:v>
                </c:pt>
                <c:pt idx="53">
                  <c:v>81.65294030519068</c:v>
                </c:pt>
                <c:pt idx="54">
                  <c:v>80.90394924799827</c:v>
                </c:pt>
                <c:pt idx="55">
                  <c:v>80.16438035692292</c:v>
                </c:pt>
                <c:pt idx="56">
                  <c:v>79.43406201525366</c:v>
                </c:pt>
                <c:pt idx="57">
                  <c:v>78.71282812539897</c:v>
                </c:pt>
                <c:pt idx="58">
                  <c:v>78.0439927872275</c:v>
                </c:pt>
                <c:pt idx="59">
                  <c:v>77.39490248521369</c:v>
                </c:pt>
                <c:pt idx="60">
                  <c:v>76.75456472094307</c:v>
                </c:pt>
                <c:pt idx="61">
                  <c:v>76.12284582902915</c:v>
                </c:pt>
                <c:pt idx="62">
                  <c:v>75.49961300349065</c:v>
                </c:pt>
                <c:pt idx="63">
                  <c:v>74.88473429200721</c:v>
                </c:pt>
                <c:pt idx="64">
                  <c:v>74.27807860255503</c:v>
                </c:pt>
                <c:pt idx="65">
                  <c:v>73.67951572038007</c:v>
                </c:pt>
                <c:pt idx="66">
                  <c:v>73.0889163334162</c:v>
                </c:pt>
                <c:pt idx="67">
                  <c:v>72.50615206441431</c:v>
                </c:pt>
                <c:pt idx="68">
                  <c:v>71.93109550820633</c:v>
                </c:pt>
                <c:pt idx="69">
                  <c:v>71.363620272698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C$2:$C$71</c:f>
              <c:numCache>
                <c:formatCode>General</c:formatCode>
                <c:ptCount val="70"/>
                <c:pt idx="0">
                  <c:v>125.53927376299592</c:v>
                </c:pt>
                <c:pt idx="1">
                  <c:v>123.71271966450517</c:v>
                </c:pt>
                <c:pt idx="2">
                  <c:v>121.97142694358902</c:v>
                </c:pt>
                <c:pt idx="3">
                  <c:v>120.31166477763142</c:v>
                </c:pt>
                <c:pt idx="4">
                  <c:v>118.72975353698982</c:v>
                </c:pt>
                <c:pt idx="5">
                  <c:v>117.22206478275554</c:v>
                </c:pt>
                <c:pt idx="6">
                  <c:v>115.78503180659551</c:v>
                </c:pt>
                <c:pt idx="7">
                  <c:v>114.41516557956075</c:v>
                </c:pt>
                <c:pt idx="8">
                  <c:v>113.10907207935949</c:v>
                </c:pt>
                <c:pt idx="9">
                  <c:v>111.86346818091369</c:v>
                </c:pt>
                <c:pt idx="10">
                  <c:v>111.70046984295301</c:v>
                </c:pt>
                <c:pt idx="11">
                  <c:v>111.65482469062911</c:v>
                </c:pt>
                <c:pt idx="12">
                  <c:v>111.60980130019904</c:v>
                </c:pt>
                <c:pt idx="13">
                  <c:v>111.56536394098757</c:v>
                </c:pt>
                <c:pt idx="14">
                  <c:v>111.52147719596542</c:v>
                </c:pt>
                <c:pt idx="15">
                  <c:v>111.47810589454714</c:v>
                </c:pt>
                <c:pt idx="16">
                  <c:v>111.43521507764007</c:v>
                </c:pt>
                <c:pt idx="17">
                  <c:v>111.39276998867487</c:v>
                </c:pt>
                <c:pt idx="18">
                  <c:v>110.91322785909456</c:v>
                </c:pt>
                <c:pt idx="19">
                  <c:v>110.33788124956693</c:v>
                </c:pt>
                <c:pt idx="20">
                  <c:v>109.7771173802087</c:v>
                </c:pt>
                <c:pt idx="21">
                  <c:v>109.23045983378587</c:v>
                </c:pt>
                <c:pt idx="22">
                  <c:v>108.69744359717724</c:v>
                </c:pt>
                <c:pt idx="23">
                  <c:v>108.17761603493518</c:v>
                </c:pt>
                <c:pt idx="24">
                  <c:v>107.67053763217187</c:v>
                </c:pt>
                <c:pt idx="25">
                  <c:v>107.17578252190711</c:v>
                </c:pt>
                <c:pt idx="26">
                  <c:v>106.69293881709831</c:v>
                </c:pt>
                <c:pt idx="27">
                  <c:v>106.22160877055624</c:v>
                </c:pt>
                <c:pt idx="28">
                  <c:v>105.76140878720733</c:v>
                </c:pt>
                <c:pt idx="29">
                  <c:v>105.31196931293125</c:v>
                </c:pt>
                <c:pt idx="30">
                  <c:v>104.87293462294522</c:v>
                </c:pt>
                <c:pt idx="31">
                  <c:v>104.44396253065314</c:v>
                </c:pt>
                <c:pt idx="32">
                  <c:v>104.02472403542401</c:v>
                </c:pt>
                <c:pt idx="33">
                  <c:v>103.61490292511964</c:v>
                </c:pt>
                <c:pt idx="34">
                  <c:v>103.21419534659073</c:v>
                </c:pt>
                <c:pt idx="35">
                  <c:v>102.82230935494768</c:v>
                </c:pt>
                <c:pt idx="36">
                  <c:v>102.43896445026436</c:v>
                </c:pt>
                <c:pt idx="37">
                  <c:v>102.06389110856237</c:v>
                </c:pt>
                <c:pt idx="38">
                  <c:v>101.09065401008581</c:v>
                </c:pt>
                <c:pt idx="39">
                  <c:v>100.0</c:v>
                </c:pt>
                <c:pt idx="40">
                  <c:v>98.94502541234031</c:v>
                </c:pt>
                <c:pt idx="41">
                  <c:v>97.924321091996</c:v>
                </c:pt>
                <c:pt idx="42">
                  <c:v>96.9365280826801</c:v>
                </c:pt>
                <c:pt idx="43">
                  <c:v>95.9803360061175</c:v>
                </c:pt>
                <c:pt idx="44">
                  <c:v>95.05448105168006</c:v>
                </c:pt>
                <c:pt idx="45">
                  <c:v>94.15774375974654</c:v>
                </c:pt>
                <c:pt idx="46">
                  <c:v>93.28894675855817</c:v>
                </c:pt>
                <c:pt idx="47">
                  <c:v>92.44695258107795</c:v>
                </c:pt>
                <c:pt idx="48">
                  <c:v>91.63066165178695</c:v>
                </c:pt>
                <c:pt idx="49">
                  <c:v>90.83901049845257</c:v>
                </c:pt>
                <c:pt idx="50">
                  <c:v>90.48221577269997</c:v>
                </c:pt>
                <c:pt idx="51">
                  <c:v>90.23049301900295</c:v>
                </c:pt>
                <c:pt idx="52">
                  <c:v>89.978703861427</c:v>
                </c:pt>
                <c:pt idx="53">
                  <c:v>89.72685018892794</c:v>
                </c:pt>
                <c:pt idx="54">
                  <c:v>89.47493544191735</c:v>
                </c:pt>
                <c:pt idx="55">
                  <c:v>89.22296457271824</c:v>
                </c:pt>
                <c:pt idx="56">
                  <c:v>88.97094399573716</c:v>
                </c:pt>
                <c:pt idx="57">
                  <c:v>88.71888152752912</c:v>
                </c:pt>
                <c:pt idx="58">
                  <c:v>88.51614528596883</c:v>
                </c:pt>
                <c:pt idx="59">
                  <c:v>88.3265335210139</c:v>
                </c:pt>
                <c:pt idx="60">
                  <c:v>88.13782750703747</c:v>
                </c:pt>
                <c:pt idx="61">
                  <c:v>87.95005743073207</c:v>
                </c:pt>
                <c:pt idx="62">
                  <c:v>87.76325072390797</c:v>
                </c:pt>
                <c:pt idx="63">
                  <c:v>87.57743208717585</c:v>
                </c:pt>
                <c:pt idx="64">
                  <c:v>87.39262352790819</c:v>
                </c:pt>
                <c:pt idx="65">
                  <c:v>87.20884441067376</c:v>
                </c:pt>
                <c:pt idx="66">
                  <c:v>87.02611151840152</c:v>
                </c:pt>
                <c:pt idx="67">
                  <c:v>86.84443912261524</c:v>
                </c:pt>
                <c:pt idx="68">
                  <c:v>86.66383906117113</c:v>
                </c:pt>
                <c:pt idx="69">
                  <c:v>86.4843208220527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D$2:$D$71</c:f>
              <c:numCache>
                <c:formatCode>General</c:formatCode>
                <c:ptCount val="70"/>
                <c:pt idx="0">
                  <c:v>52.3071896619807</c:v>
                </c:pt>
                <c:pt idx="1">
                  <c:v>54.075270153076985</c:v>
                </c:pt>
                <c:pt idx="2">
                  <c:v>55.760320657546835</c:v>
                </c:pt>
                <c:pt idx="3">
                  <c:v>57.36898698593588</c:v>
                </c:pt>
                <c:pt idx="4">
                  <c:v>58.907347411189846</c:v>
                </c:pt>
                <c:pt idx="5">
                  <c:v>60.380943582827726</c:v>
                </c:pt>
                <c:pt idx="6">
                  <c:v>61.79481550922685</c:v>
                </c:pt>
                <c:pt idx="7">
                  <c:v>63.15353921531683</c:v>
                </c:pt>
                <c:pt idx="8">
                  <c:v>64.46126547152106</c:v>
                </c:pt>
                <c:pt idx="9">
                  <c:v>65.7217580851876</c:v>
                </c:pt>
                <c:pt idx="10">
                  <c:v>67.55528790697657</c:v>
                </c:pt>
                <c:pt idx="11">
                  <c:v>69.42199081286444</c:v>
                </c:pt>
                <c:pt idx="12">
                  <c:v>71.25461065822176</c:v>
                </c:pt>
                <c:pt idx="13">
                  <c:v>73.0540456085927</c:v>
                </c:pt>
                <c:pt idx="14">
                  <c:v>74.82116029550264</c:v>
                </c:pt>
                <c:pt idx="15">
                  <c:v>76.55678722083056</c:v>
                </c:pt>
                <c:pt idx="16">
                  <c:v>78.26172810447754</c:v>
                </c:pt>
                <c:pt idx="17">
                  <c:v>79.93675517891698</c:v>
                </c:pt>
                <c:pt idx="18">
                  <c:v>81.26399246304858</c:v>
                </c:pt>
                <c:pt idx="19">
                  <c:v>82.47829881350955</c:v>
                </c:pt>
                <c:pt idx="20">
                  <c:v>83.66012913910905</c:v>
                </c:pt>
                <c:pt idx="21">
                  <c:v>84.81079210126948</c:v>
                </c:pt>
                <c:pt idx="22">
                  <c:v>85.93152539309166</c:v>
                </c:pt>
                <c:pt idx="23">
                  <c:v>87.02350041393979</c:v>
                </c:pt>
                <c:pt idx="24">
                  <c:v>88.08782665873753</c:v>
                </c:pt>
                <c:pt idx="25">
                  <c:v>89.12555581766587</c:v>
                </c:pt>
                <c:pt idx="26">
                  <c:v>90.137685588856</c:v>
                </c:pt>
                <c:pt idx="27">
                  <c:v>91.12516321220545</c:v>
                </c:pt>
                <c:pt idx="28">
                  <c:v>92.0888887366386</c:v>
                </c:pt>
                <c:pt idx="29">
                  <c:v>93.0297180359553</c:v>
                </c:pt>
                <c:pt idx="30">
                  <c:v>93.9484655900997</c:v>
                </c:pt>
                <c:pt idx="31">
                  <c:v>94.84590704931951</c:v>
                </c:pt>
                <c:pt idx="32">
                  <c:v>95.72278159857682</c:v>
                </c:pt>
                <c:pt idx="33">
                  <c:v>96.57979413887934</c:v>
                </c:pt>
                <c:pt idx="34">
                  <c:v>97.41761730115431</c:v>
                </c:pt>
                <c:pt idx="35">
                  <c:v>98.2368933070545</c:v>
                </c:pt>
                <c:pt idx="36">
                  <c:v>99.03823568979618</c:v>
                </c:pt>
                <c:pt idx="37">
                  <c:v>99.8222308868924</c:v>
                </c:pt>
                <c:pt idx="38">
                  <c:v>99.98862376398593</c:v>
                </c:pt>
                <c:pt idx="39">
                  <c:v>100.0</c:v>
                </c:pt>
                <c:pt idx="40">
                  <c:v>100.00841227742453</c:v>
                </c:pt>
                <c:pt idx="41">
                  <c:v>100.01437824819783</c:v>
                </c:pt>
                <c:pt idx="42">
                  <c:v>100.01835396754919</c:v>
                </c:pt>
                <c:pt idx="43">
                  <c:v>100.02073867494884</c:v>
                </c:pt>
                <c:pt idx="44">
                  <c:v>100.02187880382868</c:v>
                </c:pt>
                <c:pt idx="45">
                  <c:v>100.02207140518142</c:v>
                </c:pt>
                <c:pt idx="46">
                  <c:v>100.02156715982618</c:v>
                </c:pt>
                <c:pt idx="47">
                  <c:v>100.02057313023246</c:v>
                </c:pt>
                <c:pt idx="48">
                  <c:v>100.01925537165613</c:v>
                </c:pt>
                <c:pt idx="49">
                  <c:v>100.01774148940059</c:v>
                </c:pt>
                <c:pt idx="50">
                  <c:v>100.4736428740179</c:v>
                </c:pt>
                <c:pt idx="51">
                  <c:v>101.02966925694541</c:v>
                </c:pt>
                <c:pt idx="52">
                  <c:v>101.57014859367703</c:v>
                </c:pt>
                <c:pt idx="53">
                  <c:v>102.09537886514542</c:v>
                </c:pt>
                <c:pt idx="54">
                  <c:v>102.60565237246134</c:v>
                </c:pt>
                <c:pt idx="55">
                  <c:v>103.10125599552751</c:v>
                </c:pt>
                <c:pt idx="56">
                  <c:v>103.58247142618555</c:v>
                </c:pt>
                <c:pt idx="57">
                  <c:v>104.04957537606381</c:v>
                </c:pt>
                <c:pt idx="58">
                  <c:v>104.56108618775184</c:v>
                </c:pt>
                <c:pt idx="59">
                  <c:v>105.07548277320143</c:v>
                </c:pt>
                <c:pt idx="60">
                  <c:v>105.57870383288521</c:v>
                </c:pt>
                <c:pt idx="61">
                  <c:v>106.07103267163718</c:v>
                </c:pt>
                <c:pt idx="62">
                  <c:v>106.552744245985</c:v>
                </c:pt>
                <c:pt idx="63">
                  <c:v>107.0241052327828</c:v>
                </c:pt>
                <c:pt idx="64">
                  <c:v>107.48537411514225</c:v>
                </c:pt>
                <c:pt idx="65">
                  <c:v>107.93680128421914</c:v>
                </c:pt>
                <c:pt idx="66">
                  <c:v>108.37862915534453</c:v>
                </c:pt>
                <c:pt idx="67">
                  <c:v>108.8110922969536</c:v>
                </c:pt>
                <c:pt idx="68">
                  <c:v>109.23441757075969</c:v>
                </c:pt>
                <c:pt idx="69">
                  <c:v>109.648824281656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E$2:$E$71</c:f>
              <c:numCache>
                <c:formatCode>General</c:formatCode>
                <c:ptCount val="70"/>
                <c:pt idx="0">
                  <c:v>0.16785714285714295</c:v>
                </c:pt>
                <c:pt idx="1">
                  <c:v>0.17603143418467582</c:v>
                </c:pt>
                <c:pt idx="2">
                  <c:v>0.18404669260700404</c:v>
                </c:pt>
                <c:pt idx="3">
                  <c:v>0.19190751445086704</c:v>
                </c:pt>
                <c:pt idx="4">
                  <c:v>0.19961832061068702</c:v>
                </c:pt>
                <c:pt idx="5">
                  <c:v>0.2071833648393194</c:v>
                </c:pt>
                <c:pt idx="6">
                  <c:v>0.21460674157303378</c:v>
                </c:pt>
                <c:pt idx="7">
                  <c:v>0.2218923933209648</c:v>
                </c:pt>
                <c:pt idx="8">
                  <c:v>0.22904411764705893</c:v>
                </c:pt>
                <c:pt idx="9">
                  <c:v>0.23606557377049187</c:v>
                </c:pt>
                <c:pt idx="10">
                  <c:v>0.24296028880866427</c:v>
                </c:pt>
                <c:pt idx="11">
                  <c:v>0.24973166368515218</c:v>
                </c:pt>
                <c:pt idx="12">
                  <c:v>0.2563829787234044</c:v>
                </c:pt>
                <c:pt idx="13">
                  <c:v>0.2629173989455184</c:v>
                </c:pt>
                <c:pt idx="14">
                  <c:v>0.26933797909407664</c:v>
                </c:pt>
                <c:pt idx="15">
                  <c:v>0.2756476683937824</c:v>
                </c:pt>
                <c:pt idx="16">
                  <c:v>0.2818493150684932</c:v>
                </c:pt>
                <c:pt idx="17">
                  <c:v>0.2879456706281834</c:v>
                </c:pt>
                <c:pt idx="18">
                  <c:v>0.293939393939394</c:v>
                </c:pt>
                <c:pt idx="19">
                  <c:v>0.2998330550918196</c:v>
                </c:pt>
                <c:pt idx="20">
                  <c:v>0.3056291390728478</c:v>
                </c:pt>
                <c:pt idx="21">
                  <c:v>0.31133004926108376</c:v>
                </c:pt>
                <c:pt idx="22">
                  <c:v>0.3169381107491858</c:v>
                </c:pt>
                <c:pt idx="23">
                  <c:v>0.3224555735056543</c:v>
                </c:pt>
                <c:pt idx="24">
                  <c:v>0.3278846153846155</c:v>
                </c:pt>
                <c:pt idx="25">
                  <c:v>0.333227344992051</c:v>
                </c:pt>
                <c:pt idx="26">
                  <c:v>0.3384858044164039</c:v>
                </c:pt>
                <c:pt idx="27">
                  <c:v>0.34366197183098596</c:v>
                </c:pt>
                <c:pt idx="28">
                  <c:v>0.34875776397515534</c:v>
                </c:pt>
                <c:pt idx="29">
                  <c:v>0.3537750385208014</c:v>
                </c:pt>
                <c:pt idx="30">
                  <c:v>0.3587155963302752</c:v>
                </c:pt>
                <c:pt idx="31">
                  <c:v>0.3635811836115327</c:v>
                </c:pt>
                <c:pt idx="32">
                  <c:v>0.36837349397590363</c:v>
                </c:pt>
                <c:pt idx="33">
                  <c:v>0.3730941704035875</c:v>
                </c:pt>
                <c:pt idx="34">
                  <c:v>0.3777448071216617</c:v>
                </c:pt>
                <c:pt idx="35">
                  <c:v>0.38232695139911643</c:v>
                </c:pt>
                <c:pt idx="36">
                  <c:v>0.38684210526315793</c:v>
                </c:pt>
                <c:pt idx="37">
                  <c:v>0.39129172714078386</c:v>
                </c:pt>
                <c:pt idx="38">
                  <c:v>0.3956772334293948</c:v>
                </c:pt>
                <c:pt idx="39">
                  <c:v>0.4</c:v>
                </c:pt>
                <c:pt idx="40">
                  <c:v>0.40426136363636356</c:v>
                </c:pt>
                <c:pt idx="41">
                  <c:v>0.4084626234132582</c:v>
                </c:pt>
                <c:pt idx="42">
                  <c:v>0.41260504201680676</c:v>
                </c:pt>
                <c:pt idx="43">
                  <c:v>0.4166898470097357</c:v>
                </c:pt>
                <c:pt idx="44">
                  <c:v>0.42071823204419895</c:v>
                </c:pt>
                <c:pt idx="45">
                  <c:v>0.42469135802469143</c:v>
                </c:pt>
                <c:pt idx="46">
                  <c:v>0.4286103542234333</c:v>
                </c:pt>
                <c:pt idx="47">
                  <c:v>0.4324763193504736</c:v>
                </c:pt>
                <c:pt idx="48">
                  <c:v>0.43629032258064515</c:v>
                </c:pt>
                <c:pt idx="49">
                  <c:v>0.44005340453938574</c:v>
                </c:pt>
                <c:pt idx="50">
                  <c:v>0.44376657824933696</c:v>
                </c:pt>
                <c:pt idx="51">
                  <c:v>0.44743083003952566</c:v>
                </c:pt>
                <c:pt idx="52">
                  <c:v>0.4510471204188482</c:v>
                </c:pt>
                <c:pt idx="53">
                  <c:v>0.45461638491547474</c:v>
                </c:pt>
                <c:pt idx="54">
                  <c:v>0.458139534883721</c:v>
                </c:pt>
                <c:pt idx="55">
                  <c:v>0.461617458279846</c:v>
                </c:pt>
                <c:pt idx="56">
                  <c:v>0.4650510204081633</c:v>
                </c:pt>
                <c:pt idx="57">
                  <c:v>0.46844106463878316</c:v>
                </c:pt>
                <c:pt idx="58">
                  <c:v>0.47178841309823677</c:v>
                </c:pt>
                <c:pt idx="59">
                  <c:v>0.47509386733416775</c:v>
                </c:pt>
                <c:pt idx="60">
                  <c:v>0.47835820895522396</c:v>
                </c:pt>
                <c:pt idx="61">
                  <c:v>0.4815822002472189</c:v>
                </c:pt>
                <c:pt idx="62">
                  <c:v>0.4847665847665848</c:v>
                </c:pt>
                <c:pt idx="63">
                  <c:v>0.4879120879120879</c:v>
                </c:pt>
                <c:pt idx="64">
                  <c:v>0.49101941747572814</c:v>
                </c:pt>
                <c:pt idx="65">
                  <c:v>0.4940892641737032</c:v>
                </c:pt>
                <c:pt idx="66">
                  <c:v>0.49712230215827335</c:v>
                </c:pt>
                <c:pt idx="67">
                  <c:v>0.500119189511323</c:v>
                </c:pt>
                <c:pt idx="68">
                  <c:v>0.5030805687203792</c:v>
                </c:pt>
                <c:pt idx="69">
                  <c:v>0.506007067137809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B$2:$B$109</c:f>
              <c:numCache>
                <c:formatCode>General</c:formatCode>
                <c:ptCount val="108"/>
                <c:pt idx="0">
                  <c:v>146.86532708692667</c:v>
                </c:pt>
                <c:pt idx="1">
                  <c:v>145.62407987680243</c:v>
                </c:pt>
                <c:pt idx="2">
                  <c:v>144.3991381473396</c:v>
                </c:pt>
                <c:pt idx="3">
                  <c:v>143.1901626030669</c:v>
                </c:pt>
                <c:pt idx="4">
                  <c:v>141.99682276951933</c:v>
                </c:pt>
                <c:pt idx="5">
                  <c:v>140.81879692036864</c:v>
                </c:pt>
                <c:pt idx="6">
                  <c:v>139.65577198508547</c:v>
                </c:pt>
                <c:pt idx="7">
                  <c:v>138.50744343990849</c:v>
                </c:pt>
                <c:pt idx="8">
                  <c:v>137.4427413829463</c:v>
                </c:pt>
                <c:pt idx="9">
                  <c:v>136.43618689825658</c:v>
                </c:pt>
                <c:pt idx="10">
                  <c:v>135.4409141448171</c:v>
                </c:pt>
                <c:pt idx="11">
                  <c:v>134.45675950829374</c:v>
                </c:pt>
                <c:pt idx="12">
                  <c:v>133.48356709170773</c:v>
                </c:pt>
                <c:pt idx="13">
                  <c:v>132.52118825949702</c:v>
                </c:pt>
                <c:pt idx="14">
                  <c:v>131.5694811567687</c:v>
                </c:pt>
                <c:pt idx="15">
                  <c:v>130.6283102107913</c:v>
                </c:pt>
                <c:pt idx="16">
                  <c:v>129.69754562161256</c:v>
                </c:pt>
                <c:pt idx="17">
                  <c:v>128.77706284845624</c:v>
                </c:pt>
                <c:pt idx="18">
                  <c:v>127.86674209819178</c:v>
                </c:pt>
                <c:pt idx="19">
                  <c:v>126.96646782177052</c:v>
                </c:pt>
                <c:pt idx="20">
                  <c:v>126.07612822402135</c:v>
                </c:pt>
                <c:pt idx="21">
                  <c:v>125.19561479164238</c:v>
                </c:pt>
                <c:pt idx="22">
                  <c:v>124.32482184362999</c:v>
                </c:pt>
                <c:pt idx="23">
                  <c:v>123.46364610773865</c:v>
                </c:pt>
                <c:pt idx="24">
                  <c:v>122.6119863259123</c:v>
                </c:pt>
                <c:pt idx="25">
                  <c:v>121.7697428909631</c:v>
                </c:pt>
                <c:pt idx="26">
                  <c:v>120.93681751611211</c:v>
                </c:pt>
                <c:pt idx="27">
                  <c:v>120.11311293838199</c:v>
                </c:pt>
                <c:pt idx="28">
                  <c:v>119.03903295470457</c:v>
                </c:pt>
                <c:pt idx="29">
                  <c:v>117.80555287527505</c:v>
                </c:pt>
                <c:pt idx="30">
                  <c:v>116.5866637686735</c:v>
                </c:pt>
                <c:pt idx="31">
                  <c:v>115.38222335803516</c:v>
                </c:pt>
                <c:pt idx="32">
                  <c:v>114.19210925077101</c:v>
                </c:pt>
                <c:pt idx="33">
                  <c:v>113.01621874491336</c:v>
                </c:pt>
                <c:pt idx="34">
                  <c:v>111.85446836912209</c:v>
                </c:pt>
                <c:pt idx="35">
                  <c:v>110.70679312507927</c:v>
                </c:pt>
                <c:pt idx="36">
                  <c:v>109.5731454110864</c:v>
                </c:pt>
                <c:pt idx="37">
                  <c:v>108.45349361777583</c:v>
                </c:pt>
                <c:pt idx="38">
                  <c:v>107.34782040046309</c:v>
                </c:pt>
                <c:pt idx="39">
                  <c:v>106.25612064712746</c:v>
                </c:pt>
                <c:pt idx="40">
                  <c:v>105.17839917546405</c:v>
                </c:pt>
                <c:pt idx="41">
                  <c:v>104.11466820604775</c:v>
                </c:pt>
                <c:pt idx="42">
                  <c:v>103.06494467046659</c:v>
                </c:pt>
                <c:pt idx="43">
                  <c:v>102.02924742253153</c:v>
                </c:pt>
                <c:pt idx="44">
                  <c:v>101.00759442667429</c:v>
                </c:pt>
                <c:pt idx="45">
                  <c:v>100.0</c:v>
                </c:pt>
                <c:pt idx="46">
                  <c:v>99.00647218297809</c:v>
                </c:pt>
                <c:pt idx="47">
                  <c:v>98.02701030855408</c:v>
                </c:pt>
                <c:pt idx="48">
                  <c:v>97.37874737294017</c:v>
                </c:pt>
                <c:pt idx="49">
                  <c:v>96.94702169415496</c:v>
                </c:pt>
                <c:pt idx="50">
                  <c:v>96.5181510358925</c:v>
                </c:pt>
                <c:pt idx="51">
                  <c:v>96.09211473766247</c:v>
                </c:pt>
                <c:pt idx="52">
                  <c:v>95.66889229823063</c:v>
                </c:pt>
                <c:pt idx="53">
                  <c:v>95.24846336975156</c:v>
                </c:pt>
                <c:pt idx="54">
                  <c:v>94.83080775217073</c:v>
                </c:pt>
                <c:pt idx="55">
                  <c:v>94.41590538790022</c:v>
                </c:pt>
                <c:pt idx="56">
                  <c:v>94.00373635676249</c:v>
                </c:pt>
                <c:pt idx="57">
                  <c:v>93.59428087120214</c:v>
                </c:pt>
                <c:pt idx="58">
                  <c:v>93.18751927176298</c:v>
                </c:pt>
                <c:pt idx="59">
                  <c:v>92.78343202282406</c:v>
                </c:pt>
                <c:pt idx="60">
                  <c:v>92.38199970859708</c:v>
                </c:pt>
                <c:pt idx="61">
                  <c:v>91.98320302937273</c:v>
                </c:pt>
                <c:pt idx="62">
                  <c:v>91.58702279801987</c:v>
                </c:pt>
                <c:pt idx="63">
                  <c:v>91.19343993672513</c:v>
                </c:pt>
                <c:pt idx="64">
                  <c:v>90.80243547397188</c:v>
                </c:pt>
                <c:pt idx="65">
                  <c:v>90.41399054175227</c:v>
                </c:pt>
                <c:pt idx="66">
                  <c:v>90.02808637300302</c:v>
                </c:pt>
                <c:pt idx="67">
                  <c:v>89.64470429926217</c:v>
                </c:pt>
                <c:pt idx="68">
                  <c:v>88.88825883518204</c:v>
                </c:pt>
                <c:pt idx="69">
                  <c:v>87.88957897806739</c:v>
                </c:pt>
                <c:pt idx="70">
                  <c:v>86.90036672700698</c:v>
                </c:pt>
                <c:pt idx="71">
                  <c:v>85.92052036795738</c:v>
                </c:pt>
                <c:pt idx="72">
                  <c:v>84.94993860814748</c:v>
                </c:pt>
                <c:pt idx="73">
                  <c:v>83.98852107993187</c:v>
                </c:pt>
                <c:pt idx="74">
                  <c:v>83.03616882640227</c:v>
                </c:pt>
                <c:pt idx="75">
                  <c:v>82.09278476484197</c:v>
                </c:pt>
                <c:pt idx="76">
                  <c:v>81.15827412458772</c:v>
                </c:pt>
                <c:pt idx="77">
                  <c:v>80.2325448562794</c:v>
                </c:pt>
                <c:pt idx="78">
                  <c:v>79.31550800985163</c:v>
                </c:pt>
                <c:pt idx="79">
                  <c:v>78.40707807894432</c:v>
                </c:pt>
                <c:pt idx="80">
                  <c:v>77.50717330968227</c:v>
                </c:pt>
                <c:pt idx="81">
                  <c:v>76.61571597203202</c:v>
                </c:pt>
                <c:pt idx="82">
                  <c:v>75.73263259216394</c:v>
                </c:pt>
                <c:pt idx="83">
                  <c:v>74.85785414448031</c:v>
                </c:pt>
                <c:pt idx="84">
                  <c:v>73.99131620218382</c:v>
                </c:pt>
                <c:pt idx="85">
                  <c:v>73.1329590455086</c:v>
                </c:pt>
                <c:pt idx="86">
                  <c:v>72.28272772698755</c:v>
                </c:pt>
                <c:pt idx="87">
                  <c:v>71.44057209343273</c:v>
                </c:pt>
                <c:pt idx="88">
                  <c:v>70.89954180799526</c:v>
                </c:pt>
                <c:pt idx="89">
                  <c:v>70.55707103575952</c:v>
                </c:pt>
                <c:pt idx="90">
                  <c:v>70.21653901115673</c:v>
                </c:pt>
                <c:pt idx="91">
                  <c:v>69.87793183815685</c:v>
                </c:pt>
                <c:pt idx="92">
                  <c:v>69.54123577094335</c:v>
                </c:pt>
                <c:pt idx="93">
                  <c:v>69.2064372130675</c:v>
                </c:pt>
                <c:pt idx="94">
                  <c:v>68.87352271656113</c:v>
                </c:pt>
                <c:pt idx="95">
                  <c:v>68.5424789810148</c:v>
                </c:pt>
                <c:pt idx="96">
                  <c:v>68.21329285261007</c:v>
                </c:pt>
                <c:pt idx="97">
                  <c:v>67.88595132312003</c:v>
                </c:pt>
                <c:pt idx="98">
                  <c:v>67.56044152886714</c:v>
                </c:pt>
                <c:pt idx="99">
                  <c:v>67.2367507496454</c:v>
                </c:pt>
                <c:pt idx="100">
                  <c:v>66.9148664076073</c:v>
                </c:pt>
                <c:pt idx="101">
                  <c:v>66.59477606611105</c:v>
                </c:pt>
                <c:pt idx="102">
                  <c:v>66.276467428536</c:v>
                </c:pt>
                <c:pt idx="103">
                  <c:v>65.95992833706082</c:v>
                </c:pt>
                <c:pt idx="104">
                  <c:v>65.64514677140849</c:v>
                </c:pt>
                <c:pt idx="105">
                  <c:v>65.33211084755727</c:v>
                </c:pt>
                <c:pt idx="106">
                  <c:v>65.02080881641955</c:v>
                </c:pt>
                <c:pt idx="107">
                  <c:v>64.711229062488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C$2:$C$109</c:f>
              <c:numCache>
                <c:formatCode>General</c:formatCode>
                <c:ptCount val="108"/>
                <c:pt idx="0">
                  <c:v>113.96224849317768</c:v>
                </c:pt>
                <c:pt idx="1">
                  <c:v>113.72328891614059</c:v>
                </c:pt>
                <c:pt idx="2">
                  <c:v>113.48485891049297</c:v>
                </c:pt>
                <c:pt idx="3">
                  <c:v>113.24693112712758</c:v>
                </c:pt>
                <c:pt idx="4">
                  <c:v>113.00947858112262</c:v>
                </c:pt>
                <c:pt idx="5">
                  <c:v>112.77247481125276</c:v>
                </c:pt>
                <c:pt idx="6">
                  <c:v>112.53589402124462</c:v>
                </c:pt>
                <c:pt idx="7">
                  <c:v>112.29971120442113</c:v>
                </c:pt>
                <c:pt idx="8">
                  <c:v>112.12092164083857</c:v>
                </c:pt>
                <c:pt idx="9">
                  <c:v>111.97964481477958</c:v>
                </c:pt>
                <c:pt idx="10">
                  <c:v>111.83767753205596</c:v>
                </c:pt>
                <c:pt idx="11">
                  <c:v>111.6950522437475</c:v>
                </c:pt>
                <c:pt idx="12">
                  <c:v>111.55180461956071</c:v>
                </c:pt>
                <c:pt idx="13">
                  <c:v>111.40797335167805</c:v>
                </c:pt>
                <c:pt idx="14">
                  <c:v>111.26359992407096</c:v>
                </c:pt>
                <c:pt idx="15">
                  <c:v>111.1187283524876</c:v>
                </c:pt>
                <c:pt idx="16">
                  <c:v>110.97340490045791</c:v>
                </c:pt>
                <c:pt idx="17">
                  <c:v>110.827677776724</c:v>
                </c:pt>
                <c:pt idx="18">
                  <c:v>110.68159681943781</c:v>
                </c:pt>
                <c:pt idx="19">
                  <c:v>110.5352131723708</c:v>
                </c:pt>
                <c:pt idx="20">
                  <c:v>110.3885789581571</c:v>
                </c:pt>
                <c:pt idx="21">
                  <c:v>110.24174695331442</c:v>
                </c:pt>
                <c:pt idx="22">
                  <c:v>110.09477026943546</c:v>
                </c:pt>
                <c:pt idx="23">
                  <c:v>109.94770204453772</c:v>
                </c:pt>
                <c:pt idx="24">
                  <c:v>109.80059514809906</c:v>
                </c:pt>
                <c:pt idx="25">
                  <c:v>109.65350190282821</c:v>
                </c:pt>
                <c:pt idx="26">
                  <c:v>109.50647382570055</c:v>
                </c:pt>
                <c:pt idx="27">
                  <c:v>109.35956139028286</c:v>
                </c:pt>
                <c:pt idx="28">
                  <c:v>108.97377105043446</c:v>
                </c:pt>
                <c:pt idx="29">
                  <c:v>108.42968854643115</c:v>
                </c:pt>
                <c:pt idx="30">
                  <c:v>107.88695554167957</c:v>
                </c:pt>
                <c:pt idx="31">
                  <c:v>107.3456543667566</c:v>
                </c:pt>
                <c:pt idx="32">
                  <c:v>106.8058833129217</c:v>
                </c:pt>
                <c:pt idx="33">
                  <c:v>106.26775692866022</c:v>
                </c:pt>
                <c:pt idx="34">
                  <c:v>105.7314060573932</c:v>
                </c:pt>
                <c:pt idx="35">
                  <c:v>105.19697757739553</c:v>
                </c:pt>
                <c:pt idx="36">
                  <c:v>104.66463381344819</c:v>
                </c:pt>
                <c:pt idx="37">
                  <c:v>104.13455160060934</c:v>
                </c:pt>
                <c:pt idx="38">
                  <c:v>103.60692099335597</c:v>
                </c:pt>
                <c:pt idx="39">
                  <c:v>103.08194362763385</c:v>
                </c:pt>
                <c:pt idx="40">
                  <c:v>102.55983075825775</c:v>
                </c:pt>
                <c:pt idx="41">
                  <c:v>102.04080100880681</c:v>
                </c:pt>
                <c:pt idx="42">
                  <c:v>101.52507788467813</c:v>
                </c:pt>
                <c:pt idx="43">
                  <c:v>101.01288711145389</c:v>
                </c:pt>
                <c:pt idx="44">
                  <c:v>100.50445386938016</c:v>
                </c:pt>
                <c:pt idx="45">
                  <c:v>100.0</c:v>
                </c:pt>
                <c:pt idx="46">
                  <c:v>99.49974126245067</c:v>
                </c:pt>
                <c:pt idx="47">
                  <c:v>99.00388471457131</c:v>
                </c:pt>
                <c:pt idx="48">
                  <c:v>98.83593938034761</c:v>
                </c:pt>
                <c:pt idx="49">
                  <c:v>98.88332683679533</c:v>
                </c:pt>
                <c:pt idx="50">
                  <c:v>98.92930069017474</c:v>
                </c:pt>
                <c:pt idx="51">
                  <c:v>98.97388318821679</c:v>
                </c:pt>
                <c:pt idx="52">
                  <c:v>99.01709631114663</c:v>
                </c:pt>
                <c:pt idx="53">
                  <c:v>99.0589617700068</c:v>
                </c:pt>
                <c:pt idx="54">
                  <c:v>99.09950100507888</c:v>
                </c:pt>
                <c:pt idx="55">
                  <c:v>99.13873518441858</c:v>
                </c:pt>
                <c:pt idx="56">
                  <c:v>99.17668520250476</c:v>
                </c:pt>
                <c:pt idx="57">
                  <c:v>99.2133716790166</c:v>
                </c:pt>
                <c:pt idx="58">
                  <c:v>99.24881495774092</c:v>
                </c:pt>
                <c:pt idx="59">
                  <c:v>99.28303510561554</c:v>
                </c:pt>
                <c:pt idx="60">
                  <c:v>99.31605191191798</c:v>
                </c:pt>
                <c:pt idx="61">
                  <c:v>99.34788488759726</c:v>
                </c:pt>
                <c:pt idx="62">
                  <c:v>99.37855326475994</c:v>
                </c:pt>
                <c:pt idx="63">
                  <c:v>99.40807599630732</c:v>
                </c:pt>
                <c:pt idx="64">
                  <c:v>99.43647175573024</c:v>
                </c:pt>
                <c:pt idx="65">
                  <c:v>99.46375893706278</c:v>
                </c:pt>
                <c:pt idx="66">
                  <c:v>99.48995565499325</c:v>
                </c:pt>
                <c:pt idx="67">
                  <c:v>99.51507974513765</c:v>
                </c:pt>
                <c:pt idx="68">
                  <c:v>99.11943594389561</c:v>
                </c:pt>
                <c:pt idx="69">
                  <c:v>98.44438403925203</c:v>
                </c:pt>
                <c:pt idx="70">
                  <c:v>97.77011627995599</c:v>
                </c:pt>
                <c:pt idx="71">
                  <c:v>97.09665603204462</c:v>
                </c:pt>
                <c:pt idx="72">
                  <c:v>96.42402514995702</c:v>
                </c:pt>
                <c:pt idx="73">
                  <c:v>95.7522445640769</c:v>
                </c:pt>
                <c:pt idx="74">
                  <c:v>95.08133486203795</c:v>
                </c:pt>
                <c:pt idx="75">
                  <c:v>94.4113168586745</c:v>
                </c:pt>
                <c:pt idx="76">
                  <c:v>93.74221214990098</c:v>
                </c:pt>
                <c:pt idx="77">
                  <c:v>93.07404364615411</c:v>
                </c:pt>
                <c:pt idx="78">
                  <c:v>92.40683608135068</c:v>
                </c:pt>
                <c:pt idx="79">
                  <c:v>91.74061649358295</c:v>
                </c:pt>
                <c:pt idx="80">
                  <c:v>91.07541467400975</c:v>
                </c:pt>
                <c:pt idx="81">
                  <c:v>90.41126358061955</c:v>
                </c:pt>
                <c:pt idx="82">
                  <c:v>89.74819971373309</c:v>
                </c:pt>
                <c:pt idx="83">
                  <c:v>89.08626345032769</c:v>
                </c:pt>
                <c:pt idx="84">
                  <c:v>88.42549933446153</c:v>
                </c:pt>
                <c:pt idx="85">
                  <c:v>87.76595632133541</c:v>
                </c:pt>
                <c:pt idx="86">
                  <c:v>87.10768797278656</c:v>
                </c:pt>
                <c:pt idx="87">
                  <c:v>86.45075260235716</c:v>
                </c:pt>
                <c:pt idx="88">
                  <c:v>86.15147564777374</c:v>
                </c:pt>
                <c:pt idx="89">
                  <c:v>86.08914111328681</c:v>
                </c:pt>
                <c:pt idx="90">
                  <c:v>86.02575325938274</c:v>
                </c:pt>
                <c:pt idx="91">
                  <c:v>85.96132426303902</c:v>
                </c:pt>
                <c:pt idx="92">
                  <c:v>85.89586620239122</c:v>
                </c:pt>
                <c:pt idx="93">
                  <c:v>85.82939105959314</c:v>
                </c:pt>
                <c:pt idx="94">
                  <c:v>85.76191072359434</c:v>
                </c:pt>
                <c:pt idx="95">
                  <c:v>85.69343699284452</c:v>
                </c:pt>
                <c:pt idx="96">
                  <c:v>85.62398157790999</c:v>
                </c:pt>
                <c:pt idx="97">
                  <c:v>85.55355610401615</c:v>
                </c:pt>
                <c:pt idx="98">
                  <c:v>85.48217211350394</c:v>
                </c:pt>
                <c:pt idx="99">
                  <c:v>85.40984106820548</c:v>
                </c:pt>
                <c:pt idx="100">
                  <c:v>85.33657435174021</c:v>
                </c:pt>
                <c:pt idx="101">
                  <c:v>85.26238327172263</c:v>
                </c:pt>
                <c:pt idx="102">
                  <c:v>85.18727906189281</c:v>
                </c:pt>
                <c:pt idx="103">
                  <c:v>85.11127288415989</c:v>
                </c:pt>
                <c:pt idx="104">
                  <c:v>85.03437583056272</c:v>
                </c:pt>
                <c:pt idx="105">
                  <c:v>84.9565989251471</c:v>
                </c:pt>
                <c:pt idx="106">
                  <c:v>84.87795312575874</c:v>
                </c:pt>
                <c:pt idx="107">
                  <c:v>84.798449325752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D$2:$D$109</c:f>
              <c:numCache>
                <c:formatCode>General</c:formatCode>
                <c:ptCount val="108"/>
                <c:pt idx="0">
                  <c:v>62.39523865502865</c:v>
                </c:pt>
                <c:pt idx="1">
                  <c:v>63.7291474307478</c:v>
                </c:pt>
                <c:pt idx="2">
                  <c:v>65.03867111851032</c:v>
                </c:pt>
                <c:pt idx="3">
                  <c:v>66.32427777013217</c:v>
                </c:pt>
                <c:pt idx="4">
                  <c:v>67.58642228958207</c:v>
                </c:pt>
                <c:pt idx="5">
                  <c:v>68.82554696107994</c:v>
                </c:pt>
                <c:pt idx="6">
                  <c:v>70.04208196184499</c:v>
                </c:pt>
                <c:pt idx="7">
                  <c:v>71.23644585917577</c:v>
                </c:pt>
                <c:pt idx="8">
                  <c:v>72.44553495184947</c:v>
                </c:pt>
                <c:pt idx="9">
                  <c:v>73.65880028862932</c:v>
                </c:pt>
                <c:pt idx="10">
                  <c:v>74.85257064956409</c:v>
                </c:pt>
                <c:pt idx="11">
                  <c:v>76.02718610233782</c:v>
                </c:pt>
                <c:pt idx="12">
                  <c:v>77.18298281222982</c:v>
                </c:pt>
                <c:pt idx="13">
                  <c:v>78.32029326583773</c:v>
                </c:pt>
                <c:pt idx="14">
                  <c:v>79.43944644485873</c:v>
                </c:pt>
                <c:pt idx="15">
                  <c:v>80.54076795205225</c:v>
                </c:pt>
                <c:pt idx="16">
                  <c:v>81.6245800921294</c:v>
                </c:pt>
                <c:pt idx="17">
                  <c:v>82.69120191086965</c:v>
                </c:pt>
                <c:pt idx="18">
                  <c:v>83.74094919620842</c:v>
                </c:pt>
                <c:pt idx="19">
                  <c:v>84.7741344454153</c:v>
                </c:pt>
                <c:pt idx="20">
                  <c:v>85.79106680274653</c:v>
                </c:pt>
                <c:pt idx="21">
                  <c:v>86.79205197212012</c:v>
                </c:pt>
                <c:pt idx="22">
                  <c:v>87.77739210943405</c:v>
                </c:pt>
                <c:pt idx="23">
                  <c:v>88.74738569912084</c:v>
                </c:pt>
                <c:pt idx="24">
                  <c:v>89.70232741941734</c:v>
                </c:pt>
                <c:pt idx="25">
                  <c:v>90.642508000635</c:v>
                </c:pt>
                <c:pt idx="26">
                  <c:v>91.56821408045093</c:v>
                </c:pt>
                <c:pt idx="27">
                  <c:v>92.47972805991984</c:v>
                </c:pt>
                <c:pt idx="28">
                  <c:v>93.1742123996179</c:v>
                </c:pt>
                <c:pt idx="29">
                  <c:v>93.71443776785677</c:v>
                </c:pt>
                <c:pt idx="30">
                  <c:v>94.23492608296154</c:v>
                </c:pt>
                <c:pt idx="31">
                  <c:v>94.73611999642357</c:v>
                </c:pt>
                <c:pt idx="32">
                  <c:v>95.2184714662615</c:v>
                </c:pt>
                <c:pt idx="33">
                  <c:v>95.68244286379168</c:v>
                </c:pt>
                <c:pt idx="34">
                  <c:v>96.12850783665351</c:v>
                </c:pt>
                <c:pt idx="35">
                  <c:v>96.55715187698635</c:v>
                </c:pt>
                <c:pt idx="36">
                  <c:v>96.96887254938166</c:v>
                </c:pt>
                <c:pt idx="37">
                  <c:v>97.36417934192966</c:v>
                </c:pt>
                <c:pt idx="38">
                  <c:v>97.74359311514556</c:v>
                </c:pt>
                <c:pt idx="39">
                  <c:v>98.10764513737846</c:v>
                </c:pt>
                <c:pt idx="40">
                  <c:v>98.45687571077434</c:v>
                </c:pt>
                <c:pt idx="41">
                  <c:v>98.79183240819256</c:v>
                </c:pt>
                <c:pt idx="42">
                  <c:v>99.1130679576419</c:v>
                </c:pt>
                <c:pt idx="43">
                  <c:v>99.42113782584104</c:v>
                </c:pt>
                <c:pt idx="44">
                  <c:v>99.71659756539268</c:v>
                </c:pt>
                <c:pt idx="45">
                  <c:v>100.0</c:v>
                </c:pt>
                <c:pt idx="46">
                  <c:v>100.27189232846598</c:v>
                </c:pt>
                <c:pt idx="47">
                  <c:v>100.53281323055181</c:v>
                </c:pt>
                <c:pt idx="48">
                  <c:v>101.1125950482829</c:v>
                </c:pt>
                <c:pt idx="49">
                  <c:v>101.90341339631009</c:v>
                </c:pt>
                <c:pt idx="50">
                  <c:v>102.68623328511876</c:v>
                </c:pt>
                <c:pt idx="51">
                  <c:v>103.46114194147087</c:v>
                </c:pt>
                <c:pt idx="52">
                  <c:v>104.22822570937088</c:v>
                </c:pt>
                <c:pt idx="53">
                  <c:v>104.98757005377522</c:v>
                </c:pt>
                <c:pt idx="54">
                  <c:v>105.73925956415347</c:v>
                </c:pt>
                <c:pt idx="55">
                  <c:v>106.48337795792833</c:v>
                </c:pt>
                <c:pt idx="56">
                  <c:v>107.22000808381247</c:v>
                </c:pt>
                <c:pt idx="57">
                  <c:v>107.9492319250675</c:v>
                </c:pt>
                <c:pt idx="58">
                  <c:v>108.67113060270512</c:v>
                </c:pt>
                <c:pt idx="59">
                  <c:v>109.38578437864632</c:v>
                </c:pt>
                <c:pt idx="60">
                  <c:v>110.09327265886488</c:v>
                </c:pt>
                <c:pt idx="61">
                  <c:v>110.79367399652457</c:v>
                </c:pt>
                <c:pt idx="62">
                  <c:v>111.48706609513556</c:v>
                </c:pt>
                <c:pt idx="63">
                  <c:v>112.17352581173854</c:v>
                </c:pt>
                <c:pt idx="64">
                  <c:v>112.85312916013588</c:v>
                </c:pt>
                <c:pt idx="65">
                  <c:v>113.52595131418389</c:v>
                </c:pt>
                <c:pt idx="66">
                  <c:v>114.19206661115567</c:v>
                </c:pt>
                <c:pt idx="67">
                  <c:v>114.85154855518962</c:v>
                </c:pt>
                <c:pt idx="68">
                  <c:v>115.01849852343855</c:v>
                </c:pt>
                <c:pt idx="69">
                  <c:v>114.84957252962174</c:v>
                </c:pt>
                <c:pt idx="70">
                  <c:v>114.66761069652608</c:v>
                </c:pt>
                <c:pt idx="71">
                  <c:v>114.47284053113343</c:v>
                </c:pt>
                <c:pt idx="72">
                  <c:v>114.26548490697132</c:v>
                </c:pt>
                <c:pt idx="73">
                  <c:v>114.045762775204</c:v>
                </c:pt>
                <c:pt idx="74">
                  <c:v>113.81388988935812</c:v>
                </c:pt>
                <c:pt idx="75">
                  <c:v>113.57007953663715</c:v>
                </c:pt>
                <c:pt idx="76">
                  <c:v>113.31454326904348</c:v>
                </c:pt>
                <c:pt idx="77">
                  <c:v>113.04749162776385</c:v>
                </c:pt>
                <c:pt idx="78">
                  <c:v>112.76913485449765</c:v>
                </c:pt>
                <c:pt idx="79">
                  <c:v>112.47968358359803</c:v>
                </c:pt>
                <c:pt idx="80">
                  <c:v>112.17934950905442</c:v>
                </c:pt>
                <c:pt idx="81">
                  <c:v>111.86834602051303</c:v>
                </c:pt>
                <c:pt idx="82">
                  <c:v>111.54688880267092</c:v>
                </c:pt>
                <c:pt idx="83">
                  <c:v>111.21519639256641</c:v>
                </c:pt>
                <c:pt idx="84">
                  <c:v>110.8734906894687</c:v>
                </c:pt>
                <c:pt idx="85">
                  <c:v>110.52199741233306</c:v>
                </c:pt>
                <c:pt idx="86">
                  <c:v>110.16094650007662</c:v>
                </c:pt>
                <c:pt idx="87">
                  <c:v>109.79057245033681</c:v>
                </c:pt>
                <c:pt idx="88">
                  <c:v>109.86529203478194</c:v>
                </c:pt>
                <c:pt idx="89">
                  <c:v>110.23640546282265</c:v>
                </c:pt>
                <c:pt idx="90">
                  <c:v>110.60181835039553</c:v>
                </c:pt>
                <c:pt idx="91">
                  <c:v>110.96158296999752</c:v>
                </c:pt>
                <c:pt idx="92">
                  <c:v>111.31575112414296</c:v>
                </c:pt>
                <c:pt idx="93">
                  <c:v>111.6643741535996</c:v>
                </c:pt>
                <c:pt idx="94">
                  <c:v>112.0075029454912</c:v>
                </c:pt>
                <c:pt idx="95">
                  <c:v>112.3451879412747</c:v>
                </c:pt>
                <c:pt idx="96">
                  <c:v>112.67747914457216</c:v>
                </c:pt>
                <c:pt idx="97">
                  <c:v>113.00442612887458</c:v>
                </c:pt>
                <c:pt idx="98">
                  <c:v>113.32607804509871</c:v>
                </c:pt>
                <c:pt idx="99">
                  <c:v>113.64248362900189</c:v>
                </c:pt>
                <c:pt idx="100">
                  <c:v>113.95369120845604</c:v>
                </c:pt>
                <c:pt idx="101">
                  <c:v>114.25974871056688</c:v>
                </c:pt>
                <c:pt idx="102">
                  <c:v>114.56070366865036</c:v>
                </c:pt>
                <c:pt idx="103">
                  <c:v>114.85660322905376</c:v>
                </c:pt>
                <c:pt idx="104">
                  <c:v>115.14749415782335</c:v>
                </c:pt>
                <c:pt idx="105">
                  <c:v>115.43342284721764</c:v>
                </c:pt>
                <c:pt idx="106">
                  <c:v>115.71443532206357</c:v>
                </c:pt>
                <c:pt idx="107">
                  <c:v>115.9905772459532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E$2:$E$109</c:f>
              <c:numCache>
                <c:formatCode>General</c:formatCode>
                <c:ptCount val="108"/>
                <c:pt idx="0">
                  <c:v>0.22071713147410357</c:v>
                </c:pt>
                <c:pt idx="1">
                  <c:v>0.22585751978891813</c:v>
                </c:pt>
                <c:pt idx="2">
                  <c:v>0.23093053735255573</c:v>
                </c:pt>
                <c:pt idx="3">
                  <c:v>0.2359374999999999</c:v>
                </c:pt>
                <c:pt idx="4">
                  <c:v>0.24087968952134547</c:v>
                </c:pt>
                <c:pt idx="5">
                  <c:v>0.245758354755784</c:v>
                </c:pt>
                <c:pt idx="6">
                  <c:v>0.25057471264367814</c:v>
                </c:pt>
                <c:pt idx="7">
                  <c:v>0.25532994923857855</c:v>
                </c:pt>
                <c:pt idx="8">
                  <c:v>0.2600252206809584</c:v>
                </c:pt>
                <c:pt idx="9">
                  <c:v>0.2646616541353384</c:v>
                </c:pt>
                <c:pt idx="10">
                  <c:v>0.2692403486924035</c:v>
                </c:pt>
                <c:pt idx="11">
                  <c:v>0.2737623762376237</c:v>
                </c:pt>
                <c:pt idx="12">
                  <c:v>0.278228782287823</c:v>
                </c:pt>
                <c:pt idx="13">
                  <c:v>0.282640586797066</c:v>
                </c:pt>
                <c:pt idx="14">
                  <c:v>0.2869987849331712</c:v>
                </c:pt>
                <c:pt idx="15">
                  <c:v>0.2913043478260868</c:v>
                </c:pt>
                <c:pt idx="16">
                  <c:v>0.29555822328931586</c:v>
                </c:pt>
                <c:pt idx="17">
                  <c:v>0.29976133651551323</c:v>
                </c:pt>
                <c:pt idx="18">
                  <c:v>0.30391459074733096</c:v>
                </c:pt>
                <c:pt idx="19">
                  <c:v>0.30801886792452826</c:v>
                </c:pt>
                <c:pt idx="20">
                  <c:v>0.3120750293083235</c:v>
                </c:pt>
                <c:pt idx="21">
                  <c:v>0.31608391608391606</c:v>
                </c:pt>
                <c:pt idx="22">
                  <c:v>0.32004634994206266</c:v>
                </c:pt>
                <c:pt idx="23">
                  <c:v>0.3239631336405528</c:v>
                </c:pt>
                <c:pt idx="24">
                  <c:v>0.3278350515463917</c:v>
                </c:pt>
                <c:pt idx="25">
                  <c:v>0.3316628701594531</c:v>
                </c:pt>
                <c:pt idx="26">
                  <c:v>0.33544733861834647</c:v>
                </c:pt>
                <c:pt idx="27">
                  <c:v>0.3391891891891891</c:v>
                </c:pt>
                <c:pt idx="28">
                  <c:v>0.34288913773796187</c:v>
                </c:pt>
                <c:pt idx="29">
                  <c:v>0.3465478841870823</c:v>
                </c:pt>
                <c:pt idx="30">
                  <c:v>0.3501661129568106</c:v>
                </c:pt>
                <c:pt idx="31">
                  <c:v>0.3537444933920704</c:v>
                </c:pt>
                <c:pt idx="32">
                  <c:v>0.35728368017524625</c:v>
                </c:pt>
                <c:pt idx="33">
                  <c:v>0.3607843137254902</c:v>
                </c:pt>
                <c:pt idx="34">
                  <c:v>0.36424702058504865</c:v>
                </c:pt>
                <c:pt idx="35">
                  <c:v>0.3676724137931034</c:v>
                </c:pt>
                <c:pt idx="36">
                  <c:v>0.3710610932475884</c:v>
                </c:pt>
                <c:pt idx="37">
                  <c:v>0.3744136460554371</c:v>
                </c:pt>
                <c:pt idx="38">
                  <c:v>0.3777306468716861</c:v>
                </c:pt>
                <c:pt idx="39">
                  <c:v>0.3810126582278481</c:v>
                </c:pt>
                <c:pt idx="40">
                  <c:v>0.3842602308499474</c:v>
                </c:pt>
                <c:pt idx="41">
                  <c:v>0.3874739039665971</c:v>
                </c:pt>
                <c:pt idx="42">
                  <c:v>0.39065420560747655</c:v>
                </c:pt>
                <c:pt idx="43">
                  <c:v>0.393801652892562</c:v>
                </c:pt>
                <c:pt idx="44">
                  <c:v>0.3969167523124357</c:v>
                </c:pt>
                <c:pt idx="45">
                  <c:v>0.4</c:v>
                </c:pt>
                <c:pt idx="46">
                  <c:v>0.4030518819938962</c:v>
                </c:pt>
                <c:pt idx="47">
                  <c:v>0.40607287449392715</c:v>
                </c:pt>
                <c:pt idx="48">
                  <c:v>0.4090634441087612</c:v>
                </c:pt>
                <c:pt idx="49">
                  <c:v>0.41202404809619236</c:v>
                </c:pt>
                <c:pt idx="50">
                  <c:v>0.41495513459621136</c:v>
                </c:pt>
                <c:pt idx="51">
                  <c:v>0.4178571428571428</c:v>
                </c:pt>
                <c:pt idx="52">
                  <c:v>0.42073050345508395</c:v>
                </c:pt>
                <c:pt idx="53">
                  <c:v>0.4235756385068762</c:v>
                </c:pt>
                <c:pt idx="54">
                  <c:v>0.4263929618768328</c:v>
                </c:pt>
                <c:pt idx="55">
                  <c:v>0.4291828793774319</c:v>
                </c:pt>
                <c:pt idx="56">
                  <c:v>0.431945788964182</c:v>
                </c:pt>
                <c:pt idx="57">
                  <c:v>0.4346820809248554</c:v>
                </c:pt>
                <c:pt idx="58">
                  <c:v>0.4373921380632789</c:v>
                </c:pt>
                <c:pt idx="59">
                  <c:v>0.44007633587786255</c:v>
                </c:pt>
                <c:pt idx="60">
                  <c:v>0.4427350427350427</c:v>
                </c:pt>
                <c:pt idx="61">
                  <c:v>0.4453686200378071</c:v>
                </c:pt>
                <c:pt idx="62">
                  <c:v>0.4479774223894638</c:v>
                </c:pt>
                <c:pt idx="63">
                  <c:v>0.45056179775280897</c:v>
                </c:pt>
                <c:pt idx="64">
                  <c:v>0.45312208760484624</c:v>
                </c:pt>
                <c:pt idx="65">
                  <c:v>0.45565862708719845</c:v>
                </c:pt>
                <c:pt idx="66">
                  <c:v>0.45817174515235454</c:v>
                </c:pt>
                <c:pt idx="67">
                  <c:v>0.46066176470588227</c:v>
                </c:pt>
                <c:pt idx="68">
                  <c:v>0.4631290027447393</c:v>
                </c:pt>
                <c:pt idx="69">
                  <c:v>0.4655737704918032</c:v>
                </c:pt>
                <c:pt idx="70">
                  <c:v>0.4679963735267452</c:v>
                </c:pt>
                <c:pt idx="71">
                  <c:v>0.47039711191335737</c:v>
                </c:pt>
                <c:pt idx="72">
                  <c:v>0.4727762803234501</c:v>
                </c:pt>
                <c:pt idx="73">
                  <c:v>0.47513416815742393</c:v>
                </c:pt>
                <c:pt idx="74">
                  <c:v>0.47747105966162057</c:v>
                </c:pt>
                <c:pt idx="75">
                  <c:v>0.47978723404255313</c:v>
                </c:pt>
                <c:pt idx="76">
                  <c:v>0.48208296557811114</c:v>
                </c:pt>
                <c:pt idx="77">
                  <c:v>0.48435852372583477</c:v>
                </c:pt>
                <c:pt idx="78">
                  <c:v>0.4866141732283465</c:v>
                </c:pt>
                <c:pt idx="79">
                  <c:v>0.4888501742160279</c:v>
                </c:pt>
                <c:pt idx="80">
                  <c:v>0.49106678230702505</c:v>
                </c:pt>
                <c:pt idx="81">
                  <c:v>0.4932642487046632</c:v>
                </c:pt>
                <c:pt idx="82">
                  <c:v>0.49544282029234743</c:v>
                </c:pt>
                <c:pt idx="83">
                  <c:v>0.4976027397260274</c:v>
                </c:pt>
                <c:pt idx="84">
                  <c:v>0.49974424552429664</c:v>
                </c:pt>
                <c:pt idx="85">
                  <c:v>0.5018675721561969</c:v>
                </c:pt>
                <c:pt idx="86">
                  <c:v>0.5039729501267962</c:v>
                </c:pt>
                <c:pt idx="87">
                  <c:v>0.506060606060606</c:v>
                </c:pt>
                <c:pt idx="88">
                  <c:v>0.5081307627829003</c:v>
                </c:pt>
                <c:pt idx="89">
                  <c:v>0.5101836393989982</c:v>
                </c:pt>
                <c:pt idx="90">
                  <c:v>0.512219451371571</c:v>
                </c:pt>
                <c:pt idx="91">
                  <c:v>0.5142384105960265</c:v>
                </c:pt>
                <c:pt idx="92">
                  <c:v>0.5162407254740313</c:v>
                </c:pt>
                <c:pt idx="93">
                  <c:v>0.5182266009852217</c:v>
                </c:pt>
                <c:pt idx="94">
                  <c:v>0.5201962387571545</c:v>
                </c:pt>
                <c:pt idx="95">
                  <c:v>0.5221498371335505</c:v>
                </c:pt>
                <c:pt idx="96">
                  <c:v>0.5240875912408759</c:v>
                </c:pt>
                <c:pt idx="97">
                  <c:v>0.5260096930533117</c:v>
                </c:pt>
                <c:pt idx="98">
                  <c:v>0.5279163314561545</c:v>
                </c:pt>
                <c:pt idx="99">
                  <c:v>0.5298076923076922</c:v>
                </c:pt>
                <c:pt idx="100">
                  <c:v>0.531683958499601</c:v>
                </c:pt>
                <c:pt idx="101">
                  <c:v>0.5335453100158982</c:v>
                </c:pt>
                <c:pt idx="102">
                  <c:v>0.5353919239904988</c:v>
                </c:pt>
                <c:pt idx="103">
                  <c:v>0.537223974763407</c:v>
                </c:pt>
                <c:pt idx="104">
                  <c:v>0.5390416339355851</c:v>
                </c:pt>
                <c:pt idx="105">
                  <c:v>0.5408450704225352</c:v>
                </c:pt>
                <c:pt idx="106">
                  <c:v>0.5426344505066251</c:v>
                </c:pt>
                <c:pt idx="107">
                  <c:v>0.54440993788819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201.56248961533274</c:v>
                </c:pt>
                <c:pt idx="1">
                  <c:v>192.38922777440993</c:v>
                </c:pt>
                <c:pt idx="2">
                  <c:v>183.97461308902805</c:v>
                </c:pt>
                <c:pt idx="3">
                  <c:v>176.22646564200977</c:v>
                </c:pt>
                <c:pt idx="4">
                  <c:v>169.06650841934135</c:v>
                </c:pt>
                <c:pt idx="5">
                  <c:v>162.42813561329595</c:v>
                </c:pt>
                <c:pt idx="6">
                  <c:v>153.42513041745124</c:v>
                </c:pt>
                <c:pt idx="7">
                  <c:v>144.9993254509576</c:v>
                </c:pt>
                <c:pt idx="8">
                  <c:v>137.38298151459165</c:v>
                </c:pt>
                <c:pt idx="9">
                  <c:v>130.47992173360336</c:v>
                </c:pt>
                <c:pt idx="10">
                  <c:v>124.20594521968616</c:v>
                </c:pt>
                <c:pt idx="11">
                  <c:v>118.48745830235924</c:v>
                </c:pt>
                <c:pt idx="12">
                  <c:v>113.26020653884427</c:v>
                </c:pt>
                <c:pt idx="13">
                  <c:v>108.46812107780761</c:v>
                </c:pt>
                <c:pt idx="14">
                  <c:v>104.06228262631024</c:v>
                </c:pt>
                <c:pt idx="15">
                  <c:v>100.0</c:v>
                </c:pt>
                <c:pt idx="16">
                  <c:v>93.09294660339319</c:v>
                </c:pt>
                <c:pt idx="17">
                  <c:v>86.63921503611628</c:v>
                </c:pt>
                <c:pt idx="18">
                  <c:v>80.90024960189047</c:v>
                </c:pt>
                <c:pt idx="19">
                  <c:v>75.77562596390908</c:v>
                </c:pt>
                <c:pt idx="20">
                  <c:v>71.18115056645631</c:v>
                </c:pt>
                <c:pt idx="21">
                  <c:v>67.046043300169</c:v>
                </c:pt>
                <c:pt idx="22">
                  <c:v>63.31061518523457</c:v>
                </c:pt>
                <c:pt idx="23">
                  <c:v>59.92435934730577</c:v>
                </c:pt>
                <c:pt idx="24">
                  <c:v>56.84438418665376</c:v>
                </c:pt>
                <c:pt idx="25">
                  <c:v>54.03412815899588</c:v>
                </c:pt>
                <c:pt idx="26">
                  <c:v>52.34029187554935</c:v>
                </c:pt>
                <c:pt idx="27">
                  <c:v>50.83290354300928</c:v>
                </c:pt>
                <c:pt idx="28">
                  <c:v>49.4017014088497</c:v>
                </c:pt>
                <c:pt idx="29">
                  <c:v>48.04155248043568</c:v>
                </c:pt>
                <c:pt idx="30">
                  <c:v>46.74773981913648</c:v>
                </c:pt>
                <c:pt idx="31">
                  <c:v>45.515924261439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63.83798473859179</c:v>
                </c:pt>
                <c:pt idx="1">
                  <c:v>158.77809672001263</c:v>
                </c:pt>
                <c:pt idx="2">
                  <c:v>154.12582717267648</c:v>
                </c:pt>
                <c:pt idx="3">
                  <c:v>149.83102800799227</c:v>
                </c:pt>
                <c:pt idx="4">
                  <c:v>145.8509792630401</c:v>
                </c:pt>
                <c:pt idx="5">
                  <c:v>142.1492951749741</c:v>
                </c:pt>
                <c:pt idx="6">
                  <c:v>136.18350702774956</c:v>
                </c:pt>
                <c:pt idx="7">
                  <c:v>130.51336794886888</c:v>
                </c:pt>
                <c:pt idx="8">
                  <c:v>125.37225682418276</c:v>
                </c:pt>
                <c:pt idx="9">
                  <c:v>120.70134455622565</c:v>
                </c:pt>
                <c:pt idx="10">
                  <c:v>116.448269169175</c:v>
                </c:pt>
                <c:pt idx="11">
                  <c:v>112.56657306752086</c:v>
                </c:pt>
                <c:pt idx="12">
                  <c:v>109.01513710593571</c:v>
                </c:pt>
                <c:pt idx="13">
                  <c:v>105.75763297248663</c:v>
                </c:pt>
                <c:pt idx="14">
                  <c:v>102.76200666604618</c:v>
                </c:pt>
                <c:pt idx="15">
                  <c:v>100.0</c:v>
                </c:pt>
                <c:pt idx="16">
                  <c:v>94.25789925533805</c:v>
                </c:pt>
                <c:pt idx="17">
                  <c:v>88.80788283235155</c:v>
                </c:pt>
                <c:pt idx="18">
                  <c:v>83.93799649835174</c:v>
                </c:pt>
                <c:pt idx="19">
                  <c:v>79.56959624709299</c:v>
                </c:pt>
                <c:pt idx="20">
                  <c:v>75.6362667745444</c:v>
                </c:pt>
                <c:pt idx="21">
                  <c:v>72.08180513355067</c:v>
                </c:pt>
                <c:pt idx="22">
                  <c:v>68.85853222959848</c:v>
                </c:pt>
                <c:pt idx="23">
                  <c:v>65.92588528396553</c:v>
                </c:pt>
                <c:pt idx="24">
                  <c:v>63.249248140543614</c:v>
                </c:pt>
                <c:pt idx="25">
                  <c:v>60.79898108183804</c:v>
                </c:pt>
                <c:pt idx="26">
                  <c:v>59.5480012005366</c:v>
                </c:pt>
                <c:pt idx="27">
                  <c:v>58.46906196203713</c:v>
                </c:pt>
                <c:pt idx="28">
                  <c:v>57.441012416748315</c:v>
                </c:pt>
                <c:pt idx="29">
                  <c:v>56.46067569408765</c:v>
                </c:pt>
                <c:pt idx="30">
                  <c:v>55.52511276752683</c:v>
                </c:pt>
                <c:pt idx="31">
                  <c:v>54.6316024563195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17.24295035816512</c:v>
                </c:pt>
                <c:pt idx="1">
                  <c:v>117.27260759732876</c:v>
                </c:pt>
                <c:pt idx="2">
                  <c:v>117.2742032645167</c:v>
                </c:pt>
                <c:pt idx="3">
                  <c:v>117.24987960673579</c:v>
                </c:pt>
                <c:pt idx="4">
                  <c:v>117.20113362321072</c:v>
                </c:pt>
                <c:pt idx="5">
                  <c:v>117.12914642322245</c:v>
                </c:pt>
                <c:pt idx="6">
                  <c:v>114.9157738443334</c:v>
                </c:pt>
                <c:pt idx="7">
                  <c:v>112.64865984061765</c:v>
                </c:pt>
                <c:pt idx="8">
                  <c:v>110.56301513547815</c:v>
                </c:pt>
                <c:pt idx="9">
                  <c:v>108.6464805930712</c:v>
                </c:pt>
                <c:pt idx="10">
                  <c:v>106.88627412758981</c:v>
                </c:pt>
                <c:pt idx="11">
                  <c:v>105.26964459654596</c:v>
                </c:pt>
                <c:pt idx="12">
                  <c:v>103.78418900229514</c:v>
                </c:pt>
                <c:pt idx="13">
                  <c:v>102.41806549400268</c:v>
                </c:pt>
                <c:pt idx="14">
                  <c:v>101.16012765298316</c:v>
                </c:pt>
                <c:pt idx="15">
                  <c:v>100.0</c:v>
                </c:pt>
                <c:pt idx="16">
                  <c:v>95.68918177283386</c:v>
                </c:pt>
                <c:pt idx="17">
                  <c:v>91.4717138523327</c:v>
                </c:pt>
                <c:pt idx="18">
                  <c:v>87.66884209669396</c:v>
                </c:pt>
                <c:pt idx="19">
                  <c:v>84.22874093306018</c:v>
                </c:pt>
                <c:pt idx="20">
                  <c:v>81.10687605075148</c:v>
                </c:pt>
                <c:pt idx="21">
                  <c:v>78.26497890842676</c:v>
                </c:pt>
                <c:pt idx="22">
                  <c:v>75.67014146708803</c:v>
                </c:pt>
                <c:pt idx="23">
                  <c:v>73.29402782768922</c:v>
                </c:pt>
                <c:pt idx="24">
                  <c:v>71.11219451125336</c:v>
                </c:pt>
                <c:pt idx="25">
                  <c:v>69.10350870767608</c:v>
                </c:pt>
                <c:pt idx="26">
                  <c:v>68.39698388654777</c:v>
                </c:pt>
                <c:pt idx="27">
                  <c:v>67.84482679928776</c:v>
                </c:pt>
                <c:pt idx="28">
                  <c:v>67.31239938327</c:v>
                </c:pt>
                <c:pt idx="29">
                  <c:v>66.79893870281649</c:v>
                </c:pt>
                <c:pt idx="30">
                  <c:v>66.30369931530097</c:v>
                </c:pt>
                <c:pt idx="31">
                  <c:v>65.825955927419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2186575118009586</c:v>
                </c:pt>
                <c:pt idx="1">
                  <c:v>0.3321717428034987</c:v>
                </c:pt>
                <c:pt idx="2">
                  <c:v>0.3421691718034463</c:v>
                </c:pt>
                <c:pt idx="3">
                  <c:v>0.35187169139336594</c:v>
                </c:pt>
                <c:pt idx="4">
                  <c:v>0.36129216099520656</c:v>
                </c:pt>
                <c:pt idx="5">
                  <c:v>0.37044270310129246</c:v>
                </c:pt>
                <c:pt idx="6">
                  <c:v>0.379334755317376</c:v>
                </c:pt>
                <c:pt idx="7">
                  <c:v>0.38797911805668833</c:v>
                </c:pt>
                <c:pt idx="8">
                  <c:v>0.3963859983031623</c:v>
                </c:pt>
                <c:pt idx="9">
                  <c:v>0.4045650498166696</c:v>
                </c:pt>
                <c:pt idx="10">
                  <c:v>0.41252541011323823</c:v>
                </c:pt>
                <c:pt idx="11">
                  <c:v>0.42027573451807687</c:v>
                </c:pt>
                <c:pt idx="12">
                  <c:v>0.4278242275582059</c:v>
                </c:pt>
                <c:pt idx="13">
                  <c:v>0.43517867193406445</c:v>
                </c:pt>
                <c:pt idx="14">
                  <c:v>0.442346455285155</c:v>
                </c:pt>
                <c:pt idx="15">
                  <c:v>0.44933459494323574</c:v>
                </c:pt>
                <c:pt idx="16">
                  <c:v>0.4561497608474037</c:v>
                </c:pt>
                <c:pt idx="17">
                  <c:v>0.4627982967783645</c:v>
                </c:pt>
                <c:pt idx="18">
                  <c:v>0.46928624005398806</c:v>
                </c:pt>
                <c:pt idx="19">
                  <c:v>0.47561933981468035</c:v>
                </c:pt>
                <c:pt idx="20">
                  <c:v>0.48180307401497896</c:v>
                </c:pt>
                <c:pt idx="21">
                  <c:v>0.4878426652269255</c:v>
                </c:pt>
                <c:pt idx="22">
                  <c:v>0.4937430953510394</c:v>
                </c:pt>
                <c:pt idx="23">
                  <c:v>0.4995091193219843</c:v>
                </c:pt>
                <c:pt idx="24">
                  <c:v>0.5051452778881781</c:v>
                </c:pt>
                <c:pt idx="25">
                  <c:v>0.5106559095375303</c:v>
                </c:pt>
                <c:pt idx="26">
                  <c:v>0.5160451616351345</c:v>
                </c:pt>
                <c:pt idx="27">
                  <c:v>0.5213170008330089</c:v>
                </c:pt>
                <c:pt idx="28">
                  <c:v>0.5264752228067912</c:v>
                </c:pt>
                <c:pt idx="29">
                  <c:v>0.5315234613696186</c:v>
                </c:pt>
                <c:pt idx="30">
                  <c:v>0.5364651970091795</c:v>
                </c:pt>
                <c:pt idx="31">
                  <c:v>0.54130376489008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B$2:$B$25</c:f>
              <c:numCache>
                <c:formatCode>General</c:formatCode>
                <c:ptCount val="24"/>
                <c:pt idx="0">
                  <c:v>192.64011064972757</c:v>
                </c:pt>
                <c:pt idx="1">
                  <c:v>187.73140184484856</c:v>
                </c:pt>
                <c:pt idx="2">
                  <c:v>182.99125013842158</c:v>
                </c:pt>
                <c:pt idx="3">
                  <c:v>178.41213764759956</c:v>
                </c:pt>
                <c:pt idx="4">
                  <c:v>173.98696361828084</c:v>
                </c:pt>
                <c:pt idx="5">
                  <c:v>169.7090183818892</c:v>
                </c:pt>
                <c:pt idx="6">
                  <c:v>160.5755096856521</c:v>
                </c:pt>
                <c:pt idx="7">
                  <c:v>147.56430086075616</c:v>
                </c:pt>
                <c:pt idx="8">
                  <c:v>135.88419018259975</c:v>
                </c:pt>
                <c:pt idx="9">
                  <c:v>125.40585171168028</c:v>
                </c:pt>
                <c:pt idx="10">
                  <c:v>116.0075389653853</c:v>
                </c:pt>
                <c:pt idx="11">
                  <c:v>107.57459902623263</c:v>
                </c:pt>
                <c:pt idx="12">
                  <c:v>100.0</c:v>
                </c:pt>
                <c:pt idx="13">
                  <c:v>93.18517071759823</c:v>
                </c:pt>
                <c:pt idx="14">
                  <c:v>87.04066588390079</c:v>
                </c:pt>
                <c:pt idx="15">
                  <c:v>81.4864302465192</c:v>
                </c:pt>
                <c:pt idx="16">
                  <c:v>76.43557332328302</c:v>
                </c:pt>
                <c:pt idx="17">
                  <c:v>71.87327721263821</c:v>
                </c:pt>
                <c:pt idx="18">
                  <c:v>67.75971067389312</c:v>
                </c:pt>
                <c:pt idx="19">
                  <c:v>64.03219047770627</c:v>
                </c:pt>
                <c:pt idx="20">
                  <c:v>60.6389223073876</c:v>
                </c:pt>
                <c:pt idx="21">
                  <c:v>57.536905878448486</c:v>
                </c:pt>
                <c:pt idx="22">
                  <c:v>54.69024489325428</c:v>
                </c:pt>
                <c:pt idx="23">
                  <c:v>52.068793997908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C$2:$C$25</c:f>
              <c:numCache>
                <c:formatCode>General</c:formatCode>
                <c:ptCount val="24"/>
                <c:pt idx="0">
                  <c:v>151.6027718187442</c:v>
                </c:pt>
                <c:pt idx="1">
                  <c:v>151.05346747819974</c:v>
                </c:pt>
                <c:pt idx="2">
                  <c:v>150.46969411406786</c:v>
                </c:pt>
                <c:pt idx="3">
                  <c:v>149.85405675841034</c:v>
                </c:pt>
                <c:pt idx="4">
                  <c:v>149.2089863744682</c:v>
                </c:pt>
                <c:pt idx="5">
                  <c:v>148.53675408875284</c:v>
                </c:pt>
                <c:pt idx="6">
                  <c:v>143.39339583032645</c:v>
                </c:pt>
                <c:pt idx="7">
                  <c:v>134.40779374413512</c:v>
                </c:pt>
                <c:pt idx="8">
                  <c:v>126.19341364729104</c:v>
                </c:pt>
                <c:pt idx="9">
                  <c:v>118.69917496295834</c:v>
                </c:pt>
                <c:pt idx="10">
                  <c:v>111.87208969255134</c:v>
                </c:pt>
                <c:pt idx="11">
                  <c:v>105.65745379672747</c:v>
                </c:pt>
                <c:pt idx="12">
                  <c:v>100.0</c:v>
                </c:pt>
                <c:pt idx="13">
                  <c:v>94.84542650190147</c:v>
                </c:pt>
                <c:pt idx="14">
                  <c:v>90.14183703517364</c:v>
                </c:pt>
                <c:pt idx="15">
                  <c:v>85.84083178874872</c:v>
                </c:pt>
                <c:pt idx="16">
                  <c:v>81.88110958398518</c:v>
                </c:pt>
                <c:pt idx="17">
                  <c:v>78.27337614560399</c:v>
                </c:pt>
                <c:pt idx="18">
                  <c:v>74.99956612175993</c:v>
                </c:pt>
                <c:pt idx="19">
                  <c:v>72.01324404317486</c:v>
                </c:pt>
                <c:pt idx="20">
                  <c:v>69.27592533994277</c:v>
                </c:pt>
                <c:pt idx="21">
                  <c:v>66.75562171096647</c:v>
                </c:pt>
                <c:pt idx="22">
                  <c:v>64.42563785959979</c:v>
                </c:pt>
                <c:pt idx="23">
                  <c:v>62.2635894018329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D$2:$D$25</c:f>
              <c:numCache>
                <c:formatCode>General</c:formatCode>
                <c:ptCount val="24"/>
                <c:pt idx="0">
                  <c:v>110.85620442542476</c:v>
                </c:pt>
                <c:pt idx="1">
                  <c:v>114.67311350232725</c:v>
                </c:pt>
                <c:pt idx="2">
                  <c:v>118.25162075597339</c:v>
                </c:pt>
                <c:pt idx="3">
                  <c:v>121.60449196012036</c:v>
                </c:pt>
                <c:pt idx="4">
                  <c:v>124.74372807120591</c:v>
                </c:pt>
                <c:pt idx="5">
                  <c:v>127.68061942175217</c:v>
                </c:pt>
                <c:pt idx="6">
                  <c:v>126.48994883916389</c:v>
                </c:pt>
                <c:pt idx="7">
                  <c:v>121.461254565977</c:v>
                </c:pt>
                <c:pt idx="8">
                  <c:v>116.65465411527163</c:v>
                </c:pt>
                <c:pt idx="9">
                  <c:v>112.09582455563358</c:v>
                </c:pt>
                <c:pt idx="10">
                  <c:v>107.79918466155065</c:v>
                </c:pt>
                <c:pt idx="11">
                  <c:v>103.76876696231928</c:v>
                </c:pt>
                <c:pt idx="12">
                  <c:v>100.0</c:v>
                </c:pt>
                <c:pt idx="13">
                  <c:v>96.4819258420284</c:v>
                </c:pt>
                <c:pt idx="14">
                  <c:v>93.19940893447031</c:v>
                </c:pt>
                <c:pt idx="15">
                  <c:v>90.13504260891543</c:v>
                </c:pt>
                <c:pt idx="16">
                  <c:v>87.25228873419165</c:v>
                </c:pt>
                <c:pt idx="17">
                  <c:v>84.58713463950531</c:v>
                </c:pt>
                <c:pt idx="18">
                  <c:v>82.14314775988973</c:v>
                </c:pt>
                <c:pt idx="19">
                  <c:v>79.8897475677643</c:v>
                </c:pt>
                <c:pt idx="20">
                  <c:v>77.8014537545984</c:v>
                </c:pt>
                <c:pt idx="21">
                  <c:v>75.85705049525008</c:v>
                </c:pt>
                <c:pt idx="22">
                  <c:v>74.03885408930245</c:v>
                </c:pt>
                <c:pt idx="23">
                  <c:v>72.3320900057360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E$2:$E$25</c:f>
              <c:numCache>
                <c:formatCode>General</c:formatCode>
                <c:ptCount val="24"/>
                <c:pt idx="0">
                  <c:v>0.366345137012943</c:v>
                </c:pt>
                <c:pt idx="1">
                  <c:v>0.38030229258534537</c:v>
                </c:pt>
                <c:pt idx="2">
                  <c:v>0.3936578466244543</c:v>
                </c:pt>
                <c:pt idx="3">
                  <c:v>0.40644987517668085</c:v>
                </c:pt>
                <c:pt idx="4">
                  <c:v>0.4187133075077412</c:v>
                </c:pt>
                <c:pt idx="5">
                  <c:v>0.43048024460272627</c:v>
                </c:pt>
                <c:pt idx="6">
                  <c:v>0.44178023974949754</c:v>
                </c:pt>
                <c:pt idx="7">
                  <c:v>0.452640546369157</c:v>
                </c:pt>
                <c:pt idx="8">
                  <c:v>0.46308633746898226</c:v>
                </c:pt>
                <c:pt idx="9">
                  <c:v>0.473140900437728</c:v>
                </c:pt>
                <c:pt idx="10">
                  <c:v>0.48282581035615213</c:v>
                </c:pt>
                <c:pt idx="11">
                  <c:v>0.4921610845374489</c:v>
                </c:pt>
                <c:pt idx="12">
                  <c:v>0.5011653206272105</c:v>
                </c:pt>
                <c:pt idx="13">
                  <c:v>0.5098558202678515</c:v>
                </c:pt>
                <c:pt idx="14">
                  <c:v>0.5182487000577856</c:v>
                </c:pt>
                <c:pt idx="15">
                  <c:v>0.526358991302604</c:v>
                </c:pt>
                <c:pt idx="16">
                  <c:v>0.5342007298571965</c:v>
                </c:pt>
                <c:pt idx="17">
                  <c:v>0.5417870371885127</c:v>
                </c:pt>
                <c:pt idx="18">
                  <c:v>0.549130193643825</c:v>
                </c:pt>
                <c:pt idx="19">
                  <c:v>0.5562417047850895</c:v>
                </c:pt>
                <c:pt idx="20">
                  <c:v>0.5631323615430851</c:v>
                </c:pt>
                <c:pt idx="21">
                  <c:v>0.5698122948528238</c:v>
                </c:pt>
                <c:pt idx="22">
                  <c:v>0.5762910253520284</c:v>
                </c:pt>
                <c:pt idx="23">
                  <c:v>0.58257750865541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4.5623173008992</c:v>
                </c:pt>
                <c:pt idx="1">
                  <c:v>156.9846293034256</c:v>
                </c:pt>
                <c:pt idx="2">
                  <c:v>150.1567790145183</c:v>
                </c:pt>
                <c:pt idx="3">
                  <c:v>143.9824277754335</c:v>
                </c:pt>
                <c:pt idx="4">
                  <c:v>138.37651991314226</c:v>
                </c:pt>
                <c:pt idx="5">
                  <c:v>133.26530681450166</c:v>
                </c:pt>
                <c:pt idx="6">
                  <c:v>128.58554520020425</c:v>
                </c:pt>
                <c:pt idx="7">
                  <c:v>124.28330864477044</c:v>
                </c:pt>
                <c:pt idx="8">
                  <c:v>120.31269980141262</c:v>
                </c:pt>
                <c:pt idx="9">
                  <c:v>116.63462284489978</c:v>
                </c:pt>
                <c:pt idx="10">
                  <c:v>114.53252026348623</c:v>
                </c:pt>
                <c:pt idx="11">
                  <c:v>112.66296109387604</c:v>
                </c:pt>
                <c:pt idx="12">
                  <c:v>110.86652512849666</c:v>
                </c:pt>
                <c:pt idx="13">
                  <c:v>109.13875757873765</c:v>
                </c:pt>
                <c:pt idx="14">
                  <c:v>107.4754979614944</c:v>
                </c:pt>
                <c:pt idx="15">
                  <c:v>105.87286566646992</c:v>
                </c:pt>
                <c:pt idx="16">
                  <c:v>104.32724577981223</c:v>
                </c:pt>
                <c:pt idx="17">
                  <c:v>102.83527495226348</c:v>
                </c:pt>
                <c:pt idx="18">
                  <c:v>101.39382724700852</c:v>
                </c:pt>
                <c:pt idx="19">
                  <c:v>100.0</c:v>
                </c:pt>
                <c:pt idx="20">
                  <c:v>95.97257010145131</c:v>
                </c:pt>
                <c:pt idx="21">
                  <c:v>91.83457112293834</c:v>
                </c:pt>
                <c:pt idx="22">
                  <c:v>87.8882036577625</c:v>
                </c:pt>
                <c:pt idx="23">
                  <c:v>84.12904246423297</c:v>
                </c:pt>
                <c:pt idx="24">
                  <c:v>80.55172102741224</c:v>
                </c:pt>
                <c:pt idx="25">
                  <c:v>77.15025465180295</c:v>
                </c:pt>
                <c:pt idx="26">
                  <c:v>73.91822481323653</c:v>
                </c:pt>
                <c:pt idx="27">
                  <c:v>70.848895485833</c:v>
                </c:pt>
                <c:pt idx="28">
                  <c:v>67.93532682338808</c:v>
                </c:pt>
                <c:pt idx="29">
                  <c:v>65.17051923947828</c:v>
                </c:pt>
                <c:pt idx="30">
                  <c:v>63.869834264321035</c:v>
                </c:pt>
                <c:pt idx="31">
                  <c:v>62.753262486412154</c:v>
                </c:pt>
                <c:pt idx="32">
                  <c:v>61.66718608682158</c:v>
                </c:pt>
                <c:pt idx="33">
                  <c:v>60.61030651237215</c:v>
                </c:pt>
                <c:pt idx="34">
                  <c:v>59.58139356480954</c:v>
                </c:pt>
                <c:pt idx="35">
                  <c:v>58.579282322848044</c:v>
                </c:pt>
                <c:pt idx="36">
                  <c:v>57.602870195704284</c:v>
                </c:pt>
                <c:pt idx="37">
                  <c:v>56.65111411098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34.17809356211558</c:v>
                </c:pt>
                <c:pt idx="1">
                  <c:v>129.53853073547052</c:v>
                </c:pt>
                <c:pt idx="2">
                  <c:v>125.37532916475251</c:v>
                </c:pt>
                <c:pt idx="3">
                  <c:v>121.62941644238052</c:v>
                </c:pt>
                <c:pt idx="4">
                  <c:v>118.24756921739908</c:v>
                </c:pt>
                <c:pt idx="5">
                  <c:v>115.1829675624691</c:v>
                </c:pt>
                <c:pt idx="6">
                  <c:v>112.3950429389973</c:v>
                </c:pt>
                <c:pt idx="7">
                  <c:v>109.84894467985266</c:v>
                </c:pt>
                <c:pt idx="8">
                  <c:v>107.51485109978663</c:v>
                </c:pt>
                <c:pt idx="9">
                  <c:v>105.36726011904688</c:v>
                </c:pt>
                <c:pt idx="10">
                  <c:v>104.57535819837378</c:v>
                </c:pt>
                <c:pt idx="11">
                  <c:v>103.95626508555755</c:v>
                </c:pt>
                <c:pt idx="12">
                  <c:v>103.36936241002263</c:v>
                </c:pt>
                <c:pt idx="13">
                  <c:v>102.81255100923019</c:v>
                </c:pt>
                <c:pt idx="14">
                  <c:v>102.28384294320489</c:v>
                </c:pt>
                <c:pt idx="15">
                  <c:v>101.78136143313677</c:v>
                </c:pt>
                <c:pt idx="16">
                  <c:v>101.30334024128271</c:v>
                </c:pt>
                <c:pt idx="17">
                  <c:v>100.84812230429787</c:v>
                </c:pt>
                <c:pt idx="18">
                  <c:v>100.41415756012803</c:v>
                </c:pt>
                <c:pt idx="19">
                  <c:v>100.0</c:v>
                </c:pt>
                <c:pt idx="20">
                  <c:v>96.915946479725</c:v>
                </c:pt>
                <c:pt idx="21">
                  <c:v>93.64340077115033</c:v>
                </c:pt>
                <c:pt idx="22">
                  <c:v>90.48809993355864</c:v>
                </c:pt>
                <c:pt idx="23">
                  <c:v>87.45079518041624</c:v>
                </c:pt>
                <c:pt idx="24">
                  <c:v>84.53112173620944</c:v>
                </c:pt>
                <c:pt idx="25">
                  <c:v>81.7278886662023</c:v>
                </c:pt>
                <c:pt idx="26">
                  <c:v>79.03924049010014</c:v>
                </c:pt>
                <c:pt idx="27">
                  <c:v>76.46275711049752</c:v>
                </c:pt>
                <c:pt idx="28">
                  <c:v>73.99555810023587</c:v>
                </c:pt>
                <c:pt idx="29">
                  <c:v>71.6344471588901</c:v>
                </c:pt>
                <c:pt idx="30">
                  <c:v>70.83117117153776</c:v>
                </c:pt>
                <c:pt idx="31">
                  <c:v>70.20740616000053</c:v>
                </c:pt>
                <c:pt idx="32">
                  <c:v>69.59646095649154</c:v>
                </c:pt>
                <c:pt idx="33">
                  <c:v>68.99773260797544</c:v>
                </c:pt>
                <c:pt idx="34">
                  <c:v>68.41064749377101</c:v>
                </c:pt>
                <c:pt idx="35">
                  <c:v>67.83466093537014</c:v>
                </c:pt>
                <c:pt idx="36">
                  <c:v>67.26925679508355</c:v>
                </c:pt>
                <c:pt idx="37">
                  <c:v>66.71394707445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6.7717944865089</c:v>
                </c:pt>
                <c:pt idx="1">
                  <c:v>95.71932077269992</c:v>
                </c:pt>
                <c:pt idx="2">
                  <c:v>94.81172021725087</c:v>
                </c:pt>
                <c:pt idx="3">
                  <c:v>94.03484642555594</c:v>
                </c:pt>
                <c:pt idx="4">
                  <c:v>93.3738115614602</c:v>
                </c:pt>
                <c:pt idx="5">
                  <c:v>92.81422626206476</c:v>
                </c:pt>
                <c:pt idx="6">
                  <c:v>92.3428496413777</c:v>
                </c:pt>
                <c:pt idx="7">
                  <c:v>91.94784886917604</c:v>
                </c:pt>
                <c:pt idx="8">
                  <c:v>91.61882852941021</c:v>
                </c:pt>
                <c:pt idx="9">
                  <c:v>91.34673961686792</c:v>
                </c:pt>
                <c:pt idx="10">
                  <c:v>92.18361189621665</c:v>
                </c:pt>
                <c:pt idx="11">
                  <c:v>93.12154030629513</c:v>
                </c:pt>
                <c:pt idx="12">
                  <c:v>94.0404252014391</c:v>
                </c:pt>
                <c:pt idx="13">
                  <c:v>94.94114752100883</c:v>
                </c:pt>
                <c:pt idx="14">
                  <c:v>95.82446426312595</c:v>
                </c:pt>
                <c:pt idx="15">
                  <c:v>96.69102720825819</c:v>
                </c:pt>
                <c:pt idx="16">
                  <c:v>97.54140000495079</c:v>
                </c:pt>
                <c:pt idx="17">
                  <c:v>98.37607345396825</c:v>
                </c:pt>
                <c:pt idx="18">
                  <c:v>99.19547893419649</c:v>
                </c:pt>
                <c:pt idx="19">
                  <c:v>100.0</c:v>
                </c:pt>
                <c:pt idx="20">
                  <c:v>98.0533786012113</c:v>
                </c:pt>
                <c:pt idx="21">
                  <c:v>95.81675386457839</c:v>
                </c:pt>
                <c:pt idx="22">
                  <c:v>93.60479083490235</c:v>
                </c:pt>
                <c:pt idx="23">
                  <c:v>91.42514494231348</c:v>
                </c:pt>
                <c:pt idx="24">
                  <c:v>89.28404452395657</c:v>
                </c:pt>
                <c:pt idx="25">
                  <c:v>87.18655390700147</c:v>
                </c:pt>
                <c:pt idx="26">
                  <c:v>85.13671872469159</c:v>
                </c:pt>
                <c:pt idx="27">
                  <c:v>83.1376553904336</c:v>
                </c:pt>
                <c:pt idx="28">
                  <c:v>81.19165254278687</c:v>
                </c:pt>
                <c:pt idx="29">
                  <c:v>79.30032426855334</c:v>
                </c:pt>
                <c:pt idx="30">
                  <c:v>79.1024140798314</c:v>
                </c:pt>
                <c:pt idx="31">
                  <c:v>79.08011777408784</c:v>
                </c:pt>
                <c:pt idx="32">
                  <c:v>79.0484947544044</c:v>
                </c:pt>
                <c:pt idx="33">
                  <c:v>79.00783584423773</c:v>
                </c:pt>
                <c:pt idx="34">
                  <c:v>78.95840983510563</c:v>
                </c:pt>
                <c:pt idx="35">
                  <c:v>78.90046675100164</c:v>
                </c:pt>
                <c:pt idx="36">
                  <c:v>78.83424089235713</c:v>
                </c:pt>
                <c:pt idx="37">
                  <c:v>78.759953683490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356773603195344</c:v>
                </c:pt>
                <c:pt idx="1">
                  <c:v>0.3437986639831099</c:v>
                </c:pt>
                <c:pt idx="2">
                  <c:v>0.35172380089152644</c:v>
                </c:pt>
                <c:pt idx="3">
                  <c:v>0.3594597937209831</c:v>
                </c:pt>
                <c:pt idx="4">
                  <c:v>0.36701333388936774</c:v>
                </c:pt>
                <c:pt idx="5">
                  <c:v>0.37439080086035426</c:v>
                </c:pt>
                <c:pt idx="6">
                  <c:v>0.38159828011311486</c:v>
                </c:pt>
                <c:pt idx="7">
                  <c:v>0.38864157988403636</c:v>
                </c:pt>
                <c:pt idx="8">
                  <c:v>0.3955262467772341</c:v>
                </c:pt>
                <c:pt idx="9">
                  <c:v>0.40225758033205333</c:v>
                </c:pt>
                <c:pt idx="10">
                  <c:v>0.40884064662795583</c:v>
                </c:pt>
                <c:pt idx="11">
                  <c:v>0.4152802910002003</c:v>
                </c:pt>
                <c:pt idx="12">
                  <c:v>0.42158114993338786</c:v>
                </c:pt>
                <c:pt idx="13">
                  <c:v>0.4277476621942259</c:v>
                </c:pt>
                <c:pt idx="14">
                  <c:v>0.4337840792596876</c:v>
                </c:pt>
                <c:pt idx="15">
                  <c:v>0.4396944750920499</c:v>
                </c:pt>
                <c:pt idx="16">
                  <c:v>0.44548275530804127</c:v>
                </c:pt>
                <c:pt idx="17">
                  <c:v>0.451152665785464</c:v>
                </c:pt>
                <c:pt idx="18">
                  <c:v>0.45670780074714973</c:v>
                </c:pt>
                <c:pt idx="19">
                  <c:v>0.4621516103589016</c:v>
                </c:pt>
                <c:pt idx="20">
                  <c:v>0.4674874078751825</c:v>
                </c:pt>
                <c:pt idx="21">
                  <c:v>0.4727183763636385</c:v>
                </c:pt>
                <c:pt idx="22">
                  <c:v>0.4778475750371437</c:v>
                </c:pt>
                <c:pt idx="23">
                  <c:v>0.4828779452198303</c:v>
                </c:pt>
                <c:pt idx="24">
                  <c:v>0.48781231597154956</c:v>
                </c:pt>
                <c:pt idx="25">
                  <c:v>0.49265340939336844</c:v>
                </c:pt>
                <c:pt idx="26">
                  <c:v>0.49740384563500356</c:v>
                </c:pt>
                <c:pt idx="27">
                  <c:v>0.5020661476235472</c:v>
                </c:pt>
                <c:pt idx="28">
                  <c:v>0.506642745531419</c:v>
                </c:pt>
                <c:pt idx="29">
                  <c:v>0.5111359810001675</c:v>
                </c:pt>
                <c:pt idx="30">
                  <c:v>0.515548111135545</c:v>
                </c:pt>
                <c:pt idx="31">
                  <c:v>0.5198813122881787</c:v>
                </c:pt>
                <c:pt idx="32">
                  <c:v>0.5241376836331417</c:v>
                </c:pt>
                <c:pt idx="33">
                  <c:v>0.5283192505607942</c:v>
                </c:pt>
                <c:pt idx="34">
                  <c:v>0.532427967890404</c:v>
                </c:pt>
                <c:pt idx="35">
                  <c:v>0.5364657229172572</c:v>
                </c:pt>
                <c:pt idx="36">
                  <c:v>0.5404343383032396</c:v>
                </c:pt>
                <c:pt idx="37">
                  <c:v>0.5443355748201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B$2:$B$82</c:f>
              <c:numCache>
                <c:formatCode>General</c:formatCode>
                <c:ptCount val="81"/>
                <c:pt idx="0">
                  <c:v>157.52989367716773</c:v>
                </c:pt>
                <c:pt idx="1">
                  <c:v>155.87377154966543</c:v>
                </c:pt>
                <c:pt idx="2">
                  <c:v>154.24971936521612</c:v>
                </c:pt>
                <c:pt idx="3">
                  <c:v>152.65689597308477</c:v>
                </c:pt>
                <c:pt idx="4">
                  <c:v>151.09448768515284</c:v>
                </c:pt>
                <c:pt idx="5">
                  <c:v>149.5617072021421</c:v>
                </c:pt>
                <c:pt idx="6">
                  <c:v>148.05779258653976</c:v>
                </c:pt>
                <c:pt idx="7">
                  <c:v>146.5820062802518</c:v>
                </c:pt>
                <c:pt idx="8">
                  <c:v>145.13363416505888</c:v>
                </c:pt>
                <c:pt idx="9">
                  <c:v>143.71198466401495</c:v>
                </c:pt>
                <c:pt idx="10">
                  <c:v>142.31638788199214</c:v>
                </c:pt>
                <c:pt idx="11">
                  <c:v>140.94619478363032</c:v>
                </c:pt>
                <c:pt idx="12">
                  <c:v>139.60077640701542</c:v>
                </c:pt>
                <c:pt idx="13">
                  <c:v>138.27952311147905</c:v>
                </c:pt>
                <c:pt idx="14">
                  <c:v>136.98184385796023</c:v>
                </c:pt>
                <c:pt idx="15">
                  <c:v>135.70716552044894</c:v>
                </c:pt>
                <c:pt idx="16">
                  <c:v>134.4549322270819</c:v>
                </c:pt>
                <c:pt idx="17">
                  <c:v>133.224604729518</c:v>
                </c:pt>
                <c:pt idx="18">
                  <c:v>132.01565979929205</c:v>
                </c:pt>
                <c:pt idx="19">
                  <c:v>130.82758964988741</c:v>
                </c:pt>
                <c:pt idx="20">
                  <c:v>129.659901383339</c:v>
                </c:pt>
                <c:pt idx="21">
                  <c:v>127.89067972683783</c:v>
                </c:pt>
                <c:pt idx="22">
                  <c:v>126.16540136055309</c:v>
                </c:pt>
                <c:pt idx="23">
                  <c:v>124.48256820600119</c:v>
                </c:pt>
                <c:pt idx="24">
                  <c:v>122.84074551331861</c:v>
                </c:pt>
                <c:pt idx="25">
                  <c:v>121.23855871308575</c:v>
                </c:pt>
                <c:pt idx="26">
                  <c:v>119.67469044060822</c:v>
                </c:pt>
                <c:pt idx="27">
                  <c:v>118.14787772324826</c:v>
                </c:pt>
                <c:pt idx="28">
                  <c:v>116.65690932181407</c:v>
                </c:pt>
                <c:pt idx="29">
                  <c:v>115.2006232174092</c:v>
                </c:pt>
                <c:pt idx="30">
                  <c:v>113.7779042355626</c:v>
                </c:pt>
                <c:pt idx="31">
                  <c:v>112.3876817998538</c:v>
                </c:pt>
                <c:pt idx="32">
                  <c:v>111.02892780765107</c:v>
                </c:pt>
                <c:pt idx="33">
                  <c:v>109.7006546209619</c:v>
                </c:pt>
                <c:pt idx="34">
                  <c:v>108.40191316577601</c:v>
                </c:pt>
                <c:pt idx="35">
                  <c:v>107.1317911336354</c:v>
                </c:pt>
                <c:pt idx="36">
                  <c:v>105.88941127952015</c:v>
                </c:pt>
                <c:pt idx="37">
                  <c:v>104.67392981047435</c:v>
                </c:pt>
                <c:pt idx="38">
                  <c:v>103.48453485970923</c:v>
                </c:pt>
                <c:pt idx="39">
                  <c:v>102.32044504122942</c:v>
                </c:pt>
                <c:pt idx="40">
                  <c:v>101.1809080803215</c:v>
                </c:pt>
                <c:pt idx="41">
                  <c:v>100.58705105011437</c:v>
                </c:pt>
                <c:pt idx="42">
                  <c:v>100.0</c:v>
                </c:pt>
                <c:pt idx="43">
                  <c:v>99.41964718923055</c:v>
                </c:pt>
                <c:pt idx="44">
                  <c:v>98.84588693146162</c:v>
                </c:pt>
                <c:pt idx="45">
                  <c:v>98.27861554895992</c:v>
                </c:pt>
                <c:pt idx="46">
                  <c:v>97.71773132799906</c:v>
                </c:pt>
                <c:pt idx="47">
                  <c:v>97.16313447541476</c:v>
                </c:pt>
                <c:pt idx="48">
                  <c:v>96.61472707628374</c:v>
                </c:pt>
                <c:pt idx="49">
                  <c:v>96.07241305268903</c:v>
                </c:pt>
                <c:pt idx="50">
                  <c:v>95.53609812354662</c:v>
                </c:pt>
                <c:pt idx="51">
                  <c:v>95.00568976545289</c:v>
                </c:pt>
                <c:pt idx="52">
                  <c:v>94.48109717453426</c:v>
                </c:pt>
                <c:pt idx="53">
                  <c:v>93.96223122925618</c:v>
                </c:pt>
                <c:pt idx="54">
                  <c:v>93.44900445417653</c:v>
                </c:pt>
                <c:pt idx="55">
                  <c:v>92.9413309846036</c:v>
                </c:pt>
                <c:pt idx="56">
                  <c:v>92.43912653214443</c:v>
                </c:pt>
                <c:pt idx="57">
                  <c:v>91.94230835110505</c:v>
                </c:pt>
                <c:pt idx="58">
                  <c:v>91.4507952057289</c:v>
                </c:pt>
                <c:pt idx="59">
                  <c:v>90.96450733824163</c:v>
                </c:pt>
                <c:pt idx="60">
                  <c:v>90.48336643768356</c:v>
                </c:pt>
                <c:pt idx="61">
                  <c:v>89.43130007678768</c:v>
                </c:pt>
                <c:pt idx="62">
                  <c:v>88.39596542287744</c:v>
                </c:pt>
                <c:pt idx="63">
                  <c:v>87.37702874376045</c:v>
                </c:pt>
                <c:pt idx="64">
                  <c:v>86.37416435667194</c:v>
                </c:pt>
                <c:pt idx="65">
                  <c:v>85.3870543918339</c:v>
                </c:pt>
                <c:pt idx="66">
                  <c:v>84.41538856372387</c:v>
                </c:pt>
                <c:pt idx="67">
                  <c:v>83.4588639498744</c:v>
                </c:pt>
                <c:pt idx="68">
                  <c:v>82.51718477701371</c:v>
                </c:pt>
                <c:pt idx="69">
                  <c:v>81.59006221434792</c:v>
                </c:pt>
                <c:pt idx="70">
                  <c:v>80.67721417379286</c:v>
                </c:pt>
                <c:pt idx="71">
                  <c:v>79.77836511695067</c:v>
                </c:pt>
                <c:pt idx="72">
                  <c:v>78.89324586862605</c:v>
                </c:pt>
                <c:pt idx="73">
                  <c:v>78.02159343668407</c:v>
                </c:pt>
                <c:pt idx="74">
                  <c:v>77.16315083804062</c:v>
                </c:pt>
                <c:pt idx="75">
                  <c:v>76.31766693058945</c:v>
                </c:pt>
                <c:pt idx="76">
                  <c:v>75.48489625086293</c:v>
                </c:pt>
                <c:pt idx="77">
                  <c:v>74.66459885722965</c:v>
                </c:pt>
                <c:pt idx="78">
                  <c:v>73.85654017843967</c:v>
                </c:pt>
                <c:pt idx="79">
                  <c:v>73.06049086731977</c:v>
                </c:pt>
                <c:pt idx="80">
                  <c:v>72.276226659440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C$2:$C$82</c:f>
              <c:numCache>
                <c:formatCode>General</c:formatCode>
                <c:ptCount val="81"/>
                <c:pt idx="0">
                  <c:v>124.72899470371313</c:v>
                </c:pt>
                <c:pt idx="1">
                  <c:v>124.18916179871889</c:v>
                </c:pt>
                <c:pt idx="2">
                  <c:v>123.65871493667396</c:v>
                </c:pt>
                <c:pt idx="3">
                  <c:v>123.13744769473527</c:v>
                </c:pt>
                <c:pt idx="4">
                  <c:v>122.62515950542543</c:v>
                </c:pt>
                <c:pt idx="5">
                  <c:v>122.12165544729201</c:v>
                </c:pt>
                <c:pt idx="6">
                  <c:v>121.62674604276145</c:v>
                </c:pt>
                <c:pt idx="7">
                  <c:v>121.14024706312618</c:v>
                </c:pt>
                <c:pt idx="8">
                  <c:v>120.66197934057608</c:v>
                </c:pt>
                <c:pt idx="9">
                  <c:v>120.19176858716072</c:v>
                </c:pt>
                <c:pt idx="10">
                  <c:v>119.72944522055545</c:v>
                </c:pt>
                <c:pt idx="11">
                  <c:v>119.27484419647757</c:v>
                </c:pt>
                <c:pt idx="12">
                  <c:v>118.82780484759358</c:v>
                </c:pt>
                <c:pt idx="13">
                  <c:v>118.38817072874383</c:v>
                </c:pt>
                <c:pt idx="14">
                  <c:v>117.95578946830344</c:v>
                </c:pt>
                <c:pt idx="15">
                  <c:v>117.53051262549212</c:v>
                </c:pt>
                <c:pt idx="16">
                  <c:v>117.1121955534457</c:v>
                </c:pt>
                <c:pt idx="17">
                  <c:v>116.70069726784853</c:v>
                </c:pt>
                <c:pt idx="18">
                  <c:v>116.29588032093854</c:v>
                </c:pt>
                <c:pt idx="19">
                  <c:v>115.89761068068663</c:v>
                </c:pt>
                <c:pt idx="20">
                  <c:v>115.5057576149598</c:v>
                </c:pt>
                <c:pt idx="21">
                  <c:v>114.56356461479761</c:v>
                </c:pt>
                <c:pt idx="22">
                  <c:v>113.64350444397225</c:v>
                </c:pt>
                <c:pt idx="23">
                  <c:v>112.74486652979117</c:v>
                </c:pt>
                <c:pt idx="24">
                  <c:v>111.86696880441815</c:v>
                </c:pt>
                <c:pt idx="25">
                  <c:v>111.00915635043278</c:v>
                </c:pt>
                <c:pt idx="26">
                  <c:v>110.1708001149055</c:v>
                </c:pt>
                <c:pt idx="27">
                  <c:v>109.35129568897273</c:v>
                </c:pt>
                <c:pt idx="28">
                  <c:v>108.55006214994016</c:v>
                </c:pt>
                <c:pt idx="29">
                  <c:v>107.7665409629731</c:v>
                </c:pt>
                <c:pt idx="30">
                  <c:v>107.00019493951088</c:v>
                </c:pt>
                <c:pt idx="31">
                  <c:v>106.25050724960754</c:v>
                </c:pt>
                <c:pt idx="32">
                  <c:v>105.51698048549318</c:v>
                </c:pt>
                <c:pt idx="33">
                  <c:v>104.79913577373989</c:v>
                </c:pt>
                <c:pt idx="34">
                  <c:v>104.09651193351725</c:v>
                </c:pt>
                <c:pt idx="35">
                  <c:v>103.40866467851623</c:v>
                </c:pt>
                <c:pt idx="36">
                  <c:v>102.735165860227</c:v>
                </c:pt>
                <c:pt idx="37">
                  <c:v>102.07560275036008</c:v>
                </c:pt>
                <c:pt idx="38">
                  <c:v>101.42957736029632</c:v>
                </c:pt>
                <c:pt idx="39">
                  <c:v>100.79670579555567</c:v>
                </c:pt>
                <c:pt idx="40">
                  <c:v>100.17661764337579</c:v>
                </c:pt>
                <c:pt idx="41">
                  <c:v>100.0878513699198</c:v>
                </c:pt>
                <c:pt idx="42">
                  <c:v>100.0</c:v>
                </c:pt>
                <c:pt idx="43">
                  <c:v>99.91305642849609</c:v>
                </c:pt>
                <c:pt idx="44">
                  <c:v>99.82701349182369</c:v>
                </c:pt>
                <c:pt idx="45">
                  <c:v>99.7418639722678</c:v>
                </c:pt>
                <c:pt idx="46">
                  <c:v>99.65760060216833</c:v>
                </c:pt>
                <c:pt idx="47">
                  <c:v>99.57421606797222</c:v>
                </c:pt>
                <c:pt idx="48">
                  <c:v>99.49170301415289</c:v>
                </c:pt>
                <c:pt idx="49">
                  <c:v>99.41005404699872</c:v>
                </c:pt>
                <c:pt idx="50">
                  <c:v>99.3292617382819</c:v>
                </c:pt>
                <c:pt idx="51">
                  <c:v>99.24931862880237</c:v>
                </c:pt>
                <c:pt idx="52">
                  <c:v>99.17021723182103</c:v>
                </c:pt>
                <c:pt idx="53">
                  <c:v>99.09195003637393</c:v>
                </c:pt>
                <c:pt idx="54">
                  <c:v>99.01450951048369</c:v>
                </c:pt>
                <c:pt idx="55">
                  <c:v>98.93788810425764</c:v>
                </c:pt>
                <c:pt idx="56">
                  <c:v>98.86207825289065</c:v>
                </c:pt>
                <c:pt idx="57">
                  <c:v>98.78707237956043</c:v>
                </c:pt>
                <c:pt idx="58">
                  <c:v>98.71286289823104</c:v>
                </c:pt>
                <c:pt idx="59">
                  <c:v>98.63944221635855</c:v>
                </c:pt>
                <c:pt idx="60">
                  <c:v>98.56680273750618</c:v>
                </c:pt>
                <c:pt idx="61">
                  <c:v>97.86520573746053</c:v>
                </c:pt>
                <c:pt idx="62">
                  <c:v>97.1715786297453</c:v>
                </c:pt>
                <c:pt idx="63">
                  <c:v>96.48580059754336</c:v>
                </c:pt>
                <c:pt idx="64">
                  <c:v>95.80775319326173</c:v>
                </c:pt>
                <c:pt idx="65">
                  <c:v>95.13732027191341</c:v>
                </c:pt>
                <c:pt idx="66">
                  <c:v>94.47438792622359</c:v>
                </c:pt>
                <c:pt idx="67">
                  <c:v>93.81884442352052</c:v>
                </c:pt>
                <c:pt idx="68">
                  <c:v>93.17058014444999</c:v>
                </c:pt>
                <c:pt idx="69">
                  <c:v>92.52948752353855</c:v>
                </c:pt>
                <c:pt idx="70">
                  <c:v>91.89546099162614</c:v>
                </c:pt>
                <c:pt idx="71">
                  <c:v>91.26839692017205</c:v>
                </c:pt>
                <c:pt idx="72">
                  <c:v>90.64819356742582</c:v>
                </c:pt>
                <c:pt idx="73">
                  <c:v>90.03475102645675</c:v>
                </c:pt>
                <c:pt idx="74">
                  <c:v>89.42797117501766</c:v>
                </c:pt>
                <c:pt idx="75">
                  <c:v>88.82775762721997</c:v>
                </c:pt>
                <c:pt idx="76">
                  <c:v>88.23401568698758</c:v>
                </c:pt>
                <c:pt idx="77">
                  <c:v>87.64665230325267</c:v>
                </c:pt>
                <c:pt idx="78">
                  <c:v>87.06557602685909</c:v>
                </c:pt>
                <c:pt idx="79">
                  <c:v>86.4906969691219</c:v>
                </c:pt>
                <c:pt idx="80">
                  <c:v>85.9219267620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D$2:$D$82</c:f>
              <c:numCache>
                <c:formatCode>General</c:formatCode>
                <c:ptCount val="81"/>
                <c:pt idx="0">
                  <c:v>84.72945593142624</c:v>
                </c:pt>
                <c:pt idx="1">
                  <c:v>85.55381059050708</c:v>
                </c:pt>
                <c:pt idx="2">
                  <c:v>86.35967471086187</c:v>
                </c:pt>
                <c:pt idx="3">
                  <c:v>87.14762672525816</c:v>
                </c:pt>
                <c:pt idx="4">
                  <c:v>87.91822402466465</c:v>
                </c:pt>
                <c:pt idx="5">
                  <c:v>88.67200383252455</c:v>
                </c:pt>
                <c:pt idx="6">
                  <c:v>89.40948403634103</c:v>
                </c:pt>
                <c:pt idx="7">
                  <c:v>90.13116397895737</c:v>
                </c:pt>
                <c:pt idx="8">
                  <c:v>90.83752521177415</c:v>
                </c:pt>
                <c:pt idx="9">
                  <c:v>91.52903221201231</c:v>
                </c:pt>
                <c:pt idx="10">
                  <c:v>92.20613306601551</c:v>
                </c:pt>
                <c:pt idx="11">
                  <c:v>92.86926012045565</c:v>
                </c:pt>
                <c:pt idx="12">
                  <c:v>93.51883060320348</c:v>
                </c:pt>
                <c:pt idx="13">
                  <c:v>94.15524721551839</c:v>
                </c:pt>
                <c:pt idx="14">
                  <c:v>94.77889869710914</c:v>
                </c:pt>
                <c:pt idx="15">
                  <c:v>95.39016036553208</c:v>
                </c:pt>
                <c:pt idx="16">
                  <c:v>95.98939463129963</c:v>
                </c:pt>
                <c:pt idx="17">
                  <c:v>96.57695148998944</c:v>
                </c:pt>
                <c:pt idx="18">
                  <c:v>97.15316899257341</c:v>
                </c:pt>
                <c:pt idx="19">
                  <c:v>97.71837369510428</c:v>
                </c:pt>
                <c:pt idx="20">
                  <c:v>98.27288108884056</c:v>
                </c:pt>
                <c:pt idx="21">
                  <c:v>98.33915382155595</c:v>
                </c:pt>
                <c:pt idx="22">
                  <c:v>98.4007650051304</c:v>
                </c:pt>
                <c:pt idx="23">
                  <c:v>98.45798031201868</c:v>
                </c:pt>
                <c:pt idx="24">
                  <c:v>98.51105026546267</c:v>
                </c:pt>
                <c:pt idx="25">
                  <c:v>98.56021116430736</c:v>
                </c:pt>
                <c:pt idx="26">
                  <c:v>98.60568594207282</c:v>
                </c:pt>
                <c:pt idx="27">
                  <c:v>98.64768496570807</c:v>
                </c:pt>
                <c:pt idx="28">
                  <c:v>98.68640677898091</c:v>
                </c:pt>
                <c:pt idx="29">
                  <c:v>98.72203879499911</c:v>
                </c:pt>
                <c:pt idx="30">
                  <c:v>98.75475794196934</c:v>
                </c:pt>
                <c:pt idx="31">
                  <c:v>98.7847312659236</c:v>
                </c:pt>
                <c:pt idx="32">
                  <c:v>98.81211649381754</c:v>
                </c:pt>
                <c:pt idx="33">
                  <c:v>98.83706256009755</c:v>
                </c:pt>
                <c:pt idx="34">
                  <c:v>98.85971009956872</c:v>
                </c:pt>
                <c:pt idx="35">
                  <c:v>98.88019190913381</c:v>
                </c:pt>
                <c:pt idx="36">
                  <c:v>98.89863338075881</c:v>
                </c:pt>
                <c:pt idx="37">
                  <c:v>98.91515290781253</c:v>
                </c:pt>
                <c:pt idx="38">
                  <c:v>98.92986226673919</c:v>
                </c:pt>
                <c:pt idx="39">
                  <c:v>98.94286697585778</c:v>
                </c:pt>
                <c:pt idx="40">
                  <c:v>98.95426663293027</c:v>
                </c:pt>
                <c:pt idx="41">
                  <c:v>99.48026469491951</c:v>
                </c:pt>
                <c:pt idx="42">
                  <c:v>100.0</c:v>
                </c:pt>
                <c:pt idx="43">
                  <c:v>100.51358828600758</c:v>
                </c:pt>
                <c:pt idx="44">
                  <c:v>101.02114264839024</c:v>
                </c:pt>
                <c:pt idx="45">
                  <c:v>101.52277360592998</c:v>
                </c:pt>
                <c:pt idx="46">
                  <c:v>102.01858916468186</c:v>
                </c:pt>
                <c:pt idx="47">
                  <c:v>102.50869488019147</c:v>
                </c:pt>
                <c:pt idx="48">
                  <c:v>102.99319391804214</c:v>
                </c:pt>
                <c:pt idx="49">
                  <c:v>103.47218711277826</c:v>
                </c:pt>
                <c:pt idx="50">
                  <c:v>103.94577302526051</c:v>
                </c:pt>
                <c:pt idx="51">
                  <c:v>104.41404799849217</c:v>
                </c:pt>
                <c:pt idx="52">
                  <c:v>104.87710621197107</c:v>
                </c:pt>
                <c:pt idx="53">
                  <c:v>105.33503973460023</c:v>
                </c:pt>
                <c:pt idx="54">
                  <c:v>105.787938576211</c:v>
                </c:pt>
                <c:pt idx="55">
                  <c:v>106.23589073772746</c:v>
                </c:pt>
                <c:pt idx="56">
                  <c:v>106.67898226002586</c:v>
                </c:pt>
                <c:pt idx="57">
                  <c:v>107.11729727151085</c:v>
                </c:pt>
                <c:pt idx="58">
                  <c:v>107.55091803445984</c:v>
                </c:pt>
                <c:pt idx="59">
                  <c:v>107.97992499016225</c:v>
                </c:pt>
                <c:pt idx="60">
                  <c:v>108.40439680289113</c:v>
                </c:pt>
                <c:pt idx="61">
                  <c:v>108.12799603079422</c:v>
                </c:pt>
                <c:pt idx="62">
                  <c:v>107.84885669723663</c:v>
                </c:pt>
                <c:pt idx="63">
                  <c:v>107.56712026538635</c:v>
                </c:pt>
                <c:pt idx="64">
                  <c:v>107.28292350779964</c:v>
                </c:pt>
                <c:pt idx="65">
                  <c:v>106.99639865299267</c:v>
                </c:pt>
                <c:pt idx="66">
                  <c:v>106.70767352614912</c:v>
                </c:pt>
                <c:pt idx="67">
                  <c:v>106.4168716843295</c:v>
                </c:pt>
                <c:pt idx="68">
                  <c:v>106.1241125465182</c:v>
                </c:pt>
                <c:pt idx="69">
                  <c:v>105.82951151881514</c:v>
                </c:pt>
                <c:pt idx="70">
                  <c:v>105.53318011507015</c:v>
                </c:pt>
                <c:pt idx="71">
                  <c:v>105.23522607322629</c:v>
                </c:pt>
                <c:pt idx="72">
                  <c:v>104.93575346761781</c:v>
                </c:pt>
                <c:pt idx="73">
                  <c:v>104.63486281746124</c:v>
                </c:pt>
                <c:pt idx="74">
                  <c:v>104.33265119174604</c:v>
                </c:pt>
                <c:pt idx="75">
                  <c:v>104.0292123107287</c:v>
                </c:pt>
                <c:pt idx="76">
                  <c:v>103.72463664420984</c:v>
                </c:pt>
                <c:pt idx="77">
                  <c:v>103.41901150676318</c:v>
                </c:pt>
                <c:pt idx="78">
                  <c:v>103.11242115007776</c:v>
                </c:pt>
                <c:pt idx="79">
                  <c:v>102.80494685254844</c:v>
                </c:pt>
                <c:pt idx="80">
                  <c:v>102.49666700625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E$2:$E$82</c:f>
              <c:numCache>
                <c:formatCode>General</c:formatCode>
                <c:ptCount val="81"/>
                <c:pt idx="0">
                  <c:v>0.3093802816104097</c:v>
                </c:pt>
                <c:pt idx="1">
                  <c:v>0.31372380185185367</c:v>
                </c:pt>
                <c:pt idx="2">
                  <c:v>0.3180130280902795</c:v>
                </c:pt>
                <c:pt idx="3">
                  <c:v>0.32224897201518465</c:v>
                </c:pt>
                <c:pt idx="4">
                  <c:v>0.3264326203360785</c:v>
                </c:pt>
                <c:pt idx="5">
                  <c:v>0.3305649355487405</c:v>
                </c:pt>
                <c:pt idx="6">
                  <c:v>0.3346468566734434</c:v>
                </c:pt>
                <c:pt idx="7">
                  <c:v>0.33867929996633156</c:v>
                </c:pt>
                <c:pt idx="8">
                  <c:v>0.3426631596050887</c:v>
                </c:pt>
                <c:pt idx="9">
                  <c:v>0.3465993083499684</c:v>
                </c:pt>
                <c:pt idx="10">
                  <c:v>0.3504885981812186</c:v>
                </c:pt>
                <c:pt idx="11">
                  <c:v>0.354331860913874</c:v>
                </c:pt>
                <c:pt idx="12">
                  <c:v>0.3581299087908513</c:v>
                </c:pt>
                <c:pt idx="13">
                  <c:v>0.36188353505523235</c:v>
                </c:pt>
                <c:pt idx="14">
                  <c:v>0.36559351450258565</c:v>
                </c:pt>
                <c:pt idx="15">
                  <c:v>0.3692606040141313</c:v>
                </c:pt>
                <c:pt idx="16">
                  <c:v>0.37288554307152144</c:v>
                </c:pt>
                <c:pt idx="17">
                  <c:v>0.37646905425396987</c:v>
                </c:pt>
                <c:pt idx="18">
                  <c:v>0.3800118437184358</c:v>
                </c:pt>
                <c:pt idx="19">
                  <c:v>0.38351460166352946</c:v>
                </c:pt>
                <c:pt idx="20">
                  <c:v>0.38697800277777933</c:v>
                </c:pt>
                <c:pt idx="21">
                  <c:v>0.3904027066728755</c:v>
                </c:pt>
                <c:pt idx="22">
                  <c:v>0.3937893583024707</c:v>
                </c:pt>
                <c:pt idx="23">
                  <c:v>0.3971385883670979</c:v>
                </c:pt>
                <c:pt idx="24">
                  <c:v>0.4004510137057401</c:v>
                </c:pt>
                <c:pt idx="25">
                  <c:v>0.4037272376745612</c:v>
                </c:pt>
                <c:pt idx="26">
                  <c:v>0.4069678505132864</c:v>
                </c:pt>
                <c:pt idx="27">
                  <c:v>0.4101734296997012</c:v>
                </c:pt>
                <c:pt idx="28">
                  <c:v>0.41334454029271356</c:v>
                </c:pt>
                <c:pt idx="29">
                  <c:v>0.4164817352644103</c:v>
                </c:pt>
                <c:pt idx="30">
                  <c:v>0.41958555582151447</c:v>
                </c:pt>
                <c:pt idx="31">
                  <c:v>0.4226565317166387</c:v>
                </c:pt>
                <c:pt idx="32">
                  <c:v>0.4256951815497091</c:v>
                </c:pt>
                <c:pt idx="33">
                  <c:v>0.42870201305992</c:v>
                </c:pt>
                <c:pt idx="34">
                  <c:v>0.43167752340856624</c:v>
                </c:pt>
                <c:pt idx="35">
                  <c:v>0.43462219945308145</c:v>
                </c:pt>
                <c:pt idx="36">
                  <c:v>0.4375365180126015</c:v>
                </c:pt>
                <c:pt idx="37">
                  <c:v>0.44042094612535765</c:v>
                </c:pt>
                <c:pt idx="38">
                  <c:v>0.4432759412981874</c:v>
                </c:pt>
                <c:pt idx="39">
                  <c:v>0.4461019517484503</c:v>
                </c:pt>
                <c:pt idx="40">
                  <c:v>0.4488994166386097</c:v>
                </c:pt>
                <c:pt idx="41">
                  <c:v>0.45166876630374225</c:v>
                </c:pt>
                <c:pt idx="42">
                  <c:v>0.4544104224722235</c:v>
                </c:pt>
                <c:pt idx="43">
                  <c:v>0.45712479847982446</c:v>
                </c:pt>
                <c:pt idx="44">
                  <c:v>0.45981229947744917</c:v>
                </c:pt>
                <c:pt idx="45">
                  <c:v>0.46247332263273255</c:v>
                </c:pt>
                <c:pt idx="46">
                  <c:v>0.4651082573257095</c:v>
                </c:pt>
                <c:pt idx="47">
                  <c:v>0.46771748533875473</c:v>
                </c:pt>
                <c:pt idx="48">
                  <c:v>0.4703013810409938</c:v>
                </c:pt>
                <c:pt idx="49">
                  <c:v>0.47286031156736585</c:v>
                </c:pt>
                <c:pt idx="50">
                  <c:v>0.4753946369925227</c:v>
                </c:pt>
                <c:pt idx="51">
                  <c:v>0.4779047104997355</c:v>
                </c:pt>
                <c:pt idx="52">
                  <c:v>0.48039087854497486</c:v>
                </c:pt>
                <c:pt idx="53">
                  <c:v>0.4828534810163256</c:v>
                </c:pt>
                <c:pt idx="54">
                  <c:v>0.4852928513888902</c:v>
                </c:pt>
                <c:pt idx="55">
                  <c:v>0.4877093168753273</c:v>
                </c:pt>
                <c:pt idx="56">
                  <c:v>0.4901031985721716</c:v>
                </c:pt>
                <c:pt idx="57">
                  <c:v>0.49247481160206846</c:v>
                </c:pt>
                <c:pt idx="58">
                  <c:v>0.49482446525205886</c:v>
                </c:pt>
                <c:pt idx="59">
                  <c:v>0.4971524631080401</c:v>
                </c:pt>
                <c:pt idx="60">
                  <c:v>0.49945910318552617</c:v>
                </c:pt>
                <c:pt idx="61">
                  <c:v>0.5017446780568252</c:v>
                </c:pt>
                <c:pt idx="62">
                  <c:v>0.5040094749747488</c:v>
                </c:pt>
                <c:pt idx="63">
                  <c:v>0.5062537759929626</c:v>
                </c:pt>
                <c:pt idx="64">
                  <c:v>0.5084778580830843</c:v>
                </c:pt>
                <c:pt idx="65">
                  <c:v>0.510681993248631</c:v>
                </c:pt>
                <c:pt idx="66">
                  <c:v>0.5128664486359139</c:v>
                </c:pt>
                <c:pt idx="67">
                  <c:v>0.5150314866419766</c:v>
                </c:pt>
                <c:pt idx="68">
                  <c:v>0.5171773650196669</c:v>
                </c:pt>
                <c:pt idx="69">
                  <c:v>0.5193043369799327</c:v>
                </c:pt>
                <c:pt idx="70">
                  <c:v>0.5214126512914241</c:v>
                </c:pt>
                <c:pt idx="71">
                  <c:v>0.5235025523774879</c:v>
                </c:pt>
                <c:pt idx="72">
                  <c:v>0.5255742804106293</c:v>
                </c:pt>
                <c:pt idx="73">
                  <c:v>0.5276280714045226</c:v>
                </c:pt>
                <c:pt idx="74">
                  <c:v>0.529664157303641</c:v>
                </c:pt>
                <c:pt idx="75">
                  <c:v>0.5316827660705782</c:v>
                </c:pt>
                <c:pt idx="76">
                  <c:v>0.5336841217711312</c:v>
                </c:pt>
                <c:pt idx="77">
                  <c:v>0.5356684446572115</c:v>
                </c:pt>
                <c:pt idx="78">
                  <c:v>0.5376359512476472</c:v>
                </c:pt>
                <c:pt idx="79">
                  <c:v>0.5395868544069398</c:v>
                </c:pt>
                <c:pt idx="80">
                  <c:v>0.54152136342203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B$2:$B$93</c:f>
              <c:numCache>
                <c:formatCode>General</c:formatCode>
                <c:ptCount val="92"/>
                <c:pt idx="0">
                  <c:v>146.67582601041735</c:v>
                </c:pt>
                <c:pt idx="1">
                  <c:v>144.51433082615705</c:v>
                </c:pt>
                <c:pt idx="2">
                  <c:v>142.41644895738995</c:v>
                </c:pt>
                <c:pt idx="3">
                  <c:v>140.3793329445616</c:v>
                </c:pt>
                <c:pt idx="4">
                  <c:v>138.40028528686133</c:v>
                </c:pt>
                <c:pt idx="5">
                  <c:v>136.4767497590126</c:v>
                </c:pt>
                <c:pt idx="6">
                  <c:v>134.67292569306804</c:v>
                </c:pt>
                <c:pt idx="7">
                  <c:v>132.92079976092893</c:v>
                </c:pt>
                <c:pt idx="8">
                  <c:v>131.20111085877676</c:v>
                </c:pt>
                <c:pt idx="9">
                  <c:v>129.51312185683744</c:v>
                </c:pt>
                <c:pt idx="10">
                  <c:v>127.85611414142957</c:v>
                </c:pt>
                <c:pt idx="11">
                  <c:v>126.2293870360609</c:v>
                </c:pt>
                <c:pt idx="12">
                  <c:v>124.63225722538982</c:v>
                </c:pt>
                <c:pt idx="13">
                  <c:v>123.06405818782575</c:v>
                </c:pt>
                <c:pt idx="14">
                  <c:v>121.8201609418278</c:v>
                </c:pt>
                <c:pt idx="15">
                  <c:v>120.66757764146121</c:v>
                </c:pt>
                <c:pt idx="16">
                  <c:v>119.53087646076584</c:v>
                </c:pt>
                <c:pt idx="17">
                  <c:v>118.40980866391268</c:v>
                </c:pt>
                <c:pt idx="18">
                  <c:v>117.3041295663887</c:v>
                </c:pt>
                <c:pt idx="19">
                  <c:v>116.21359835850566</c:v>
                </c:pt>
                <c:pt idx="20">
                  <c:v>115.13797795252461</c:v>
                </c:pt>
                <c:pt idx="21">
                  <c:v>114.07703485108462</c:v>
                </c:pt>
                <c:pt idx="22">
                  <c:v>113.0305390346473</c:v>
                </c:pt>
                <c:pt idx="23">
                  <c:v>111.9982638657278</c:v>
                </c:pt>
                <c:pt idx="24">
                  <c:v>110.97998600775014</c:v>
                </c:pt>
                <c:pt idx="25">
                  <c:v>109.9754853565011</c:v>
                </c:pt>
                <c:pt idx="26">
                  <c:v>108.98454498227288</c:v>
                </c:pt>
                <c:pt idx="27">
                  <c:v>108.00695108094232</c:v>
                </c:pt>
                <c:pt idx="28">
                  <c:v>107.04249293239066</c:v>
                </c:pt>
                <c:pt idx="29">
                  <c:v>106.09096286482864</c:v>
                </c:pt>
                <c:pt idx="30">
                  <c:v>105.15215622375116</c:v>
                </c:pt>
                <c:pt idx="31">
                  <c:v>104.22587134440992</c:v>
                </c:pt>
                <c:pt idx="32">
                  <c:v>103.31190952683671</c:v>
                </c:pt>
                <c:pt idx="33">
                  <c:v>102.41007501260073</c:v>
                </c:pt>
                <c:pt idx="34">
                  <c:v>101.22897256230183</c:v>
                </c:pt>
                <c:pt idx="35">
                  <c:v>100.0</c:v>
                </c:pt>
                <c:pt idx="36">
                  <c:v>98.79675783097974</c:v>
                </c:pt>
                <c:pt idx="37">
                  <c:v>97.61855774908295</c:v>
                </c:pt>
                <c:pt idx="38">
                  <c:v>96.46472372162671</c:v>
                </c:pt>
                <c:pt idx="39">
                  <c:v>95.33459270866139</c:v>
                </c:pt>
                <c:pt idx="40">
                  <c:v>94.22751527364318</c:v>
                </c:pt>
                <c:pt idx="41">
                  <c:v>93.1428560904356</c:v>
                </c:pt>
                <c:pt idx="42">
                  <c:v>92.07999435245232</c:v>
                </c:pt>
                <c:pt idx="43">
                  <c:v>91.03832409036895</c:v>
                </c:pt>
                <c:pt idx="44">
                  <c:v>90.01725440517399</c:v>
                </c:pt>
                <c:pt idx="45">
                  <c:v>89.01620962349183</c:v>
                </c:pt>
                <c:pt idx="46">
                  <c:v>88.03462938208555</c:v>
                </c:pt>
                <c:pt idx="47">
                  <c:v>87.07196864833226</c:v>
                </c:pt>
                <c:pt idx="48">
                  <c:v>86.12769768322414</c:v>
                </c:pt>
                <c:pt idx="49">
                  <c:v>85.2013019531687</c:v>
                </c:pt>
                <c:pt idx="50">
                  <c:v>84.29228199651844</c:v>
                </c:pt>
                <c:pt idx="51">
                  <c:v>83.40015325039585</c:v>
                </c:pt>
                <c:pt idx="52">
                  <c:v>82.5244458430042</c:v>
                </c:pt>
                <c:pt idx="53">
                  <c:v>81.66470435621916</c:v>
                </c:pt>
                <c:pt idx="54">
                  <c:v>81.17202402569868</c:v>
                </c:pt>
                <c:pt idx="55">
                  <c:v>80.77157274242506</c:v>
                </c:pt>
                <c:pt idx="56">
                  <c:v>80.37421142254956</c:v>
                </c:pt>
                <c:pt idx="57">
                  <c:v>79.97990619125498</c:v>
                </c:pt>
                <c:pt idx="58">
                  <c:v>79.58862364400096</c:v>
                </c:pt>
                <c:pt idx="59">
                  <c:v>79.20033083904976</c:v>
                </c:pt>
                <c:pt idx="60">
                  <c:v>78.8149952901146</c:v>
                </c:pt>
                <c:pt idx="61">
                  <c:v>78.43258495912526</c:v>
                </c:pt>
                <c:pt idx="62">
                  <c:v>78.05306824911172</c:v>
                </c:pt>
                <c:pt idx="63">
                  <c:v>77.67641399720547</c:v>
                </c:pt>
                <c:pt idx="64">
                  <c:v>77.302591467751</c:v>
                </c:pt>
                <c:pt idx="65">
                  <c:v>76.93157034553437</c:v>
                </c:pt>
                <c:pt idx="66">
                  <c:v>76.5633207291207</c:v>
                </c:pt>
                <c:pt idx="67">
                  <c:v>76.19781312430085</c:v>
                </c:pt>
                <c:pt idx="68">
                  <c:v>75.83501843764796</c:v>
                </c:pt>
                <c:pt idx="69">
                  <c:v>75.4749079701792</c:v>
                </c:pt>
                <c:pt idx="70">
                  <c:v>75.1174534111234</c:v>
                </c:pt>
                <c:pt idx="71">
                  <c:v>74.7626268317919</c:v>
                </c:pt>
                <c:pt idx="72">
                  <c:v>74.41040067955153</c:v>
                </c:pt>
                <c:pt idx="73">
                  <c:v>74.06074777189855</c:v>
                </c:pt>
                <c:pt idx="74">
                  <c:v>73.12695659335085</c:v>
                </c:pt>
                <c:pt idx="75">
                  <c:v>72.05960759975054</c:v>
                </c:pt>
                <c:pt idx="76">
                  <c:v>71.0065485205179</c:v>
                </c:pt>
                <c:pt idx="77">
                  <c:v>69.96778074478942</c:v>
                </c:pt>
                <c:pt idx="78">
                  <c:v>68.94330462005675</c:v>
                </c:pt>
                <c:pt idx="79">
                  <c:v>67.93311833010779</c:v>
                </c:pt>
                <c:pt idx="80">
                  <c:v>66.93721678927109</c:v>
                </c:pt>
                <c:pt idx="81">
                  <c:v>65.95559057367784</c:v>
                </c:pt>
                <c:pt idx="82">
                  <c:v>64.98822490938028</c:v>
                </c:pt>
                <c:pt idx="83">
                  <c:v>64.0350987356067</c:v>
                </c:pt>
                <c:pt idx="84">
                  <c:v>63.096183859326906</c:v>
                </c:pt>
                <c:pt idx="85">
                  <c:v>62.17144421470827</c:v>
                </c:pt>
                <c:pt idx="86">
                  <c:v>61.260835238100796</c:v>
                </c:pt>
                <c:pt idx="87">
                  <c:v>60.36430336604129</c:v>
                </c:pt>
                <c:pt idx="88">
                  <c:v>59.48178566052339</c:v>
                </c:pt>
                <c:pt idx="89">
                  <c:v>58.61320956260151</c:v>
                </c:pt>
                <c:pt idx="90">
                  <c:v>57.758492772379554</c:v>
                </c:pt>
                <c:pt idx="91">
                  <c:v>56.9175432506875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C$2:$C$93</c:f>
              <c:numCache>
                <c:formatCode>General</c:formatCode>
                <c:ptCount val="92"/>
                <c:pt idx="0">
                  <c:v>118.71244851785544</c:v>
                </c:pt>
                <c:pt idx="1">
                  <c:v>117.74880110423676</c:v>
                </c:pt>
                <c:pt idx="2">
                  <c:v>116.81404515927072</c:v>
                </c:pt>
                <c:pt idx="3">
                  <c:v>115.90684956752419</c:v>
                </c:pt>
                <c:pt idx="4">
                  <c:v>115.02594735189126</c:v>
                </c:pt>
                <c:pt idx="5">
                  <c:v>114.17013236539746</c:v>
                </c:pt>
                <c:pt idx="6">
                  <c:v>113.39217567331394</c:v>
                </c:pt>
                <c:pt idx="7">
                  <c:v>112.63811992411942</c:v>
                </c:pt>
                <c:pt idx="8">
                  <c:v>111.89292420194607</c:v>
                </c:pt>
                <c:pt idx="9">
                  <c:v>111.15647246623985</c:v>
                </c:pt>
                <c:pt idx="10">
                  <c:v>110.42864917901905</c:v>
                </c:pt>
                <c:pt idx="11">
                  <c:v>109.70933928204971</c:v>
                </c:pt>
                <c:pt idx="12">
                  <c:v>108.99842815861113</c:v>
                </c:pt>
                <c:pt idx="13">
                  <c:v>108.29580158502947</c:v>
                </c:pt>
                <c:pt idx="14">
                  <c:v>107.86462398556563</c:v>
                </c:pt>
                <c:pt idx="15">
                  <c:v>107.50162369572578</c:v>
                </c:pt>
                <c:pt idx="16">
                  <c:v>107.14037244526766</c:v>
                </c:pt>
                <c:pt idx="17">
                  <c:v>106.780903122722</c:v>
                </c:pt>
                <c:pt idx="18">
                  <c:v>106.4232469290437</c:v>
                </c:pt>
                <c:pt idx="19">
                  <c:v>106.06743332593105</c:v>
                </c:pt>
                <c:pt idx="20">
                  <c:v>105.71349000008239</c:v>
                </c:pt>
                <c:pt idx="21">
                  <c:v>105.36144284215314</c:v>
                </c:pt>
                <c:pt idx="22">
                  <c:v>105.01131593908657</c:v>
                </c:pt>
                <c:pt idx="23">
                  <c:v>104.66313157845796</c:v>
                </c:pt>
                <c:pt idx="24">
                  <c:v>104.31691026343553</c:v>
                </c:pt>
                <c:pt idx="25">
                  <c:v>103.97267073699564</c:v>
                </c:pt>
                <c:pt idx="26">
                  <c:v>103.63043001405765</c:v>
                </c:pt>
                <c:pt idx="27">
                  <c:v>103.29020342026737</c:v>
                </c:pt>
                <c:pt idx="28">
                  <c:v>102.95200463623763</c:v>
                </c:pt>
                <c:pt idx="29">
                  <c:v>102.61584574613511</c:v>
                </c:pt>
                <c:pt idx="30">
                  <c:v>102.28173728960111</c:v>
                </c:pt>
                <c:pt idx="31">
                  <c:v>101.94968831609634</c:v>
                </c:pt>
                <c:pt idx="32">
                  <c:v>101.61970644085463</c:v>
                </c:pt>
                <c:pt idx="33">
                  <c:v>101.29179790173579</c:v>
                </c:pt>
                <c:pt idx="34">
                  <c:v>100.67623578238134</c:v>
                </c:pt>
                <c:pt idx="35">
                  <c:v>100.0</c:v>
                </c:pt>
                <c:pt idx="36">
                  <c:v>99.33633837301252</c:v>
                </c:pt>
                <c:pt idx="37">
                  <c:v>98.68496862984081</c:v>
                </c:pt>
                <c:pt idx="38">
                  <c:v>98.04560639405364</c:v>
                </c:pt>
                <c:pt idx="39">
                  <c:v>97.41796623166546</c:v>
                </c:pt>
                <c:pt idx="40">
                  <c:v>96.80176261108673</c:v>
                </c:pt>
                <c:pt idx="41">
                  <c:v>96.19671077670637</c:v>
                </c:pt>
                <c:pt idx="42">
                  <c:v>95.60252753821767</c:v>
                </c:pt>
                <c:pt idx="43">
                  <c:v>95.01893197868692</c:v>
                </c:pt>
                <c:pt idx="44">
                  <c:v>94.44564608499681</c:v>
                </c:pt>
                <c:pt idx="45">
                  <c:v>93.88239530474864</c:v>
                </c:pt>
                <c:pt idx="46">
                  <c:v>93.32890903398486</c:v>
                </c:pt>
                <c:pt idx="47">
                  <c:v>92.7849210402582</c:v>
                </c:pt>
                <c:pt idx="48">
                  <c:v>92.25016982561294</c:v>
                </c:pt>
                <c:pt idx="49">
                  <c:v>91.7243989340215</c:v>
                </c:pt>
                <c:pt idx="50">
                  <c:v>91.20735720772124</c:v>
                </c:pt>
                <c:pt idx="51">
                  <c:v>90.69879899675118</c:v>
                </c:pt>
                <c:pt idx="52">
                  <c:v>90.19848432582378</c:v>
                </c:pt>
                <c:pt idx="53">
                  <c:v>89.70617902245395</c:v>
                </c:pt>
                <c:pt idx="54">
                  <c:v>89.60956067339741</c:v>
                </c:pt>
                <c:pt idx="55">
                  <c:v>89.60982902038327</c:v>
                </c:pt>
                <c:pt idx="56">
                  <c:v>89.60915541089281</c:v>
                </c:pt>
                <c:pt idx="57">
                  <c:v>89.60755286694406</c:v>
                </c:pt>
                <c:pt idx="58">
                  <c:v>89.60503419056391</c:v>
                </c:pt>
                <c:pt idx="59">
                  <c:v>89.60161196843767</c:v>
                </c:pt>
                <c:pt idx="60">
                  <c:v>89.5972985764449</c:v>
                </c:pt>
                <c:pt idx="61">
                  <c:v>89.5921061840806</c:v>
                </c:pt>
                <c:pt idx="62">
                  <c:v>89.5860467587674</c:v>
                </c:pt>
                <c:pt idx="63">
                  <c:v>89.5791320700629</c:v>
                </c:pt>
                <c:pt idx="64">
                  <c:v>89.57137369375835</c:v>
                </c:pt>
                <c:pt idx="65">
                  <c:v>89.56278301588132</c:v>
                </c:pt>
                <c:pt idx="66">
                  <c:v>89.55337123659734</c:v>
                </c:pt>
                <c:pt idx="67">
                  <c:v>89.54314937401506</c:v>
                </c:pt>
                <c:pt idx="68">
                  <c:v>89.53212826789974</c:v>
                </c:pt>
                <c:pt idx="69">
                  <c:v>89.52031858329597</c:v>
                </c:pt>
                <c:pt idx="70">
                  <c:v>89.50773081406153</c:v>
                </c:pt>
                <c:pt idx="71">
                  <c:v>89.49437528631557</c:v>
                </c:pt>
                <c:pt idx="72">
                  <c:v>89.48026216180384</c:v>
                </c:pt>
                <c:pt idx="73">
                  <c:v>89.46540144118255</c:v>
                </c:pt>
                <c:pt idx="74">
                  <c:v>88.73934150592503</c:v>
                </c:pt>
                <c:pt idx="75">
                  <c:v>87.84066119762387</c:v>
                </c:pt>
                <c:pt idx="76">
                  <c:v>86.9478284518263</c:v>
                </c:pt>
                <c:pt idx="77">
                  <c:v>86.06107494754072</c:v>
                </c:pt>
                <c:pt idx="78">
                  <c:v>85.18063126978397</c:v>
                </c:pt>
                <c:pt idx="79">
                  <c:v>84.30672549268236</c:v>
                </c:pt>
                <c:pt idx="80">
                  <c:v>83.43958174579471</c:v>
                </c:pt>
                <c:pt idx="81">
                  <c:v>82.57941879011507</c:v>
                </c:pt>
                <c:pt idx="82">
                  <c:v>81.72644863001449</c:v>
                </c:pt>
                <c:pt idx="83">
                  <c:v>80.88087518629948</c:v>
                </c:pt>
                <c:pt idx="84">
                  <c:v>80.04289305369852</c:v>
                </c:pt>
                <c:pt idx="85">
                  <c:v>79.21268636351085</c:v>
                </c:pt>
                <c:pt idx="86">
                  <c:v>78.39042776899761</c:v>
                </c:pt>
                <c:pt idx="87">
                  <c:v>77.57627756753338</c:v>
                </c:pt>
                <c:pt idx="88">
                  <c:v>76.77038296970017</c:v>
                </c:pt>
                <c:pt idx="89">
                  <c:v>75.97287752158661</c:v>
                </c:pt>
                <c:pt idx="90">
                  <c:v>75.1838806826948</c:v>
                </c:pt>
                <c:pt idx="91">
                  <c:v>74.403497558196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D$2:$D$93</c:f>
              <c:numCache>
                <c:formatCode>General</c:formatCode>
                <c:ptCount val="92"/>
                <c:pt idx="0">
                  <c:v>75.2957660776503</c:v>
                </c:pt>
                <c:pt idx="1">
                  <c:v>76.19554261579363</c:v>
                </c:pt>
                <c:pt idx="2">
                  <c:v>77.06963561487214</c:v>
                </c:pt>
                <c:pt idx="3">
                  <c:v>77.91911806377782</c:v>
                </c:pt>
                <c:pt idx="4">
                  <c:v>78.74498990459355</c:v>
                </c:pt>
                <c:pt idx="5">
                  <c:v>79.54818339679929</c:v>
                </c:pt>
                <c:pt idx="6">
                  <c:v>80.36932662328245</c:v>
                </c:pt>
                <c:pt idx="7">
                  <c:v>81.17187883064517</c:v>
                </c:pt>
                <c:pt idx="8">
                  <c:v>81.94596634839058</c:v>
                </c:pt>
                <c:pt idx="9">
                  <c:v>82.69247157488842</c:v>
                </c:pt>
                <c:pt idx="10">
                  <c:v>83.41224799104393</c:v>
                </c:pt>
                <c:pt idx="11">
                  <c:v>84.10612106184708</c:v>
                </c:pt>
                <c:pt idx="12">
                  <c:v>84.7748890915749</c:v>
                </c:pt>
                <c:pt idx="13">
                  <c:v>85.41932403693355</c:v>
                </c:pt>
                <c:pt idx="14">
                  <c:v>86.24975799718949</c:v>
                </c:pt>
                <c:pt idx="15">
                  <c:v>87.11152156764</c:v>
                </c:pt>
                <c:pt idx="16">
                  <c:v>87.95291966495732</c:v>
                </c:pt>
                <c:pt idx="17">
                  <c:v>88.77442829752749</c:v>
                </c:pt>
                <c:pt idx="18">
                  <c:v>89.5765127333991</c:v>
                </c:pt>
                <c:pt idx="19">
                  <c:v>90.35962764471132</c:v>
                </c:pt>
                <c:pt idx="20">
                  <c:v>91.1242172560859</c:v>
                </c:pt>
                <c:pt idx="21">
                  <c:v>91.87071549742518</c:v>
                </c:pt>
                <c:pt idx="22">
                  <c:v>92.59954616131012</c:v>
                </c:pt>
                <c:pt idx="23">
                  <c:v>93.31112306499463</c:v>
                </c:pt>
                <c:pt idx="24">
                  <c:v>94.00585021679831</c:v>
                </c:pt>
                <c:pt idx="25">
                  <c:v>94.68412198657599</c:v>
                </c:pt>
                <c:pt idx="26">
                  <c:v>95.3463232798194</c:v>
                </c:pt>
                <c:pt idx="27">
                  <c:v>95.99282971487521</c:v>
                </c:pt>
                <c:pt idx="28">
                  <c:v>96.62400780270869</c:v>
                </c:pt>
                <c:pt idx="29">
                  <c:v>97.2402151286082</c:v>
                </c:pt>
                <c:pt idx="30">
                  <c:v>97.84180053522559</c:v>
                </c:pt>
                <c:pt idx="31">
                  <c:v>98.42910430634483</c:v>
                </c:pt>
                <c:pt idx="32">
                  <c:v>99.0024583508007</c:v>
                </c:pt>
                <c:pt idx="33">
                  <c:v>99.56218638599887</c:v>
                </c:pt>
                <c:pt idx="34">
                  <c:v>99.8214506968638</c:v>
                </c:pt>
                <c:pt idx="35">
                  <c:v>100.0</c:v>
                </c:pt>
                <c:pt idx="36">
                  <c:v>100.1704613603315</c:v>
                </c:pt>
                <c:pt idx="37">
                  <c:v>100.33320062308411</c:v>
                </c:pt>
                <c:pt idx="38">
                  <c:v>100.48855813715618</c:v>
                </c:pt>
                <c:pt idx="39">
                  <c:v>100.63685036765257</c:v>
                </c:pt>
                <c:pt idx="40">
                  <c:v>100.77837145228912</c:v>
                </c:pt>
                <c:pt idx="41">
                  <c:v>100.91339469642296</c:v>
                </c:pt>
                <c:pt idx="42">
                  <c:v>101.04217400299692</c:v>
                </c:pt>
                <c:pt idx="43">
                  <c:v>101.16494523501511</c:v>
                </c:pt>
                <c:pt idx="44">
                  <c:v>101.2819275092698</c:v>
                </c:pt>
                <c:pt idx="45">
                  <c:v>101.393324420974</c:v>
                </c:pt>
                <c:pt idx="46">
                  <c:v>101.49932519970145</c:v>
                </c:pt>
                <c:pt idx="47">
                  <c:v>101.60010579766461</c:v>
                </c:pt>
                <c:pt idx="48">
                  <c:v>101.69582991183808</c:v>
                </c:pt>
                <c:pt idx="49">
                  <c:v>101.78664994182782</c:v>
                </c:pt>
                <c:pt idx="50">
                  <c:v>101.87270788567</c:v>
                </c:pt>
                <c:pt idx="51">
                  <c:v>101.95413617595672</c:v>
                </c:pt>
                <c:pt idx="52">
                  <c:v>102.03105845884221</c:v>
                </c:pt>
                <c:pt idx="53">
                  <c:v>102.10359031856547</c:v>
                </c:pt>
                <c:pt idx="54">
                  <c:v>102.6162461681941</c:v>
                </c:pt>
                <c:pt idx="55">
                  <c:v>103.23307795444536</c:v>
                </c:pt>
                <c:pt idx="56">
                  <c:v>103.84276592579678</c:v>
                </c:pt>
                <c:pt idx="57">
                  <c:v>104.44539473696703</c:v>
                </c:pt>
                <c:pt idx="58">
                  <c:v>105.04104777931833</c:v>
                </c:pt>
                <c:pt idx="59">
                  <c:v>105.6298072035825</c:v>
                </c:pt>
                <c:pt idx="60">
                  <c:v>106.21175394212885</c:v>
                </c:pt>
                <c:pt idx="61">
                  <c:v>106.78696773077783</c:v>
                </c:pt>
                <c:pt idx="62">
                  <c:v>107.35552713017424</c:v>
                </c:pt>
                <c:pt idx="63">
                  <c:v>107.91750954672932</c:v>
                </c:pt>
                <c:pt idx="64">
                  <c:v>108.47299125313444</c:v>
                </c:pt>
                <c:pt idx="65">
                  <c:v>109.02204740846587</c:v>
                </c:pt>
                <c:pt idx="66">
                  <c:v>109.56475207787962</c:v>
                </c:pt>
                <c:pt idx="67">
                  <c:v>110.10117825190979</c:v>
                </c:pt>
                <c:pt idx="68">
                  <c:v>110.63139786537859</c:v>
                </c:pt>
                <c:pt idx="69">
                  <c:v>111.15548181592578</c:v>
                </c:pt>
                <c:pt idx="70">
                  <c:v>111.67349998216507</c:v>
                </c:pt>
                <c:pt idx="71">
                  <c:v>112.18552124147641</c:v>
                </c:pt>
                <c:pt idx="72">
                  <c:v>112.69161348744096</c:v>
                </c:pt>
                <c:pt idx="73">
                  <c:v>113.1918436469284</c:v>
                </c:pt>
                <c:pt idx="74">
                  <c:v>112.78145196516243</c:v>
                </c:pt>
                <c:pt idx="75">
                  <c:v>112.13725365077975</c:v>
                </c:pt>
                <c:pt idx="76">
                  <c:v>111.48581005195885</c:v>
                </c:pt>
                <c:pt idx="77">
                  <c:v>110.82771944447177</c:v>
                </c:pt>
                <c:pt idx="78">
                  <c:v>110.16357851692054</c:v>
                </c:pt>
                <c:pt idx="79">
                  <c:v>109.49398048979562</c:v>
                </c:pt>
                <c:pt idx="80">
                  <c:v>108.8195131674301</c:v>
                </c:pt>
                <c:pt idx="81">
                  <c:v>108.1407569583995</c:v>
                </c:pt>
                <c:pt idx="82">
                  <c:v>107.4582829007717</c:v>
                </c:pt>
                <c:pt idx="83">
                  <c:v>106.77265072822522</c:v>
                </c:pt>
                <c:pt idx="84">
                  <c:v>106.08440701153793</c:v>
                </c:pt>
                <c:pt idx="85">
                  <c:v>105.39408340735861</c:v>
                </c:pt>
                <c:pt idx="86">
                  <c:v>104.70219504264948</c:v>
                </c:pt>
                <c:pt idx="87">
                  <c:v>104.00923905895212</c:v>
                </c:pt>
                <c:pt idx="88">
                  <c:v>103.31569333582561</c:v>
                </c:pt>
                <c:pt idx="89">
                  <c:v>102.62201540771383</c:v>
                </c:pt>
                <c:pt idx="90">
                  <c:v>101.92864158329273</c:v>
                </c:pt>
                <c:pt idx="91">
                  <c:v>101.235986271245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E$2:$E$93</c:f>
              <c:numCache>
                <c:formatCode>General</c:formatCode>
                <c:ptCount val="92"/>
                <c:pt idx="0">
                  <c:v>0.25497237569060777</c:v>
                </c:pt>
                <c:pt idx="1">
                  <c:v>0.26008230452674896</c:v>
                </c:pt>
                <c:pt idx="2">
                  <c:v>0.2651226158038145</c:v>
                </c:pt>
                <c:pt idx="3">
                  <c:v>0.27009472259810546</c:v>
                </c:pt>
                <c:pt idx="4">
                  <c:v>0.27499999999999997</c:v>
                </c:pt>
                <c:pt idx="5">
                  <c:v>0.2798397863818423</c:v>
                </c:pt>
                <c:pt idx="6">
                  <c:v>0.2846153846153844</c:v>
                </c:pt>
                <c:pt idx="7">
                  <c:v>0.2893280632411067</c:v>
                </c:pt>
                <c:pt idx="8">
                  <c:v>0.293979057591623</c:v>
                </c:pt>
                <c:pt idx="9">
                  <c:v>0.29856957087126135</c:v>
                </c:pt>
                <c:pt idx="10">
                  <c:v>0.3031007751937985</c:v>
                </c:pt>
                <c:pt idx="11">
                  <c:v>0.30757381258023114</c:v>
                </c:pt>
                <c:pt idx="12">
                  <c:v>0.3119897959183674</c:v>
                </c:pt>
                <c:pt idx="13">
                  <c:v>0.3163498098859314</c:v>
                </c:pt>
                <c:pt idx="14">
                  <c:v>0.3206549118387908</c:v>
                </c:pt>
                <c:pt idx="15">
                  <c:v>0.32490613266583224</c:v>
                </c:pt>
                <c:pt idx="16">
                  <c:v>0.3291044776119403</c:v>
                </c:pt>
                <c:pt idx="17">
                  <c:v>0.3332509270704574</c:v>
                </c:pt>
                <c:pt idx="18">
                  <c:v>0.3373464373464374</c:v>
                </c:pt>
                <c:pt idx="19">
                  <c:v>0.34139194139194134</c:v>
                </c:pt>
                <c:pt idx="20">
                  <c:v>0.34538834951456304</c:v>
                </c:pt>
                <c:pt idx="21">
                  <c:v>0.3493365500603135</c:v>
                </c:pt>
                <c:pt idx="22">
                  <c:v>0.3532374100719424</c:v>
                </c:pt>
                <c:pt idx="23">
                  <c:v>0.3570917759237187</c:v>
                </c:pt>
                <c:pt idx="24">
                  <c:v>0.3609004739336492</c:v>
                </c:pt>
                <c:pt idx="25">
                  <c:v>0.36466431095406354</c:v>
                </c:pt>
                <c:pt idx="26">
                  <c:v>0.368384074941452</c:v>
                </c:pt>
                <c:pt idx="27">
                  <c:v>0.37206053550640267</c:v>
                </c:pt>
                <c:pt idx="28">
                  <c:v>0.3756944444444446</c:v>
                </c:pt>
                <c:pt idx="29">
                  <c:v>0.37928653624856146</c:v>
                </c:pt>
                <c:pt idx="30">
                  <c:v>0.38283752860411885</c:v>
                </c:pt>
                <c:pt idx="31">
                  <c:v>0.3863481228668942</c:v>
                </c:pt>
                <c:pt idx="32">
                  <c:v>0.3898190045248868</c:v>
                </c:pt>
                <c:pt idx="33">
                  <c:v>0.39325084364454443</c:v>
                </c:pt>
                <c:pt idx="34">
                  <c:v>0.3966442953020134</c:v>
                </c:pt>
                <c:pt idx="35">
                  <c:v>0.39999999999999997</c:v>
                </c:pt>
                <c:pt idx="36">
                  <c:v>0.40331858407079646</c:v>
                </c:pt>
                <c:pt idx="37">
                  <c:v>0.4066006600660065</c:v>
                </c:pt>
                <c:pt idx="38">
                  <c:v>0.40984682713347914</c:v>
                </c:pt>
                <c:pt idx="39">
                  <c:v>0.4130576713819368</c:v>
                </c:pt>
                <c:pt idx="40">
                  <c:v>0.4162337662337662</c:v>
                </c:pt>
                <c:pt idx="41">
                  <c:v>0.4193756727664156</c:v>
                </c:pt>
                <c:pt idx="42">
                  <c:v>0.4224839400428265</c:v>
                </c:pt>
                <c:pt idx="43">
                  <c:v>0.4255591054313099</c:v>
                </c:pt>
                <c:pt idx="44">
                  <c:v>0.42860169491525424</c:v>
                </c:pt>
                <c:pt idx="45">
                  <c:v>0.43161222339304517</c:v>
                </c:pt>
                <c:pt idx="46">
                  <c:v>0.43459119496855336</c:v>
                </c:pt>
                <c:pt idx="47">
                  <c:v>0.4375391032325338</c:v>
                </c:pt>
                <c:pt idx="48">
                  <c:v>0.44045643153526964</c:v>
                </c:pt>
                <c:pt idx="49">
                  <c:v>0.443343653250774</c:v>
                </c:pt>
                <c:pt idx="50">
                  <c:v>0.4462012320328542</c:v>
                </c:pt>
                <c:pt idx="51">
                  <c:v>0.44902962206333</c:v>
                </c:pt>
                <c:pt idx="52">
                  <c:v>0.4518292682926829</c:v>
                </c:pt>
                <c:pt idx="53">
                  <c:v>0.4546006066734074</c:v>
                </c:pt>
                <c:pt idx="54">
                  <c:v>0.4573440643863178</c:v>
                </c:pt>
                <c:pt idx="55">
                  <c:v>0.46006006006005995</c:v>
                </c:pt>
                <c:pt idx="56">
                  <c:v>0.4627490039840636</c:v>
                </c:pt>
                <c:pt idx="57">
                  <c:v>0.46541129831516354</c:v>
                </c:pt>
                <c:pt idx="58">
                  <c:v>0.4680473372781065</c:v>
                </c:pt>
                <c:pt idx="59">
                  <c:v>0.47065750736015705</c:v>
                </c:pt>
                <c:pt idx="60">
                  <c:v>0.47324218749999997</c:v>
                </c:pt>
                <c:pt idx="61">
                  <c:v>0.475801749271137</c:v>
                </c:pt>
                <c:pt idx="62">
                  <c:v>0.4783365570599612</c:v>
                </c:pt>
                <c:pt idx="63">
                  <c:v>0.480846968238691</c:v>
                </c:pt>
                <c:pt idx="64">
                  <c:v>0.4833333333333333</c:v>
                </c:pt>
                <c:pt idx="65">
                  <c:v>0.48579599618684455</c:v>
                </c:pt>
                <c:pt idx="66">
                  <c:v>0.48823529411764716</c:v>
                </c:pt>
                <c:pt idx="67">
                  <c:v>0.4906515580736544</c:v>
                </c:pt>
                <c:pt idx="68">
                  <c:v>0.4930451127819549</c:v>
                </c:pt>
                <c:pt idx="69">
                  <c:v>0.49541627689429374</c:v>
                </c:pt>
                <c:pt idx="70">
                  <c:v>0.4977653631284915</c:v>
                </c:pt>
                <c:pt idx="71">
                  <c:v>0.5000926784059314</c:v>
                </c:pt>
                <c:pt idx="72">
                  <c:v>0.5023985239852398</c:v>
                </c:pt>
                <c:pt idx="73">
                  <c:v>0.5046831955922865</c:v>
                </c:pt>
                <c:pt idx="74">
                  <c:v>0.5069469835466179</c:v>
                </c:pt>
                <c:pt idx="75">
                  <c:v>0.5091901728844404</c:v>
                </c:pt>
                <c:pt idx="76">
                  <c:v>0.5114130434782609</c:v>
                </c:pt>
                <c:pt idx="77">
                  <c:v>0.5136158701532911</c:v>
                </c:pt>
                <c:pt idx="78">
                  <c:v>0.515798922800718</c:v>
                </c:pt>
                <c:pt idx="79">
                  <c:v>0.5179624664879356</c:v>
                </c:pt>
                <c:pt idx="80">
                  <c:v>0.5201067615658362</c:v>
                </c:pt>
                <c:pt idx="81">
                  <c:v>0.5222320637732506</c:v>
                </c:pt>
                <c:pt idx="82">
                  <c:v>0.5243386243386244</c:v>
                </c:pt>
                <c:pt idx="83">
                  <c:v>0.5264266900790168</c:v>
                </c:pt>
                <c:pt idx="84">
                  <c:v>0.5284965034965035</c:v>
                </c:pt>
                <c:pt idx="85">
                  <c:v>0.5305483028720627</c:v>
                </c:pt>
                <c:pt idx="86">
                  <c:v>0.5325823223570191</c:v>
                </c:pt>
                <c:pt idx="87">
                  <c:v>0.5345987920621225</c:v>
                </c:pt>
                <c:pt idx="88">
                  <c:v>0.5365979381443299</c:v>
                </c:pt>
                <c:pt idx="89">
                  <c:v>0.5385799828913601</c:v>
                </c:pt>
                <c:pt idx="90">
                  <c:v>0.5405451448040886</c:v>
                </c:pt>
                <c:pt idx="91">
                  <c:v>0.54249363867684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moiselle (3.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Nicolas Feuillatte (4.5%)</c:v>
                </c:pt>
                <c:pt idx="2">
                  <c:v>Malard (6.0%)</c:v>
                </c:pt>
                <c:pt idx="3">
                  <c:v>Heidsieck &amp; C° Monopole (4.2%)</c:v>
                </c:pt>
                <c:pt idx="4">
                  <c:v>Ruinart (12.8%)</c:v>
                </c:pt>
                <c:pt idx="5">
                  <c:v>Canard-Duchêne (3.1%)</c:v>
                </c:pt>
                <c:pt idx="6">
                  <c:v>Laurent Perrier (3.9%)</c:v>
                </c:pt>
                <c:pt idx="7">
                  <c:v>Deutz (4.8%)</c:v>
                </c:pt>
                <c:pt idx="8">
                  <c:v>Bottega (3.7%)</c:v>
                </c:pt>
                <c:pt idx="9">
                  <c:v>Carlo V (5.4%)</c:v>
                </c:pt>
              </c:strCache>
            </c:strRef>
          </c:cat>
          <c:val>
            <c:numRef>
              <c:f>Sheet1!$B$2:$B$11</c:f>
              <c:numCache>
                <c:formatCode>General</c:formatCode>
                <c:ptCount val="10"/>
                <c:pt idx="0">
                  <c:v>0.11474316514138326</c:v>
                </c:pt>
                <c:pt idx="1">
                  <c:v>0.10303255505354998</c:v>
                </c:pt>
                <c:pt idx="2">
                  <c:v>0.1010292372187853</c:v>
                </c:pt>
                <c:pt idx="3">
                  <c:v>0.067961857440571</c:v>
                </c:pt>
                <c:pt idx="4">
                  <c:v>0.06643923939473939</c:v>
                </c:pt>
                <c:pt idx="5">
                  <c:v>0.055346988763113864</c:v>
                </c:pt>
                <c:pt idx="6">
                  <c:v>0.050135683901478496</c:v>
                </c:pt>
                <c:pt idx="7">
                  <c:v>0.03823055711133095</c:v>
                </c:pt>
                <c:pt idx="8">
                  <c:v>0.03496379502643935</c:v>
                </c:pt>
                <c:pt idx="9">
                  <c:v>0.02860409460036109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B$2:$B$138</c:f>
              <c:numCache>
                <c:formatCode>General</c:formatCode>
                <c:ptCount val="137"/>
                <c:pt idx="0">
                  <c:v>147.0181307511924</c:v>
                </c:pt>
                <c:pt idx="1">
                  <c:v>145.4529884405062</c:v>
                </c:pt>
                <c:pt idx="2">
                  <c:v>143.9023434977202</c:v>
                </c:pt>
                <c:pt idx="3">
                  <c:v>142.36603660711788</c:v>
                </c:pt>
                <c:pt idx="4">
                  <c:v>140.8439144495664</c:v>
                </c:pt>
                <c:pt idx="5">
                  <c:v>139.33583038426025</c:v>
                </c:pt>
                <c:pt idx="6">
                  <c:v>137.8416450880217</c:v>
                </c:pt>
                <c:pt idx="7">
                  <c:v>136.3612271407493</c:v>
                </c:pt>
                <c:pt idx="8">
                  <c:v>134.8944535454791</c:v>
                </c:pt>
                <c:pt idx="9">
                  <c:v>133.44121017168044</c:v>
                </c:pt>
                <c:pt idx="10">
                  <c:v>132.00139211084573</c:v>
                </c:pt>
                <c:pt idx="11">
                  <c:v>130.57490393424789</c:v>
                </c:pt>
                <c:pt idx="12">
                  <c:v>129.16165984388408</c:v>
                </c:pt>
                <c:pt idx="13">
                  <c:v>127.76158370913757</c:v>
                </c:pt>
                <c:pt idx="14">
                  <c:v>126.3746089835797</c:v>
                </c:pt>
                <c:pt idx="15">
                  <c:v>125.00067849851138</c:v>
                </c:pt>
                <c:pt idx="16">
                  <c:v>123.63974413234344</c:v>
                </c:pt>
                <c:pt idx="17">
                  <c:v>122.29176635759367</c:v>
                </c:pt>
                <c:pt idx="18">
                  <c:v>120.95671367011506</c:v>
                </c:pt>
                <c:pt idx="19">
                  <c:v>119.63456190801651</c:v>
                </c:pt>
                <c:pt idx="20">
                  <c:v>118.32529347054412</c:v>
                </c:pt>
                <c:pt idx="21">
                  <c:v>117.68238129133479</c:v>
                </c:pt>
                <c:pt idx="22">
                  <c:v>117.04355537843054</c:v>
                </c:pt>
                <c:pt idx="23">
                  <c:v>116.40878986873415</c:v>
                </c:pt>
                <c:pt idx="24">
                  <c:v>115.77805918443673</c:v>
                </c:pt>
                <c:pt idx="25">
                  <c:v>115.15133802470343</c:v>
                </c:pt>
                <c:pt idx="26">
                  <c:v>114.52860135717017</c:v>
                </c:pt>
                <c:pt idx="27">
                  <c:v>113.90982440929179</c:v>
                </c:pt>
                <c:pt idx="28">
                  <c:v>113.2949826595695</c:v>
                </c:pt>
                <c:pt idx="29">
                  <c:v>112.68405182870158</c:v>
                </c:pt>
                <c:pt idx="30">
                  <c:v>112.07700787067591</c:v>
                </c:pt>
                <c:pt idx="31">
                  <c:v>111.4738269638512</c:v>
                </c:pt>
                <c:pt idx="32">
                  <c:v>110.8744855020475</c:v>
                </c:pt>
                <c:pt idx="33">
                  <c:v>110.2789600856851</c:v>
                </c:pt>
                <c:pt idx="34">
                  <c:v>109.68722751299553</c:v>
                </c:pt>
                <c:pt idx="35">
                  <c:v>109.09926477133463</c:v>
                </c:pt>
                <c:pt idx="36">
                  <c:v>108.51504902862655</c:v>
                </c:pt>
                <c:pt idx="37">
                  <c:v>107.93455762496036</c:v>
                </c:pt>
                <c:pt idx="38">
                  <c:v>107.35776806436881</c:v>
                </c:pt>
                <c:pt idx="39">
                  <c:v>106.78465800680502</c:v>
                </c:pt>
                <c:pt idx="40">
                  <c:v>106.215205260345</c:v>
                </c:pt>
                <c:pt idx="41">
                  <c:v>105.68246749882219</c:v>
                </c:pt>
                <c:pt idx="42">
                  <c:v>105.15244873952574</c:v>
                </c:pt>
                <c:pt idx="43">
                  <c:v>104.62514044879674</c:v>
                </c:pt>
                <c:pt idx="44">
                  <c:v>104.10053424433447</c:v>
                </c:pt>
                <c:pt idx="45">
                  <c:v>103.57862189065084</c:v>
                </c:pt>
                <c:pt idx="46">
                  <c:v>103.0593952943156</c:v>
                </c:pt>
                <c:pt idx="47">
                  <c:v>102.54284649899618</c:v>
                </c:pt>
                <c:pt idx="48">
                  <c:v>102.02896768030875</c:v>
                </c:pt>
                <c:pt idx="49">
                  <c:v>101.51775114049792</c:v>
                </c:pt>
                <c:pt idx="50">
                  <c:v>101.00918930295097</c:v>
                </c:pt>
                <c:pt idx="51">
                  <c:v>100.50327470656832</c:v>
                </c:pt>
                <c:pt idx="52">
                  <c:v>100.0</c:v>
                </c:pt>
                <c:pt idx="53">
                  <c:v>99.49935793576073</c:v>
                </c:pt>
                <c:pt idx="54">
                  <c:v>99.00134136424363</c:v>
                </c:pt>
                <c:pt idx="55">
                  <c:v>98.50594322763922</c:v>
                </c:pt>
                <c:pt idx="56">
                  <c:v>98.01315655377836</c:v>
                </c:pt>
                <c:pt idx="57">
                  <c:v>97.52297444991093</c:v>
                </c:pt>
                <c:pt idx="58">
                  <c:v>97.03539009643482</c:v>
                </c:pt>
                <c:pt idx="59">
                  <c:v>96.55039674058837</c:v>
                </c:pt>
                <c:pt idx="60">
                  <c:v>96.06798769011662</c:v>
                </c:pt>
                <c:pt idx="61">
                  <c:v>95.58815630692936</c:v>
                </c:pt>
                <c:pt idx="62">
                  <c:v>95.11089600076029</c:v>
                </c:pt>
                <c:pt idx="63">
                  <c:v>94.63620022284087</c:v>
                </c:pt>
                <c:pt idx="64">
                  <c:v>94.16406245959861</c:v>
                </c:pt>
                <c:pt idx="65">
                  <c:v>93.69447622639613</c:v>
                </c:pt>
                <c:pt idx="66">
                  <c:v>93.22743506131691</c:v>
                </c:pt>
                <c:pt idx="67">
                  <c:v>92.76293251901457</c:v>
                </c:pt>
                <c:pt idx="68">
                  <c:v>92.30096216463153</c:v>
                </c:pt>
                <c:pt idx="69">
                  <c:v>91.84151756779774</c:v>
                </c:pt>
                <c:pt idx="70">
                  <c:v>91.38459229672551</c:v>
                </c:pt>
                <c:pt idx="71">
                  <c:v>90.93017991239891</c:v>
                </c:pt>
                <c:pt idx="72">
                  <c:v>90.47827396287923</c:v>
                </c:pt>
                <c:pt idx="73">
                  <c:v>90.02886797772447</c:v>
                </c:pt>
                <c:pt idx="74">
                  <c:v>89.58195546253707</c:v>
                </c:pt>
                <c:pt idx="75">
                  <c:v>89.13752989364664</c:v>
                </c:pt>
                <c:pt idx="76">
                  <c:v>88.69558471293375</c:v>
                </c:pt>
                <c:pt idx="77">
                  <c:v>88.2561133228018</c:v>
                </c:pt>
                <c:pt idx="78">
                  <c:v>87.8191090813049</c:v>
                </c:pt>
                <c:pt idx="79">
                  <c:v>87.38456529743617</c:v>
                </c:pt>
                <c:pt idx="80">
                  <c:v>86.9524752265817</c:v>
                </c:pt>
                <c:pt idx="81">
                  <c:v>85.8388700913324</c:v>
                </c:pt>
                <c:pt idx="82">
                  <c:v>84.741708256299</c:v>
                </c:pt>
                <c:pt idx="83">
                  <c:v>83.66103523172353</c:v>
                </c:pt>
                <c:pt idx="84">
                  <c:v>82.59688087150184</c:v>
                </c:pt>
                <c:pt idx="85">
                  <c:v>81.54925836827552</c:v>
                </c:pt>
                <c:pt idx="86">
                  <c:v>80.51816344324088</c:v>
                </c:pt>
                <c:pt idx="87">
                  <c:v>79.50357373771756</c:v>
                </c:pt>
                <c:pt idx="88">
                  <c:v>78.50544840946436</c:v>
                </c:pt>
                <c:pt idx="89">
                  <c:v>77.52372793279949</c:v>
                </c:pt>
                <c:pt idx="90">
                  <c:v>76.55833409786351</c:v>
                </c:pt>
                <c:pt idx="91">
                  <c:v>75.6091702009552</c:v>
                </c:pt>
                <c:pt idx="92">
                  <c:v>74.67612141486578</c:v>
                </c:pt>
                <c:pt idx="93">
                  <c:v>73.75905532555447</c:v>
                </c:pt>
                <c:pt idx="94">
                  <c:v>72.85782261944263</c:v>
                </c:pt>
                <c:pt idx="95">
                  <c:v>71.97225790400422</c:v>
                </c:pt>
                <c:pt idx="96">
                  <c:v>71.10218064326266</c:v>
                </c:pt>
                <c:pt idx="97">
                  <c:v>70.24739618919865</c:v>
                </c:pt>
                <c:pt idx="98">
                  <c:v>69.40769688992975</c:v>
                </c:pt>
                <c:pt idx="99">
                  <c:v>68.58286325579539</c:v>
                </c:pt>
                <c:pt idx="100">
                  <c:v>67.77266516509705</c:v>
                </c:pt>
                <c:pt idx="101">
                  <c:v>67.36994063468926</c:v>
                </c:pt>
                <c:pt idx="102">
                  <c:v>66.96944516957977</c:v>
                </c:pt>
                <c:pt idx="103">
                  <c:v>66.57117006803145</c:v>
                </c:pt>
                <c:pt idx="104">
                  <c:v>66.17510659294024</c:v>
                </c:pt>
                <c:pt idx="105">
                  <c:v>65.78124597293112</c:v>
                </c:pt>
                <c:pt idx="106">
                  <c:v>65.38957940346238</c:v>
                </c:pt>
                <c:pt idx="107">
                  <c:v>65.00009804793203</c:v>
                </c:pt>
                <c:pt idx="108">
                  <c:v>64.61279303879073</c:v>
                </c:pt>
                <c:pt idx="109">
                  <c:v>64.22765547865575</c:v>
                </c:pt>
                <c:pt idx="110">
                  <c:v>63.84467644142978</c:v>
                </c:pt>
                <c:pt idx="111">
                  <c:v>63.46384697341937</c:v>
                </c:pt>
                <c:pt idx="112">
                  <c:v>63.085158094456915</c:v>
                </c:pt>
                <c:pt idx="113">
                  <c:v>62.7086007990201</c:v>
                </c:pt>
                <c:pt idx="114">
                  <c:v>62.33416605735434</c:v>
                </c:pt>
                <c:pt idx="115">
                  <c:v>61.961844816591885</c:v>
                </c:pt>
                <c:pt idx="116">
                  <c:v>61.59162800186997</c:v>
                </c:pt>
                <c:pt idx="117">
                  <c:v>61.22350651744654</c:v>
                </c:pt>
                <c:pt idx="118">
                  <c:v>60.857471247813834</c:v>
                </c:pt>
                <c:pt idx="119">
                  <c:v>60.493513058806535</c:v>
                </c:pt>
                <c:pt idx="120">
                  <c:v>60.13162279870763</c:v>
                </c:pt>
                <c:pt idx="121">
                  <c:v>59.771791299347576</c:v>
                </c:pt>
                <c:pt idx="122">
                  <c:v>59.41400937719913</c:v>
                </c:pt>
                <c:pt idx="123">
                  <c:v>59.05826783446685</c:v>
                </c:pt>
                <c:pt idx="124">
                  <c:v>58.704557460166704</c:v>
                </c:pt>
                <c:pt idx="125">
                  <c:v>58.35286903120283</c:v>
                </c:pt>
                <c:pt idx="126">
                  <c:v>58.00319331343346</c:v>
                </c:pt>
                <c:pt idx="127">
                  <c:v>57.65552106272994</c:v>
                </c:pt>
                <c:pt idx="128">
                  <c:v>57.30984302602635</c:v>
                </c:pt>
                <c:pt idx="129">
                  <c:v>56.966149942361234</c:v>
                </c:pt>
                <c:pt idx="130">
                  <c:v>56.62443254390814</c:v>
                </c:pt>
                <c:pt idx="131">
                  <c:v>56.284681556997626</c:v>
                </c:pt>
                <c:pt idx="132">
                  <c:v>55.94688770312739</c:v>
                </c:pt>
                <c:pt idx="133">
                  <c:v>55.611041699963174</c:v>
                </c:pt>
                <c:pt idx="134">
                  <c:v>55.27713426232677</c:v>
                </c:pt>
                <c:pt idx="135">
                  <c:v>54.94515610317412</c:v>
                </c:pt>
                <c:pt idx="136">
                  <c:v>54.615097934561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C$2:$C$138</c:f>
              <c:numCache>
                <c:formatCode>General</c:formatCode>
                <c:ptCount val="137"/>
                <c:pt idx="0">
                  <c:v>119.50706326764356</c:v>
                </c:pt>
                <c:pt idx="1">
                  <c:v>118.75356205208847</c:v>
                </c:pt>
                <c:pt idx="2">
                  <c:v>118.00094695632049</c:v>
                </c:pt>
                <c:pt idx="3">
                  <c:v>117.24923705834294</c:v>
                </c:pt>
                <c:pt idx="4">
                  <c:v>116.49845420341887</c:v>
                </c:pt>
                <c:pt idx="5">
                  <c:v>115.74862367782895</c:v>
                </c:pt>
                <c:pt idx="6">
                  <c:v>114.9997748612957</c:v>
                </c:pt>
                <c:pt idx="7">
                  <c:v>114.25194184746708</c:v>
                </c:pt>
                <c:pt idx="8">
                  <c:v>113.50516402142794</c:v>
                </c:pt>
                <c:pt idx="9">
                  <c:v>112.75948658301655</c:v>
                </c:pt>
                <c:pt idx="10">
                  <c:v>112.01496100477696</c:v>
                </c:pt>
                <c:pt idx="11">
                  <c:v>111.27164541376749</c:v>
                </c:pt>
                <c:pt idx="12">
                  <c:v>110.52960488714243</c:v>
                </c:pt>
                <c:pt idx="13">
                  <c:v>109.78891165247634</c:v>
                </c:pt>
                <c:pt idx="14">
                  <c:v>109.04964518522561</c:v>
                </c:pt>
                <c:pt idx="15">
                  <c:v>108.31189219745004</c:v>
                </c:pt>
                <c:pt idx="16">
                  <c:v>107.57574651400981</c:v>
                </c:pt>
                <c:pt idx="17">
                  <c:v>106.84130883475834</c:v>
                </c:pt>
                <c:pt idx="18">
                  <c:v>106.10868638380492</c:v>
                </c:pt>
                <c:pt idx="19">
                  <c:v>105.37799244954695</c:v>
                </c:pt>
                <c:pt idx="20">
                  <c:v>104.64934582187723</c:v>
                </c:pt>
                <c:pt idx="21">
                  <c:v>104.50527153699906</c:v>
                </c:pt>
                <c:pt idx="22">
                  <c:v>104.36022108635396</c:v>
                </c:pt>
                <c:pt idx="23">
                  <c:v>104.2142156499516</c:v>
                </c:pt>
                <c:pt idx="24">
                  <c:v>104.06727627754056</c:v>
                </c:pt>
                <c:pt idx="25">
                  <c:v>103.91942388659339</c:v>
                </c:pt>
                <c:pt idx="26">
                  <c:v>103.77067925993539</c:v>
                </c:pt>
                <c:pt idx="27">
                  <c:v>103.62106304304635</c:v>
                </c:pt>
                <c:pt idx="28">
                  <c:v>103.47059574106139</c:v>
                </c:pt>
                <c:pt idx="29">
                  <c:v>103.31929771550456</c:v>
                </c:pt>
                <c:pt idx="30">
                  <c:v>103.1671891807745</c:v>
                </c:pt>
                <c:pt idx="31">
                  <c:v>103.01429020042153</c:v>
                </c:pt>
                <c:pt idx="32">
                  <c:v>102.86062068323739</c:v>
                </c:pt>
                <c:pt idx="33">
                  <c:v>102.70620037919267</c:v>
                </c:pt>
                <c:pt idx="34">
                  <c:v>102.55104887524769</c:v>
                </c:pt>
                <c:pt idx="35">
                  <c:v>102.39518559106462</c:v>
                </c:pt>
                <c:pt idx="36">
                  <c:v>102.23862977465355</c:v>
                </c:pt>
                <c:pt idx="37">
                  <c:v>102.08140049797356</c:v>
                </c:pt>
                <c:pt idx="38">
                  <c:v>101.92351665252353</c:v>
                </c:pt>
                <c:pt idx="39">
                  <c:v>101.76499694494008</c:v>
                </c:pt>
                <c:pt idx="40">
                  <c:v>101.6058598926361</c:v>
                </c:pt>
                <c:pt idx="41">
                  <c:v>101.47832560786259</c:v>
                </c:pt>
                <c:pt idx="42">
                  <c:v>101.34957697536795</c:v>
                </c:pt>
                <c:pt idx="43">
                  <c:v>101.21963533232825</c:v>
                </c:pt>
                <c:pt idx="44">
                  <c:v>101.08852202748962</c:v>
                </c:pt>
                <c:pt idx="45">
                  <c:v>100.95625841971223</c:v>
                </c:pt>
                <c:pt idx="46">
                  <c:v>100.82286587620848</c:v>
                </c:pt>
                <c:pt idx="47">
                  <c:v>100.68836577047688</c:v>
                </c:pt>
                <c:pt idx="48">
                  <c:v>100.55277947994139</c:v>
                </c:pt>
                <c:pt idx="49">
                  <c:v>100.41612838331</c:v>
                </c:pt>
                <c:pt idx="50">
                  <c:v>100.27843385765316</c:v>
                </c:pt>
                <c:pt idx="51">
                  <c:v>100.13971727522039</c:v>
                </c:pt>
                <c:pt idx="52">
                  <c:v>100.0</c:v>
                </c:pt>
                <c:pt idx="53">
                  <c:v>99.85930338403338</c:v>
                </c:pt>
                <c:pt idx="54">
                  <c:v>99.7176487634985</c:v>
                </c:pt>
                <c:pt idx="55">
                  <c:v>99.57505745456876</c:v>
                </c:pt>
                <c:pt idx="56">
                  <c:v>99.43155074906251</c:v>
                </c:pt>
                <c:pt idx="57">
                  <c:v>99.2871499098942</c:v>
                </c:pt>
                <c:pt idx="58">
                  <c:v>99.14187616633954</c:v>
                </c:pt>
                <c:pt idx="59">
                  <c:v>98.99575070912721</c:v>
                </c:pt>
                <c:pt idx="60">
                  <c:v>98.84879468536754</c:v>
                </c:pt>
                <c:pt idx="61">
                  <c:v>98.70102919333459</c:v>
                </c:pt>
                <c:pt idx="62">
                  <c:v>98.55247527711182</c:v>
                </c:pt>
                <c:pt idx="63">
                  <c:v>98.40315392111567</c:v>
                </c:pt>
                <c:pt idx="64">
                  <c:v>98.25308604450704</c:v>
                </c:pt>
                <c:pt idx="65">
                  <c:v>98.10229249550791</c:v>
                </c:pt>
                <c:pt idx="66">
                  <c:v>97.95079404563131</c:v>
                </c:pt>
                <c:pt idx="67">
                  <c:v>97.79861138384284</c:v>
                </c:pt>
                <c:pt idx="68">
                  <c:v>97.6457651106607</c:v>
                </c:pt>
                <c:pt idx="69">
                  <c:v>97.4922757322088</c:v>
                </c:pt>
                <c:pt idx="70">
                  <c:v>97.3381636542409</c:v>
                </c:pt>
                <c:pt idx="71">
                  <c:v>97.18344917613601</c:v>
                </c:pt>
                <c:pt idx="72">
                  <c:v>97.02815248489125</c:v>
                </c:pt>
                <c:pt idx="73">
                  <c:v>96.87229364911286</c:v>
                </c:pt>
                <c:pt idx="74">
                  <c:v>96.71589261302222</c:v>
                </c:pt>
                <c:pt idx="75">
                  <c:v>96.55896919048918</c:v>
                </c:pt>
                <c:pt idx="76">
                  <c:v>96.40154305910006</c:v>
                </c:pt>
                <c:pt idx="77">
                  <c:v>96.24363375427423</c:v>
                </c:pt>
                <c:pt idx="78">
                  <c:v>96.08526066343916</c:v>
                </c:pt>
                <c:pt idx="79">
                  <c:v>95.92644302027402</c:v>
                </c:pt>
                <c:pt idx="80">
                  <c:v>95.76719989903104</c:v>
                </c:pt>
                <c:pt idx="81">
                  <c:v>94.85218897376065</c:v>
                </c:pt>
                <c:pt idx="82">
                  <c:v>93.94743816747639</c:v>
                </c:pt>
                <c:pt idx="83">
                  <c:v>93.0531704069482</c:v>
                </c:pt>
                <c:pt idx="84">
                  <c:v>92.1695920200503</c:v>
                </c:pt>
                <c:pt idx="85">
                  <c:v>91.29689133185896</c:v>
                </c:pt>
                <c:pt idx="86">
                  <c:v>90.4352374569317</c:v>
                </c:pt>
                <c:pt idx="87">
                  <c:v>89.5847793005468</c:v>
                </c:pt>
                <c:pt idx="88">
                  <c:v>88.74564477732721</c:v>
                </c:pt>
                <c:pt idx="89">
                  <c:v>87.91794025131406</c:v>
                </c:pt>
                <c:pt idx="90">
                  <c:v>87.10175019732198</c:v>
                </c:pt>
                <c:pt idx="91">
                  <c:v>86.29713707940006</c:v>
                </c:pt>
                <c:pt idx="92">
                  <c:v>85.50414143856506</c:v>
                </c:pt>
                <c:pt idx="93">
                  <c:v>84.72278217870837</c:v>
                </c:pt>
                <c:pt idx="94">
                  <c:v>83.95305703681181</c:v>
                </c:pt>
                <c:pt idx="95">
                  <c:v>83.19494322132205</c:v>
                </c:pt>
                <c:pt idx="96">
                  <c:v>82.44839820080155</c:v>
                </c:pt>
                <c:pt idx="97">
                  <c:v>81.71336062374708</c:v>
                </c:pt>
                <c:pt idx="98">
                  <c:v>80.98975134975747</c:v>
                </c:pt>
                <c:pt idx="99">
                  <c:v>80.2774745719981</c:v>
                </c:pt>
                <c:pt idx="100">
                  <c:v>79.57641901109223</c:v>
                </c:pt>
                <c:pt idx="101">
                  <c:v>79.34815524858446</c:v>
                </c:pt>
                <c:pt idx="102">
                  <c:v>79.11962663062323</c:v>
                </c:pt>
                <c:pt idx="103">
                  <c:v>78.8908466983598</c:v>
                </c:pt>
                <c:pt idx="104">
                  <c:v>78.66182882578077</c:v>
                </c:pt>
                <c:pt idx="105">
                  <c:v>78.4325862204861</c:v>
                </c:pt>
                <c:pt idx="106">
                  <c:v>78.20313192449716</c:v>
                </c:pt>
                <c:pt idx="107">
                  <c:v>77.97347881508881</c:v>
                </c:pt>
                <c:pt idx="108">
                  <c:v>77.74363960564872</c:v>
                </c:pt>
                <c:pt idx="109">
                  <c:v>77.51362684655932</c:v>
                </c:pt>
                <c:pt idx="110">
                  <c:v>77.2834529261065</c:v>
                </c:pt>
                <c:pt idx="111">
                  <c:v>77.05313007140848</c:v>
                </c:pt>
                <c:pt idx="112">
                  <c:v>76.82267034937054</c:v>
                </c:pt>
                <c:pt idx="113">
                  <c:v>76.59208566765696</c:v>
                </c:pt>
                <c:pt idx="114">
                  <c:v>76.361387775689</c:v>
                </c:pt>
                <c:pt idx="115">
                  <c:v>76.13058826565899</c:v>
                </c:pt>
                <c:pt idx="116">
                  <c:v>75.89969857356502</c:v>
                </c:pt>
                <c:pt idx="117">
                  <c:v>75.66872998026409</c:v>
                </c:pt>
                <c:pt idx="118">
                  <c:v>75.43769361254328</c:v>
                </c:pt>
                <c:pt idx="119">
                  <c:v>75.20660044420653</c:v>
                </c:pt>
                <c:pt idx="120">
                  <c:v>74.97546129717838</c:v>
                </c:pt>
                <c:pt idx="121">
                  <c:v>74.74428684262216</c:v>
                </c:pt>
                <c:pt idx="122">
                  <c:v>74.51308760207259</c:v>
                </c:pt>
                <c:pt idx="123">
                  <c:v>74.28187394858381</c:v>
                </c:pt>
                <c:pt idx="124">
                  <c:v>74.0506561078852</c:v>
                </c:pt>
                <c:pt idx="125">
                  <c:v>73.81944415955518</c:v>
                </c:pt>
                <c:pt idx="126">
                  <c:v>73.58824803820181</c:v>
                </c:pt>
                <c:pt idx="127">
                  <c:v>73.35707753465532</c:v>
                </c:pt>
                <c:pt idx="128">
                  <c:v>73.12594229716902</c:v>
                </c:pt>
                <c:pt idx="129">
                  <c:v>72.89485183263176</c:v>
                </c:pt>
                <c:pt idx="130">
                  <c:v>72.66381550778476</c:v>
                </c:pt>
                <c:pt idx="131">
                  <c:v>72.43284255044868</c:v>
                </c:pt>
                <c:pt idx="132">
                  <c:v>72.20194205075532</c:v>
                </c:pt>
                <c:pt idx="133">
                  <c:v>71.97112296238647</c:v>
                </c:pt>
                <c:pt idx="134">
                  <c:v>71.74039410381702</c:v>
                </c:pt>
                <c:pt idx="135">
                  <c:v>71.50976415956326</c:v>
                </c:pt>
                <c:pt idx="136">
                  <c:v>71.279241681435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D$2:$D$138</c:f>
              <c:numCache>
                <c:formatCode>General</c:formatCode>
                <c:ptCount val="137"/>
                <c:pt idx="0">
                  <c:v>76.23162335247022</c:v>
                </c:pt>
                <c:pt idx="1">
                  <c:v>76.76685501026721</c:v>
                </c:pt>
                <c:pt idx="2">
                  <c:v>77.28088817470157</c:v>
                </c:pt>
                <c:pt idx="3">
                  <c:v>77.77403851685143</c:v>
                </c:pt>
                <c:pt idx="4">
                  <c:v>78.24661913864803</c:v>
                </c:pt>
                <c:pt idx="5">
                  <c:v>78.69894123555441</c:v>
                </c:pt>
                <c:pt idx="6">
                  <c:v>79.13131477275321</c:v>
                </c:pt>
                <c:pt idx="7">
                  <c:v>79.54404916543704</c:v>
                </c:pt>
                <c:pt idx="8">
                  <c:v>79.93745395287652</c:v>
                </c:pt>
                <c:pt idx="9">
                  <c:v>80.3118394551781</c:v>
                </c:pt>
                <c:pt idx="10">
                  <c:v>80.66751740107246</c:v>
                </c:pt>
                <c:pt idx="11">
                  <c:v>81.0048015147649</c:v>
                </c:pt>
                <c:pt idx="12">
                  <c:v>81.324008049853</c:v>
                </c:pt>
                <c:pt idx="13">
                  <c:v>81.62545625861573</c:v>
                </c:pt>
                <c:pt idx="14">
                  <c:v>81.90946878565353</c:v>
                </c:pt>
                <c:pt idx="15">
                  <c:v>82.17637197587322</c:v>
                </c:pt>
                <c:pt idx="16">
                  <c:v>82.42649608822907</c:v>
                </c:pt>
                <c:pt idx="17">
                  <c:v>82.66017540837353</c:v>
                </c:pt>
                <c:pt idx="18">
                  <c:v>82.87774825544929</c:v>
                </c:pt>
                <c:pt idx="19">
                  <c:v>83.07955688056705</c:v>
                </c:pt>
                <c:pt idx="20">
                  <c:v>83.2659472570496</c:v>
                </c:pt>
                <c:pt idx="21">
                  <c:v>83.90317925400721</c:v>
                </c:pt>
                <c:pt idx="22">
                  <c:v>84.53145666219986</c:v>
                </c:pt>
                <c:pt idx="23">
                  <c:v>85.15087407064811</c:v>
                </c:pt>
                <c:pt idx="24">
                  <c:v>85.76152532180507</c:v>
                </c:pt>
                <c:pt idx="25">
                  <c:v>86.36350351852766</c:v>
                </c:pt>
                <c:pt idx="26">
                  <c:v>86.95690103044404</c:v>
                </c:pt>
                <c:pt idx="27">
                  <c:v>87.54180949973338</c:v>
                </c:pt>
                <c:pt idx="28">
                  <c:v>88.1183198463319</c:v>
                </c:pt>
                <c:pt idx="29">
                  <c:v>88.68652227258926</c:v>
                </c:pt>
                <c:pt idx="30">
                  <c:v>89.24650626739013</c:v>
                </c:pt>
                <c:pt idx="31">
                  <c:v>89.79836060976906</c:v>
                </c:pt>
                <c:pt idx="32">
                  <c:v>90.34217337203873</c:v>
                </c:pt>
                <c:pt idx="33">
                  <c:v>90.8780319224627</c:v>
                </c:pt>
                <c:pt idx="34">
                  <c:v>91.40602292749631</c:v>
                </c:pt>
                <c:pt idx="35">
                  <c:v>91.92623235362448</c:v>
                </c:pt>
                <c:pt idx="36">
                  <c:v>92.43874546883009</c:v>
                </c:pt>
                <c:pt idx="37">
                  <c:v>92.94364684371585</c:v>
                </c:pt>
                <c:pt idx="38">
                  <c:v>93.44102035232103</c:v>
                </c:pt>
                <c:pt idx="39">
                  <c:v>93.93094917265256</c:v>
                </c:pt>
                <c:pt idx="40">
                  <c:v>94.4135157869733</c:v>
                </c:pt>
                <c:pt idx="41">
                  <c:v>94.91851247579405</c:v>
                </c:pt>
                <c:pt idx="42">
                  <c:v>95.41611089327331</c:v>
                </c:pt>
                <c:pt idx="43">
                  <c:v>95.90637874473038</c:v>
                </c:pt>
                <c:pt idx="44">
                  <c:v>96.389383559569</c:v>
                </c:pt>
                <c:pt idx="45">
                  <c:v>96.86519269403463</c:v>
                </c:pt>
                <c:pt idx="46">
                  <c:v>97.33387333352037</c:v>
                </c:pt>
                <c:pt idx="47">
                  <c:v>97.79549249441305</c:v>
                </c:pt>
                <c:pt idx="48">
                  <c:v>98.25011702548254</c:v>
                </c:pt>
                <c:pt idx="49">
                  <c:v>98.69781360881755</c:v>
                </c:pt>
                <c:pt idx="50">
                  <c:v>99.13864876030372</c:v>
                </c:pt>
                <c:pt idx="51">
                  <c:v>99.5726888296557</c:v>
                </c:pt>
                <c:pt idx="52">
                  <c:v>100.0</c:v>
                </c:pt>
                <c:pt idx="53">
                  <c:v>100.4206482870178</c:v>
                </c:pt>
                <c:pt idx="54">
                  <c:v>100.83469953765558</c:v>
                </c:pt>
                <c:pt idx="55">
                  <c:v>101.24221942840698</c:v>
                </c:pt>
                <c:pt idx="56">
                  <c:v>101.64327346317754</c:v>
                </c:pt>
                <c:pt idx="57">
                  <c:v>102.03792697074014</c:v>
                </c:pt>
                <c:pt idx="58">
                  <c:v>102.42624510179235</c:v>
                </c:pt>
                <c:pt idx="59">
                  <c:v>102.80829282562655</c:v>
                </c:pt>
                <c:pt idx="60">
                  <c:v>103.18413492642154</c:v>
                </c:pt>
                <c:pt idx="61">
                  <c:v>103.55383599917359</c:v>
                </c:pt>
                <c:pt idx="62">
                  <c:v>103.91746044527514</c:v>
                </c:pt>
                <c:pt idx="63">
                  <c:v>104.27507246775984</c:v>
                </c:pt>
                <c:pt idx="64">
                  <c:v>104.6267360662207</c:v>
                </c:pt>
                <c:pt idx="65">
                  <c:v>104.9725150314253</c:v>
                </c:pt>
                <c:pt idx="66">
                  <c:v>105.31247293963573</c:v>
                </c:pt>
                <c:pt idx="67">
                  <c:v>105.6466731466555</c:v>
                </c:pt>
                <c:pt idx="68">
                  <c:v>105.97517878161405</c:v>
                </c:pt>
                <c:pt idx="69">
                  <c:v>106.2980527405067</c:v>
                </c:pt>
                <c:pt idx="70">
                  <c:v>106.61535767951311</c:v>
                </c:pt>
                <c:pt idx="71">
                  <c:v>106.9271560080988</c:v>
                </c:pt>
                <c:pt idx="72">
                  <c:v>107.23350988193101</c:v>
                </c:pt>
                <c:pt idx="73">
                  <c:v>107.53448119561537</c:v>
                </c:pt>
                <c:pt idx="74">
                  <c:v>107.83013157527613</c:v>
                </c:pt>
                <c:pt idx="75">
                  <c:v>108.12052237099732</c:v>
                </c:pt>
                <c:pt idx="76">
                  <c:v>108.40571464914126</c:v>
                </c:pt>
                <c:pt idx="77">
                  <c:v>108.68576918456145</c:v>
                </c:pt>
                <c:pt idx="78">
                  <c:v>108.96074645273015</c:v>
                </c:pt>
                <c:pt idx="79">
                  <c:v>109.23070662179524</c:v>
                </c:pt>
                <c:pt idx="80">
                  <c:v>109.49570954458439</c:v>
                </c:pt>
                <c:pt idx="81">
                  <c:v>108.88819631956056</c:v>
                </c:pt>
                <c:pt idx="82">
                  <c:v>108.28107166082661</c:v>
                </c:pt>
                <c:pt idx="83">
                  <c:v>107.67485090008859</c:v>
                </c:pt>
                <c:pt idx="84">
                  <c:v>107.0700307593542</c:v>
                </c:pt>
                <c:pt idx="85">
                  <c:v>106.4670873141375</c:v>
                </c:pt>
                <c:pt idx="86">
                  <c:v>105.86647415685377</c:v>
                </c:pt>
                <c:pt idx="87">
                  <c:v>105.26862078234825</c:v>
                </c:pt>
                <c:pt idx="88">
                  <c:v>104.67393121261917</c:v>
                </c:pt>
                <c:pt idx="89">
                  <c:v>104.08278287274008</c:v>
                </c:pt>
                <c:pt idx="90">
                  <c:v>103.49552572488956</c:v>
                </c:pt>
                <c:pt idx="91">
                  <c:v>102.91248166241134</c:v>
                </c:pt>
                <c:pt idx="92">
                  <c:v>102.33394416111241</c:v>
                </c:pt>
                <c:pt idx="93">
                  <c:v>101.7601781806262</c:v>
                </c:pt>
                <c:pt idx="94">
                  <c:v>101.19142030478142</c:v>
                </c:pt>
                <c:pt idx="95">
                  <c:v>100.6278791065244</c:v>
                </c:pt>
                <c:pt idx="96">
                  <c:v>100.06973572014746</c:v>
                </c:pt>
                <c:pt idx="97">
                  <c:v>99.51714460136479</c:v>
                </c:pt>
                <c:pt idx="98">
                  <c:v>98.97023445415914</c:v>
                </c:pt>
                <c:pt idx="99">
                  <c:v>98.42910930229898</c:v>
                </c:pt>
                <c:pt idx="100">
                  <c:v>97.89384968291796</c:v>
                </c:pt>
                <c:pt idx="101">
                  <c:v>97.93593221894648</c:v>
                </c:pt>
                <c:pt idx="102">
                  <c:v>97.97381793327418</c:v>
                </c:pt>
                <c:pt idx="103">
                  <c:v>98.00755593349079</c:v>
                </c:pt>
                <c:pt idx="104">
                  <c:v>98.03719495250405</c:v>
                </c:pt>
                <c:pt idx="105">
                  <c:v>98.06278334853624</c:v>
                </c:pt>
                <c:pt idx="106">
                  <c:v>98.08436910519359</c:v>
                </c:pt>
                <c:pt idx="107">
                  <c:v>98.10199983160112</c:v>
                </c:pt>
                <c:pt idx="108">
                  <c:v>98.11572276260816</c:v>
                </c:pt>
                <c:pt idx="109">
                  <c:v>98.1255847590574</c:v>
                </c:pt>
                <c:pt idx="110">
                  <c:v>98.13163230812361</c:v>
                </c:pt>
                <c:pt idx="111">
                  <c:v>98.13391152371325</c:v>
                </c:pt>
                <c:pt idx="112">
                  <c:v>98.13246814693295</c:v>
                </c:pt>
                <c:pt idx="113">
                  <c:v>98.12734754661474</c:v>
                </c:pt>
                <c:pt idx="114">
                  <c:v>98.11859471990964</c:v>
                </c:pt>
                <c:pt idx="115">
                  <c:v>98.10625429293717</c:v>
                </c:pt>
                <c:pt idx="116">
                  <c:v>98.09037052149664</c:v>
                </c:pt>
                <c:pt idx="117">
                  <c:v>98.07098729183569</c:v>
                </c:pt>
                <c:pt idx="118">
                  <c:v>98.04814812147788</c:v>
                </c:pt>
                <c:pt idx="119">
                  <c:v>98.02189616010317</c:v>
                </c:pt>
                <c:pt idx="120">
                  <c:v>97.99227419048651</c:v>
                </c:pt>
                <c:pt idx="121">
                  <c:v>97.9593246294863</c:v>
                </c:pt>
                <c:pt idx="122">
                  <c:v>97.92308952908748</c:v>
                </c:pt>
                <c:pt idx="123">
                  <c:v>97.88361057749599</c:v>
                </c:pt>
                <c:pt idx="124">
                  <c:v>97.84092910027782</c:v>
                </c:pt>
                <c:pt idx="125">
                  <c:v>97.79508606155298</c:v>
                </c:pt>
                <c:pt idx="126">
                  <c:v>97.74612206523047</c:v>
                </c:pt>
                <c:pt idx="127">
                  <c:v>97.69407735629245</c:v>
                </c:pt>
                <c:pt idx="128">
                  <c:v>97.63899182211897</c:v>
                </c:pt>
                <c:pt idx="129">
                  <c:v>97.58090499385955</c:v>
                </c:pt>
                <c:pt idx="130">
                  <c:v>97.51985604784178</c:v>
                </c:pt>
                <c:pt idx="131">
                  <c:v>97.45588380702362</c:v>
                </c:pt>
                <c:pt idx="132">
                  <c:v>97.38902674248105</c:v>
                </c:pt>
                <c:pt idx="133">
                  <c:v>97.31932297493556</c:v>
                </c:pt>
                <c:pt idx="134">
                  <c:v>97.24681027631568</c:v>
                </c:pt>
                <c:pt idx="135">
                  <c:v>97.17152607135417</c:v>
                </c:pt>
                <c:pt idx="136">
                  <c:v>97.093507439219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E$2:$E$138</c:f>
              <c:numCache>
                <c:formatCode>General</c:formatCode>
                <c:ptCount val="137"/>
                <c:pt idx="0">
                  <c:v>0.25688073394495425</c:v>
                </c:pt>
                <c:pt idx="1">
                  <c:v>0.2602739726027398</c:v>
                </c:pt>
                <c:pt idx="2">
                  <c:v>0.26363636363636367</c:v>
                </c:pt>
                <c:pt idx="3">
                  <c:v>0.26696832579185525</c:v>
                </c:pt>
                <c:pt idx="4">
                  <c:v>0.2702702702702704</c:v>
                </c:pt>
                <c:pt idx="5">
                  <c:v>0.27354260089686117</c:v>
                </c:pt>
                <c:pt idx="6">
                  <c:v>0.2767857142857144</c:v>
                </c:pt>
                <c:pt idx="7">
                  <c:v>0.28</c:v>
                </c:pt>
                <c:pt idx="8">
                  <c:v>0.2831858407079647</c:v>
                </c:pt>
                <c:pt idx="9">
                  <c:v>0.2863436123348019</c:v>
                </c:pt>
                <c:pt idx="10">
                  <c:v>0.28947368421052644</c:v>
                </c:pt>
                <c:pt idx="11">
                  <c:v>0.29257641921397387</c:v>
                </c:pt>
                <c:pt idx="12">
                  <c:v>0.2956521739130436</c:v>
                </c:pt>
                <c:pt idx="13">
                  <c:v>0.29870129870129886</c:v>
                </c:pt>
                <c:pt idx="14">
                  <c:v>0.30172413793103453</c:v>
                </c:pt>
                <c:pt idx="15">
                  <c:v>0.30472103004291856</c:v>
                </c:pt>
                <c:pt idx="16">
                  <c:v>0.3076923076923078</c:v>
                </c:pt>
                <c:pt idx="17">
                  <c:v>0.31063829787234054</c:v>
                </c:pt>
                <c:pt idx="18">
                  <c:v>0.3135593220338983</c:v>
                </c:pt>
                <c:pt idx="19">
                  <c:v>0.3164556962025317</c:v>
                </c:pt>
                <c:pt idx="20">
                  <c:v>0.31932773109243706</c:v>
                </c:pt>
                <c:pt idx="21">
                  <c:v>0.32217573221757323</c:v>
                </c:pt>
                <c:pt idx="22">
                  <c:v>0.325</c:v>
                </c:pt>
                <c:pt idx="23">
                  <c:v>0.3278008298755188</c:v>
                </c:pt>
                <c:pt idx="24">
                  <c:v>0.33057851239669434</c:v>
                </c:pt>
                <c:pt idx="25">
                  <c:v>0.33333333333333365</c:v>
                </c:pt>
                <c:pt idx="26">
                  <c:v>0.33606557377049195</c:v>
                </c:pt>
                <c:pt idx="27">
                  <c:v>0.33877551020408153</c:v>
                </c:pt>
                <c:pt idx="28">
                  <c:v>0.3414634146341466</c:v>
                </c:pt>
                <c:pt idx="29">
                  <c:v>0.3441295546558706</c:v>
                </c:pt>
                <c:pt idx="30">
                  <c:v>0.34677419354838723</c:v>
                </c:pt>
                <c:pt idx="31">
                  <c:v>0.3493975903614459</c:v>
                </c:pt>
                <c:pt idx="32">
                  <c:v>0.35200000000000015</c:v>
                </c:pt>
                <c:pt idx="33">
                  <c:v>0.354581673306773</c:v>
                </c:pt>
                <c:pt idx="34">
                  <c:v>0.35714285714285715</c:v>
                </c:pt>
                <c:pt idx="35">
                  <c:v>0.3596837944664031</c:v>
                </c:pt>
                <c:pt idx="36">
                  <c:v>0.3622047244094489</c:v>
                </c:pt>
                <c:pt idx="37">
                  <c:v>0.36470588235294127</c:v>
                </c:pt>
                <c:pt idx="38">
                  <c:v>0.3671875000000001</c:v>
                </c:pt>
                <c:pt idx="39">
                  <c:v>0.36964980544747084</c:v>
                </c:pt>
                <c:pt idx="40">
                  <c:v>0.37209302325581406</c:v>
                </c:pt>
                <c:pt idx="41">
                  <c:v>0.37451737451737466</c:v>
                </c:pt>
                <c:pt idx="42">
                  <c:v>0.376923076923077</c:v>
                </c:pt>
                <c:pt idx="43">
                  <c:v>0.37931034482758613</c:v>
                </c:pt>
                <c:pt idx="44">
                  <c:v>0.3816793893129772</c:v>
                </c:pt>
                <c:pt idx="45">
                  <c:v>0.38403041825095063</c:v>
                </c:pt>
                <c:pt idx="46">
                  <c:v>0.3863636363636365</c:v>
                </c:pt>
                <c:pt idx="47">
                  <c:v>0.38867924528301895</c:v>
                </c:pt>
                <c:pt idx="48">
                  <c:v>0.3909774436090227</c:v>
                </c:pt>
                <c:pt idx="49">
                  <c:v>0.3932584269662923</c:v>
                </c:pt>
                <c:pt idx="50">
                  <c:v>0.3955223880597016</c:v>
                </c:pt>
                <c:pt idx="51">
                  <c:v>0.39776951672862454</c:v>
                </c:pt>
                <c:pt idx="52">
                  <c:v>0.4</c:v>
                </c:pt>
                <c:pt idx="53">
                  <c:v>0.40221402214022145</c:v>
                </c:pt>
                <c:pt idx="54">
                  <c:v>0.40441176470588236</c:v>
                </c:pt>
                <c:pt idx="55">
                  <c:v>0.4065934065934067</c:v>
                </c:pt>
                <c:pt idx="56">
                  <c:v>0.40875912408759135</c:v>
                </c:pt>
                <c:pt idx="57">
                  <c:v>0.410909090909091</c:v>
                </c:pt>
                <c:pt idx="58">
                  <c:v>0.4130434782608697</c:v>
                </c:pt>
                <c:pt idx="59">
                  <c:v>0.4151624548736464</c:v>
                </c:pt>
                <c:pt idx="60">
                  <c:v>0.4172661870503597</c:v>
                </c:pt>
                <c:pt idx="61">
                  <c:v>0.4193548387096776</c:v>
                </c:pt>
                <c:pt idx="62">
                  <c:v>0.4214285714285715</c:v>
                </c:pt>
                <c:pt idx="63">
                  <c:v>0.42348754448398584</c:v>
                </c:pt>
                <c:pt idx="64">
                  <c:v>0.4255319148936171</c:v>
                </c:pt>
                <c:pt idx="65">
                  <c:v>0.42756183745583043</c:v>
                </c:pt>
                <c:pt idx="66">
                  <c:v>0.42957746478873243</c:v>
                </c:pt>
                <c:pt idx="67">
                  <c:v>0.4315789473684211</c:v>
                </c:pt>
                <c:pt idx="68">
                  <c:v>0.43356643356643365</c:v>
                </c:pt>
                <c:pt idx="69">
                  <c:v>0.43554006968641124</c:v>
                </c:pt>
                <c:pt idx="70">
                  <c:v>0.43750000000000006</c:v>
                </c:pt>
                <c:pt idx="71">
                  <c:v>0.43944636678200705</c:v>
                </c:pt>
                <c:pt idx="72">
                  <c:v>0.4413793103448277</c:v>
                </c:pt>
                <c:pt idx="73">
                  <c:v>0.44329896907216504</c:v>
                </c:pt>
                <c:pt idx="74">
                  <c:v>0.4452054794520549</c:v>
                </c:pt>
                <c:pt idx="75">
                  <c:v>0.44709897610921506</c:v>
                </c:pt>
                <c:pt idx="76">
                  <c:v>0.44897959183673475</c:v>
                </c:pt>
                <c:pt idx="77">
                  <c:v>0.45084745762711864</c:v>
                </c:pt>
                <c:pt idx="78">
                  <c:v>0.45270270270270274</c:v>
                </c:pt>
                <c:pt idx="79">
                  <c:v>0.4545454545454546</c:v>
                </c:pt>
                <c:pt idx="80">
                  <c:v>0.4563758389261746</c:v>
                </c:pt>
                <c:pt idx="81">
                  <c:v>0.4581939799331104</c:v>
                </c:pt>
                <c:pt idx="82">
                  <c:v>0.4600000000000001</c:v>
                </c:pt>
                <c:pt idx="83">
                  <c:v>0.46179401993355484</c:v>
                </c:pt>
                <c:pt idx="84">
                  <c:v>0.4635761589403974</c:v>
                </c:pt>
                <c:pt idx="85">
                  <c:v>0.4653465346534654</c:v>
                </c:pt>
                <c:pt idx="86">
                  <c:v>0.46710526315789486</c:v>
                </c:pt>
                <c:pt idx="87">
                  <c:v>0.4688524590163935</c:v>
                </c:pt>
                <c:pt idx="88">
                  <c:v>0.47058823529411775</c:v>
                </c:pt>
                <c:pt idx="89">
                  <c:v>0.472312703583062</c:v>
                </c:pt>
                <c:pt idx="90">
                  <c:v>0.4740259740259741</c:v>
                </c:pt>
                <c:pt idx="91">
                  <c:v>0.47572815533980595</c:v>
                </c:pt>
                <c:pt idx="92">
                  <c:v>0.4774193548387098</c:v>
                </c:pt>
                <c:pt idx="93">
                  <c:v>0.4790996784565918</c:v>
                </c:pt>
                <c:pt idx="94">
                  <c:v>0.48076923076923084</c:v>
                </c:pt>
                <c:pt idx="95">
                  <c:v>0.48242811501597443</c:v>
                </c:pt>
                <c:pt idx="96">
                  <c:v>0.48407643312101917</c:v>
                </c:pt>
                <c:pt idx="97">
                  <c:v>0.48571428571428577</c:v>
                </c:pt>
                <c:pt idx="98">
                  <c:v>0.4873417721518988</c:v>
                </c:pt>
                <c:pt idx="99">
                  <c:v>0.48895899053627767</c:v>
                </c:pt>
                <c:pt idx="100">
                  <c:v>0.4905660377358491</c:v>
                </c:pt>
                <c:pt idx="101">
                  <c:v>0.4921630094043888</c:v>
                </c:pt>
                <c:pt idx="102">
                  <c:v>0.4937500000000001</c:v>
                </c:pt>
                <c:pt idx="103">
                  <c:v>0.49532710280373843</c:v>
                </c:pt>
                <c:pt idx="104">
                  <c:v>0.49689440993788825</c:v>
                </c:pt>
                <c:pt idx="105">
                  <c:v>0.498452012383901</c:v>
                </c:pt>
                <c:pt idx="106">
                  <c:v>0.5000000000000001</c:v>
                </c:pt>
                <c:pt idx="107">
                  <c:v>0.5015384615384616</c:v>
                </c:pt>
                <c:pt idx="108">
                  <c:v>0.5030674846625768</c:v>
                </c:pt>
                <c:pt idx="109">
                  <c:v>0.5045871559633028</c:v>
                </c:pt>
                <c:pt idx="110">
                  <c:v>0.5060975609756099</c:v>
                </c:pt>
                <c:pt idx="111">
                  <c:v>0.507598784194529</c:v>
                </c:pt>
                <c:pt idx="112">
                  <c:v>0.5090909090909091</c:v>
                </c:pt>
                <c:pt idx="113">
                  <c:v>0.5105740181268882</c:v>
                </c:pt>
                <c:pt idx="114">
                  <c:v>0.5120481927710845</c:v>
                </c:pt>
                <c:pt idx="115">
                  <c:v>0.5135135135135136</c:v>
                </c:pt>
                <c:pt idx="116">
                  <c:v>0.5149700598802396</c:v>
                </c:pt>
                <c:pt idx="117">
                  <c:v>0.5164179104477612</c:v>
                </c:pt>
                <c:pt idx="118">
                  <c:v>0.5178571428571429</c:v>
                </c:pt>
                <c:pt idx="119">
                  <c:v>0.5192878338278932</c:v>
                </c:pt>
                <c:pt idx="120">
                  <c:v>0.5207100591715977</c:v>
                </c:pt>
                <c:pt idx="121">
                  <c:v>0.5221238938053099</c:v>
                </c:pt>
                <c:pt idx="122">
                  <c:v>0.523529411764706</c:v>
                </c:pt>
                <c:pt idx="123">
                  <c:v>0.5249266862170089</c:v>
                </c:pt>
                <c:pt idx="124">
                  <c:v>0.5263157894736843</c:v>
                </c:pt>
                <c:pt idx="125">
                  <c:v>0.5276967930029156</c:v>
                </c:pt>
                <c:pt idx="126">
                  <c:v>0.5290697674418605</c:v>
                </c:pt>
                <c:pt idx="127">
                  <c:v>0.5304347826086957</c:v>
                </c:pt>
                <c:pt idx="128">
                  <c:v>0.5317919075144509</c:v>
                </c:pt>
                <c:pt idx="129">
                  <c:v>0.5331412103746399</c:v>
                </c:pt>
                <c:pt idx="130">
                  <c:v>0.5344827586206897</c:v>
                </c:pt>
                <c:pt idx="131">
                  <c:v>0.5358166189111748</c:v>
                </c:pt>
                <c:pt idx="132">
                  <c:v>0.5371428571428573</c:v>
                </c:pt>
                <c:pt idx="133">
                  <c:v>0.5384615384615384</c:v>
                </c:pt>
                <c:pt idx="134">
                  <c:v>0.5397727272727274</c:v>
                </c:pt>
                <c:pt idx="135">
                  <c:v>0.5410764872521246</c:v>
                </c:pt>
                <c:pt idx="136">
                  <c:v>0.54237288135593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93.40173174940904</c:v>
                </c:pt>
                <c:pt idx="1">
                  <c:v>187.99315546538037</c:v>
                </c:pt>
                <c:pt idx="2">
                  <c:v>182.86718447532417</c:v>
                </c:pt>
                <c:pt idx="3">
                  <c:v>178.00357478043293</c:v>
                </c:pt>
                <c:pt idx="4">
                  <c:v>173.11557852717257</c:v>
                </c:pt>
                <c:pt idx="5">
                  <c:v>166.20225442626884</c:v>
                </c:pt>
                <c:pt idx="6">
                  <c:v>159.7687674948374</c:v>
                </c:pt>
                <c:pt idx="7">
                  <c:v>153.7670212266545</c:v>
                </c:pt>
                <c:pt idx="8">
                  <c:v>148.15485608369434</c:v>
                </c:pt>
                <c:pt idx="9">
                  <c:v>142.89526470349657</c:v>
                </c:pt>
                <c:pt idx="10">
                  <c:v>137.95570383468393</c:v>
                </c:pt>
                <c:pt idx="11">
                  <c:v>133.30749532717704</c:v>
                </c:pt>
                <c:pt idx="12">
                  <c:v>128.9253072841302</c:v>
                </c:pt>
                <c:pt idx="13">
                  <c:v>124.78670625433072</c:v>
                </c:pt>
                <c:pt idx="14">
                  <c:v>121.05729851047361</c:v>
                </c:pt>
                <c:pt idx="15">
                  <c:v>119.12181387056344</c:v>
                </c:pt>
                <c:pt idx="16">
                  <c:v>117.2372129790595</c:v>
                </c:pt>
                <c:pt idx="17">
                  <c:v>115.40159932231846</c:v>
                </c:pt>
                <c:pt idx="18">
                  <c:v>113.61316742314943</c:v>
                </c:pt>
                <c:pt idx="19">
                  <c:v>111.87019758142993</c:v>
                </c:pt>
                <c:pt idx="20">
                  <c:v>110.17105098180053</c:v>
                </c:pt>
                <c:pt idx="21">
                  <c:v>108.51416513417347</c:v>
                </c:pt>
                <c:pt idx="22">
                  <c:v>106.8980496172099</c:v>
                </c:pt>
                <c:pt idx="23">
                  <c:v>103.36492052468454</c:v>
                </c:pt>
                <c:pt idx="24">
                  <c:v>100.0</c:v>
                </c:pt>
                <c:pt idx="25">
                  <c:v>96.79261131104981</c:v>
                </c:pt>
                <c:pt idx="26">
                  <c:v>93.73279319184797</c:v>
                </c:pt>
                <c:pt idx="27">
                  <c:v>90.81126307742639</c:v>
                </c:pt>
                <c:pt idx="28">
                  <c:v>88.01938088148667</c:v>
                </c:pt>
                <c:pt idx="29">
                  <c:v>85.34911363876331</c:v>
                </c:pt>
                <c:pt idx="30">
                  <c:v>82.79300121367929</c:v>
                </c:pt>
                <c:pt idx="31">
                  <c:v>80.34412317631441</c:v>
                </c:pt>
                <c:pt idx="32">
                  <c:v>77.99606686623584</c:v>
                </c:pt>
                <c:pt idx="33">
                  <c:v>75.74289660442844</c:v>
                </c:pt>
                <c:pt idx="34">
                  <c:v>73.57912397307338</c:v>
                </c:pt>
                <c:pt idx="35">
                  <c:v>71.4996790615802</c:v>
                </c:pt>
                <c:pt idx="36">
                  <c:v>69.4998825736945</c:v>
                </c:pt>
                <c:pt idx="37">
                  <c:v>67.57541870267943</c:v>
                </c:pt>
                <c:pt idx="38">
                  <c:v>65.72230870666863</c:v>
                </c:pt>
                <c:pt idx="39">
                  <c:v>63.936885150904466</c:v>
                </c:pt>
                <c:pt idx="40">
                  <c:v>62.215766823598315</c:v>
                </c:pt>
                <c:pt idx="41">
                  <c:v>60.55583437336672</c:v>
                </c:pt>
                <c:pt idx="42">
                  <c:v>58.9542067542865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54.82206633110385</c:v>
                </c:pt>
                <c:pt idx="1">
                  <c:v>152.0532550765516</c:v>
                </c:pt>
                <c:pt idx="2">
                  <c:v>149.4256704789421</c:v>
                </c:pt>
                <c:pt idx="3">
                  <c:v>146.9296230265696</c:v>
                </c:pt>
                <c:pt idx="4">
                  <c:v>144.33278547418124</c:v>
                </c:pt>
                <c:pt idx="5">
                  <c:v>139.9514728101903</c:v>
                </c:pt>
                <c:pt idx="6">
                  <c:v>135.863421296443</c:v>
                </c:pt>
                <c:pt idx="7">
                  <c:v>132.03925504639597</c:v>
                </c:pt>
                <c:pt idx="8">
                  <c:v>128.45315607074846</c:v>
                </c:pt>
                <c:pt idx="9">
                  <c:v>125.08242170150636</c:v>
                </c:pt>
                <c:pt idx="10">
                  <c:v>121.90706895028582</c:v>
                </c:pt>
                <c:pt idx="11">
                  <c:v>118.90948443198626</c:v>
                </c:pt>
                <c:pt idx="12">
                  <c:v>116.07411691498942</c:v>
                </c:pt>
                <c:pt idx="13">
                  <c:v>113.38720878920677</c:v>
                </c:pt>
                <c:pt idx="14">
                  <c:v>111.0062217321522</c:v>
                </c:pt>
                <c:pt idx="15">
                  <c:v>110.21903674246438</c:v>
                </c:pt>
                <c:pt idx="16">
                  <c:v>109.44735643734941</c:v>
                </c:pt>
                <c:pt idx="17">
                  <c:v>108.69065291383787</c:v>
                </c:pt>
                <c:pt idx="18">
                  <c:v>107.94842241116392</c:v>
                </c:pt>
                <c:pt idx="19">
                  <c:v>107.22018399983469</c:v>
                </c:pt>
                <c:pt idx="20">
                  <c:v>106.50547836787617</c:v>
                </c:pt>
                <c:pt idx="21">
                  <c:v>105.80386669176922</c:v>
                </c:pt>
                <c:pt idx="22">
                  <c:v>105.11492958170143</c:v>
                </c:pt>
                <c:pt idx="23">
                  <c:v>102.50275849162014</c:v>
                </c:pt>
                <c:pt idx="24">
                  <c:v>100.0</c:v>
                </c:pt>
                <c:pt idx="25">
                  <c:v>97.600074844314</c:v>
                </c:pt>
                <c:pt idx="26">
                  <c:v>95.29677831305982</c:v>
                </c:pt>
                <c:pt idx="27">
                  <c:v>93.08427188492249</c:v>
                </c:pt>
                <c:pt idx="28">
                  <c:v>90.95707366211488</c:v>
                </c:pt>
                <c:pt idx="29">
                  <c:v>88.91004795515755</c:v>
                </c:pt>
                <c:pt idx="30">
                  <c:v>86.93839427275763</c:v>
                </c:pt>
                <c:pt idx="31">
                  <c:v>85.03763587864633</c:v>
                </c:pt>
                <c:pt idx="32">
                  <c:v>83.20360799917815</c:v>
                </c:pt>
                <c:pt idx="33">
                  <c:v>81.43244570293024</c:v>
                </c:pt>
                <c:pt idx="34">
                  <c:v>79.72057142778128</c:v>
                </c:pt>
                <c:pt idx="35">
                  <c:v>78.06468210292759</c:v>
                </c:pt>
                <c:pt idx="36">
                  <c:v>76.4617358030839</c:v>
                </c:pt>
                <c:pt idx="37">
                  <c:v>74.90893787899812</c:v>
                </c:pt>
                <c:pt idx="38">
                  <c:v>73.40372653054852</c:v>
                </c:pt>
                <c:pt idx="39">
                  <c:v>71.94375782334464</c:v>
                </c:pt>
                <c:pt idx="40">
                  <c:v>70.52689019309068</c:v>
                </c:pt>
                <c:pt idx="41">
                  <c:v>69.15116852962613</c:v>
                </c:pt>
                <c:pt idx="42">
                  <c:v>67.814807979713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106.01095596158842</c:v>
                </c:pt>
                <c:pt idx="1">
                  <c:v>106.58575852853059</c:v>
                </c:pt>
                <c:pt idx="2">
                  <c:v>107.12244893544498</c:v>
                </c:pt>
                <c:pt idx="3">
                  <c:v>107.6247495325275</c:v>
                </c:pt>
                <c:pt idx="4">
                  <c:v>107.92870657071536</c:v>
                </c:pt>
                <c:pt idx="5">
                  <c:v>106.74778526862343</c:v>
                </c:pt>
                <c:pt idx="6">
                  <c:v>105.623764196229</c:v>
                </c:pt>
                <c:pt idx="7">
                  <c:v>104.55104350968507</c:v>
                </c:pt>
                <c:pt idx="8">
                  <c:v>103.52454971648672</c:v>
                </c:pt>
                <c:pt idx="9">
                  <c:v>102.53973141183725</c:v>
                </c:pt>
                <c:pt idx="10">
                  <c:v>101.59253759262296</c:v>
                </c:pt>
                <c:pt idx="11">
                  <c:v>100.67938550176889</c:v>
                </c:pt>
                <c:pt idx="12">
                  <c:v>99.79712285597365</c:v>
                </c:pt>
                <c:pt idx="13">
                  <c:v>98.94298778935293</c:v>
                </c:pt>
                <c:pt idx="14">
                  <c:v>98.26516540340545</c:v>
                </c:pt>
                <c:pt idx="15">
                  <c:v>98.93685811828765</c:v>
                </c:pt>
                <c:pt idx="16">
                  <c:v>99.57888954908977</c:v>
                </c:pt>
                <c:pt idx="17">
                  <c:v>100.19248717938811</c:v>
                </c:pt>
                <c:pt idx="18">
                  <c:v>100.7788164183647</c:v>
                </c:pt>
                <c:pt idx="19">
                  <c:v>101.3389844064995</c:v>
                </c:pt>
                <c:pt idx="20">
                  <c:v>101.87404356657039</c:v>
                </c:pt>
                <c:pt idx="21">
                  <c:v>102.38499491600659</c:v>
                </c:pt>
                <c:pt idx="22">
                  <c:v>102.87279115573742</c:v>
                </c:pt>
                <c:pt idx="23">
                  <c:v>101.41881148690825</c:v>
                </c:pt>
                <c:pt idx="24">
                  <c:v>100.0</c:v>
                </c:pt>
                <c:pt idx="25">
                  <c:v>98.61497981582137</c:v>
                </c:pt>
                <c:pt idx="26">
                  <c:v>97.26231239508881</c:v>
                </c:pt>
                <c:pt idx="27">
                  <c:v>95.94052604913222</c:v>
                </c:pt>
                <c:pt idx="28">
                  <c:v>94.64814088104674</c:v>
                </c:pt>
                <c:pt idx="29">
                  <c:v>93.38369058108901</c:v>
                </c:pt>
                <c:pt idx="30">
                  <c:v>92.14574141463086</c:v>
                </c:pt>
                <c:pt idx="31">
                  <c:v>90.9329086575365</c:v>
                </c:pt>
                <c:pt idx="32">
                  <c:v>89.74387065645001</c:v>
                </c:pt>
                <c:pt idx="33">
                  <c:v>88.5773806240458</c:v>
                </c:pt>
                <c:pt idx="34">
                  <c:v>87.43227622519191</c:v>
                </c:pt>
                <c:pt idx="35">
                  <c:v>86.30748697212533</c:v>
                </c:pt>
                <c:pt idx="36">
                  <c:v>85.20203942704484</c:v>
                </c:pt>
                <c:pt idx="37">
                  <c:v>84.1150602098398</c:v>
                </c:pt>
                <c:pt idx="38">
                  <c:v>83.04577682638109</c:v>
                </c:pt>
                <c:pt idx="39">
                  <c:v>81.9935163669645</c:v>
                </c:pt>
                <c:pt idx="40">
                  <c:v>80.95770217156529</c:v>
                </c:pt>
                <c:pt idx="41">
                  <c:v>79.9378486139827</c:v>
                </c:pt>
                <c:pt idx="42">
                  <c:v>78.9335542151776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3032670067461599</c:v>
                </c:pt>
                <c:pt idx="1">
                  <c:v>0.3104498211096015</c:v>
                </c:pt>
                <c:pt idx="2">
                  <c:v>0.3174860474248098</c:v>
                </c:pt>
                <c:pt idx="3">
                  <c:v>0.32438012775385205</c:v>
                </c:pt>
                <c:pt idx="4">
                  <c:v>0.3311363264763136</c:v>
                </c:pt>
                <c:pt idx="5">
                  <c:v>0.33775873908545895</c:v>
                </c:pt>
                <c:pt idx="6">
                  <c:v>0.34425130046697394</c:v>
                </c:pt>
                <c:pt idx="7">
                  <c:v>0.35061779269545007</c:v>
                </c:pt>
                <c:pt idx="8">
                  <c:v>0.3568618523810708</c:v>
                </c:pt>
                <c:pt idx="9">
                  <c:v>0.3629869775964889</c:v>
                </c:pt>
                <c:pt idx="10">
                  <c:v>0.3689965344116164</c:v>
                </c:pt>
                <c:pt idx="11">
                  <c:v>0.37489376306197525</c:v>
                </c:pt>
                <c:pt idx="12">
                  <c:v>0.3806817837743643</c:v>
                </c:pt>
                <c:pt idx="13">
                  <c:v>0.3863636022718473</c:v>
                </c:pt>
                <c:pt idx="14">
                  <c:v>0.3919421149784668</c:v>
                </c:pt>
                <c:pt idx="15">
                  <c:v>0.39742011394262483</c:v>
                </c:pt>
                <c:pt idx="16">
                  <c:v>0.4028002914967086</c:v>
                </c:pt>
                <c:pt idx="17">
                  <c:v>0.408085244669304</c:v>
                </c:pt>
                <c:pt idx="18">
                  <c:v>0.41327747936518733</c:v>
                </c:pt>
                <c:pt idx="19">
                  <c:v>0.4183794143272292</c:v>
                </c:pt>
                <c:pt idx="20">
                  <c:v>0.42339338489337364</c:v>
                </c:pt>
                <c:pt idx="21">
                  <c:v>0.42832164656095173</c:v>
                </c:pt>
                <c:pt idx="22">
                  <c:v>0.4331663783697572</c:v>
                </c:pt>
                <c:pt idx="23">
                  <c:v>0.43792968611454913</c:v>
                </c:pt>
                <c:pt idx="24">
                  <c:v>0.44261360539692784</c:v>
                </c:pt>
                <c:pt idx="25">
                  <c:v>0.4472201045258789</c:v>
                </c:pt>
                <c:pt idx="26">
                  <c:v>0.4517510872756668</c:v>
                </c:pt>
                <c:pt idx="27">
                  <c:v>0.456208395509198</c:v>
                </c:pt>
                <c:pt idx="28">
                  <c:v>0.46059381167444635</c:v>
                </c:pt>
                <c:pt idx="29">
                  <c:v>0.46490906118105074</c:v>
                </c:pt>
                <c:pt idx="30">
                  <c:v>0.4691558146637409</c:v>
                </c:pt>
                <c:pt idx="31">
                  <c:v>0.47333569013882953</c:v>
                </c:pt>
                <c:pt idx="32">
                  <c:v>0.4774502550596199</c:v>
                </c:pt>
                <c:pt idx="33">
                  <c:v>0.48150102827621194</c:v>
                </c:pt>
                <c:pt idx="34">
                  <c:v>0.4854894819048564</c:v>
                </c:pt>
                <c:pt idx="35">
                  <c:v>0.4894170431116897</c:v>
                </c:pt>
                <c:pt idx="36">
                  <c:v>0.493285095815389</c:v>
                </c:pt>
                <c:pt idx="37">
                  <c:v>0.4970949823130177</c:v>
                </c:pt>
                <c:pt idx="38">
                  <c:v>0.5008480048330697</c:v>
                </c:pt>
                <c:pt idx="39">
                  <c:v>0.5045454270194915</c:v>
                </c:pt>
                <c:pt idx="40">
                  <c:v>0.5081884753502306</c:v>
                </c:pt>
                <c:pt idx="41">
                  <c:v>0.5117783404936594</c:v>
                </c:pt>
                <c:pt idx="42">
                  <c:v>0.51531617860602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0.21149644976242</c:v>
                </c:pt>
                <c:pt idx="1">
                  <c:v>153.3821821811101</c:v>
                </c:pt>
                <c:pt idx="2">
                  <c:v>147.13649392059938</c:v>
                </c:pt>
                <c:pt idx="3">
                  <c:v>141.40899612167368</c:v>
                </c:pt>
                <c:pt idx="4">
                  <c:v>136.14332058108815</c:v>
                </c:pt>
                <c:pt idx="5">
                  <c:v>131.29061976985008</c:v>
                </c:pt>
                <c:pt idx="6">
                  <c:v>126.80832803542937</c:v>
                </c:pt>
                <c:pt idx="7">
                  <c:v>122.65916802148055</c:v>
                </c:pt>
                <c:pt idx="8">
                  <c:v>118.81035001082591</c:v>
                </c:pt>
                <c:pt idx="9">
                  <c:v>115.23292189459838</c:v>
                </c:pt>
                <c:pt idx="10">
                  <c:v>113.30696608594496</c:v>
                </c:pt>
                <c:pt idx="11">
                  <c:v>111.61013318463145</c:v>
                </c:pt>
                <c:pt idx="12">
                  <c:v>109.97442660904579</c:v>
                </c:pt>
                <c:pt idx="13">
                  <c:v>108.39676735702888</c:v>
                </c:pt>
                <c:pt idx="14">
                  <c:v>106.8742697587449</c:v>
                </c:pt>
                <c:pt idx="15">
                  <c:v>105.40422682863215</c:v>
                </c:pt>
                <c:pt idx="16">
                  <c:v>103.98409691318228</c:v>
                </c:pt>
                <c:pt idx="17">
                  <c:v>102.61149150334828</c:v>
                </c:pt>
                <c:pt idx="18">
                  <c:v>101.28416409573788</c:v>
                </c:pt>
                <c:pt idx="19">
                  <c:v>100.0</c:v>
                </c:pt>
                <c:pt idx="20">
                  <c:v>98.3794884128048</c:v>
                </c:pt>
                <c:pt idx="21">
                  <c:v>96.78305362787046</c:v>
                </c:pt>
                <c:pt idx="22">
                  <c:v>95.2498984357141</c:v>
                </c:pt>
                <c:pt idx="23">
                  <c:v>93.7761291995423</c:v>
                </c:pt>
                <c:pt idx="24">
                  <c:v>92.35816427648855</c:v>
                </c:pt>
                <c:pt idx="25">
                  <c:v>90.99270423239498</c:v>
                </c:pt>
                <c:pt idx="26">
                  <c:v>89.67670540542599</c:v>
                </c:pt>
                <c:pt idx="27">
                  <c:v>88.40735633937288</c:v>
                </c:pt>
                <c:pt idx="28">
                  <c:v>87.18205669995373</c:v>
                </c:pt>
                <c:pt idx="29">
                  <c:v>85.99839835818209</c:v>
                </c:pt>
                <c:pt idx="30">
                  <c:v>85.26622574035143</c:v>
                </c:pt>
                <c:pt idx="31">
                  <c:v>84.59159739185156</c:v>
                </c:pt>
                <c:pt idx="32">
                  <c:v>83.92706719099124</c:v>
                </c:pt>
                <c:pt idx="33">
                  <c:v>83.27239023059705</c:v>
                </c:pt>
                <c:pt idx="34">
                  <c:v>82.62733074854225</c:v>
                </c:pt>
                <c:pt idx="35">
                  <c:v>81.99166161369239</c:v>
                </c:pt>
                <c:pt idx="36">
                  <c:v>81.36516385098376</c:v>
                </c:pt>
                <c:pt idx="37">
                  <c:v>80.7476262021043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29.72672516284644</c:v>
                </c:pt>
                <c:pt idx="1">
                  <c:v>125.73310032847036</c:v>
                </c:pt>
                <c:pt idx="2">
                  <c:v>122.08694980792632</c:v>
                </c:pt>
                <c:pt idx="3">
                  <c:v>118.75085683171889</c:v>
                </c:pt>
                <c:pt idx="4">
                  <c:v>115.69248875812721</c:v>
                </c:pt>
                <c:pt idx="5">
                  <c:v>112.88372127962694</c:v>
                </c:pt>
                <c:pt idx="6">
                  <c:v>110.29993748040687</c:v>
                </c:pt>
                <c:pt idx="7">
                  <c:v>107.91946820276657</c:v>
                </c:pt>
                <c:pt idx="8">
                  <c:v>105.72314437998571</c:v>
                </c:pt>
                <c:pt idx="9">
                  <c:v>103.69393679993199</c:v>
                </c:pt>
                <c:pt idx="10">
                  <c:v>103.0954731923454</c:v>
                </c:pt>
                <c:pt idx="11">
                  <c:v>102.6691809193339</c:v>
                </c:pt>
                <c:pt idx="12">
                  <c:v>102.265748437004</c:v>
                </c:pt>
                <c:pt idx="13">
                  <c:v>101.88411766478976</c:v>
                </c:pt>
                <c:pt idx="14">
                  <c:v>101.52329088549293</c:v>
                </c:pt>
                <c:pt idx="15">
                  <c:v>101.18232635964921</c:v>
                </c:pt>
                <c:pt idx="16">
                  <c:v>100.86033431718545</c:v>
                </c:pt>
                <c:pt idx="17">
                  <c:v>100.55647328856978</c:v>
                </c:pt>
                <c:pt idx="18">
                  <c:v>100.26994674235605</c:v>
                </c:pt>
                <c:pt idx="19">
                  <c:v>100.0</c:v>
                </c:pt>
                <c:pt idx="20">
                  <c:v>99.3645975539483</c:v>
                </c:pt>
                <c:pt idx="21">
                  <c:v>98.72130313908877</c:v>
                </c:pt>
                <c:pt idx="22">
                  <c:v>98.11122238476526</c:v>
                </c:pt>
                <c:pt idx="23">
                  <c:v>97.53220593085263</c:v>
                </c:pt>
                <c:pt idx="24">
                  <c:v>96.98227616787997</c:v>
                </c:pt>
                <c:pt idx="25">
                  <c:v>96.45961127084026</c:v>
                </c:pt>
                <c:pt idx="26">
                  <c:v>95.96253102876206</c:v>
                </c:pt>
                <c:pt idx="27">
                  <c:v>95.48948418699655</c:v>
                </c:pt>
                <c:pt idx="28">
                  <c:v>95.0390370816076</c:v>
                </c:pt>
                <c:pt idx="29">
                  <c:v>94.60986339216728</c:v>
                </c:pt>
                <c:pt idx="30">
                  <c:v>94.65809770501586</c:v>
                </c:pt>
                <c:pt idx="31">
                  <c:v>94.7561163875873</c:v>
                </c:pt>
                <c:pt idx="32">
                  <c:v>94.85203723176922</c:v>
                </c:pt>
                <c:pt idx="33">
                  <c:v>94.94588438812256</c:v>
                </c:pt>
                <c:pt idx="34">
                  <c:v>95.037682714598</c:v>
                </c:pt>
                <c:pt idx="35">
                  <c:v>95.1274576380367</c:v>
                </c:pt>
                <c:pt idx="36">
                  <c:v>95.2152350305831</c:v>
                </c:pt>
                <c:pt idx="37">
                  <c:v>95.301041099585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0.67899439048513</c:v>
                </c:pt>
                <c:pt idx="1">
                  <c:v>90.3172407477464</c:v>
                </c:pt>
                <c:pt idx="2">
                  <c:v>90.00048456813529</c:v>
                </c:pt>
                <c:pt idx="3">
                  <c:v>89.72719967048246</c:v>
                </c:pt>
                <c:pt idx="4">
                  <c:v>89.49584162309111</c:v>
                </c:pt>
                <c:pt idx="5">
                  <c:v>89.30483128489722</c:v>
                </c:pt>
                <c:pt idx="6">
                  <c:v>89.15254281816019</c:v>
                </c:pt>
                <c:pt idx="7">
                  <c:v>89.03729992033045</c:v>
                </c:pt>
                <c:pt idx="8">
                  <c:v>88.95738032998428</c:v>
                </c:pt>
                <c:pt idx="9">
                  <c:v>88.91102681910598</c:v>
                </c:pt>
                <c:pt idx="10">
                  <c:v>90.0132005435928</c:v>
                </c:pt>
                <c:pt idx="11">
                  <c:v>91.2146408774261</c:v>
                </c:pt>
                <c:pt idx="12">
                  <c:v>92.3899143931101</c:v>
                </c:pt>
                <c:pt idx="13">
                  <c:v>93.54055288298801</c:v>
                </c:pt>
                <c:pt idx="14">
                  <c:v>94.6679780644638</c:v>
                </c:pt>
                <c:pt idx="15">
                  <c:v>95.77351035115042</c:v>
                </c:pt>
                <c:pt idx="16">
                  <c:v>96.85837682346998</c:v>
                </c:pt>
                <c:pt idx="17">
                  <c:v>97.92371848070218</c:v>
                </c:pt>
                <c:pt idx="18">
                  <c:v>98.97059684750349</c:v>
                </c:pt>
                <c:pt idx="19">
                  <c:v>100.0</c:v>
                </c:pt>
                <c:pt idx="20">
                  <c:v>100.6267060733542</c:v>
                </c:pt>
                <c:pt idx="21">
                  <c:v>101.20455633871681</c:v>
                </c:pt>
                <c:pt idx="22">
                  <c:v>101.77708994840368</c:v>
                </c:pt>
                <c:pt idx="23">
                  <c:v>102.34439386832838</c:v>
                </c:pt>
                <c:pt idx="24">
                  <c:v>102.9065469325946</c:v>
                </c:pt>
                <c:pt idx="25">
                  <c:v>103.46362160945056</c:v>
                </c:pt>
                <c:pt idx="26">
                  <c:v>104.01568556935494</c:v>
                </c:pt>
                <c:pt idx="27">
                  <c:v>104.56280302392469</c:v>
                </c:pt>
                <c:pt idx="28">
                  <c:v>105.1050358284248</c:v>
                </c:pt>
                <c:pt idx="29">
                  <c:v>105.642444356729</c:v>
                </c:pt>
                <c:pt idx="30">
                  <c:v>106.69070644926745</c:v>
                </c:pt>
                <c:pt idx="31">
                  <c:v>107.77883708906153</c:v>
                </c:pt>
                <c:pt idx="32">
                  <c:v>108.84924434623531</c:v>
                </c:pt>
                <c:pt idx="33">
                  <c:v>109.90229699002263</c:v>
                </c:pt>
                <c:pt idx="34">
                  <c:v>110.93835369110651</c:v>
                </c:pt>
                <c:pt idx="35">
                  <c:v>111.95776336416156</c:v>
                </c:pt>
                <c:pt idx="36">
                  <c:v>112.96086549427076</c:v>
                </c:pt>
                <c:pt idx="37">
                  <c:v>113.947990448493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066627868643442</c:v>
                </c:pt>
                <c:pt idx="1">
                  <c:v>0.3151387919149024</c:v>
                </c:pt>
                <c:pt idx="2">
                  <c:v>0.32341006254394933</c:v>
                </c:pt>
                <c:pt idx="3">
                  <c:v>0.3314839281460502</c:v>
                </c:pt>
                <c:pt idx="4">
                  <c:v>0.33936737238961084</c:v>
                </c:pt>
                <c:pt idx="5">
                  <c:v>0.3470670533640911</c:v>
                </c:pt>
                <c:pt idx="6">
                  <c:v>0.3545893223345508</c:v>
                </c:pt>
                <c:pt idx="7">
                  <c:v>0.3619402412145673</c:v>
                </c:pt>
                <c:pt idx="8">
                  <c:v>0.3691255988585473</c:v>
                </c:pt>
                <c:pt idx="9">
                  <c:v>0.37615092626546776</c:v>
                </c:pt>
                <c:pt idx="10">
                  <c:v>0.3830215107779627</c:v>
                </c:pt>
                <c:pt idx="11">
                  <c:v>0.3897424093533662</c:v>
                </c:pt>
                <c:pt idx="12">
                  <c:v>0.3963184609767135</c:v>
                </c:pt>
                <c:pt idx="13">
                  <c:v>0.40275429827973364</c:v>
                </c:pt>
                <c:pt idx="14">
                  <c:v>0.40905435842446214</c:v>
                </c:pt>
                <c:pt idx="15">
                  <c:v>0.4152228933052089</c:v>
                </c:pt>
                <c:pt idx="16">
                  <c:v>0.4212639791181716</c:v>
                </c:pt>
                <c:pt idx="17">
                  <c:v>0.42718152534395715</c:v>
                </c:pt>
                <c:pt idx="18">
                  <c:v>0.4329792831846054</c:v>
                </c:pt>
                <c:pt idx="19">
                  <c:v>0.43866085349337686</c:v>
                </c:pt>
                <c:pt idx="20">
                  <c:v>0.44422969423252995</c:v>
                </c:pt>
                <c:pt idx="21">
                  <c:v>0.4496891274915424</c:v>
                </c:pt>
                <c:pt idx="22">
                  <c:v>0.45504234609571015</c:v>
                </c:pt>
                <c:pt idx="23">
                  <c:v>0.46029241983274577</c:v>
                </c:pt>
                <c:pt idx="24">
                  <c:v>0.4654423013228913</c:v>
                </c:pt>
                <c:pt idx="25">
                  <c:v>0.4704948315561343</c:v>
                </c:pt>
                <c:pt idx="26">
                  <c:v>0.47545274511834273</c:v>
                </c:pt>
                <c:pt idx="27">
                  <c:v>0.4803186751265214</c:v>
                </c:pt>
                <c:pt idx="28">
                  <c:v>0.4850951578919026</c:v>
                </c:pt>
                <c:pt idx="29">
                  <c:v>0.4897846373282242</c:v>
                </c:pt>
                <c:pt idx="30">
                  <c:v>0.4943894691212907</c:v>
                </c:pt>
                <c:pt idx="31">
                  <c:v>0.4989119246747674</c:v>
                </c:pt>
                <c:pt idx="32">
                  <c:v>0.5033541948460905</c:v>
                </c:pt>
                <c:pt idx="33">
                  <c:v>0.5077183934854044</c:v>
                </c:pt>
                <c:pt idx="34">
                  <c:v>0.5120065607895384</c:v>
                </c:pt>
                <c:pt idx="35">
                  <c:v>0.5162206664822022</c:v>
                </c:pt>
                <c:pt idx="36">
                  <c:v>0.5203626128308135</c:v>
                </c:pt>
                <c:pt idx="37">
                  <c:v>0.5244342375096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B$2:$B$19</c:f>
              <c:numCache>
                <c:formatCode>General</c:formatCode>
                <c:ptCount val="18"/>
                <c:pt idx="0">
                  <c:v>144.44289257505847</c:v>
                </c:pt>
                <c:pt idx="1">
                  <c:v>136.59644926199826</c:v>
                </c:pt>
                <c:pt idx="2">
                  <c:v>129.63775842084226</c:v>
                </c:pt>
                <c:pt idx="3">
                  <c:v>124.77285859849616</c:v>
                </c:pt>
                <c:pt idx="4">
                  <c:v>120.13374920552495</c:v>
                </c:pt>
                <c:pt idx="5">
                  <c:v>115.71102205857461</c:v>
                </c:pt>
                <c:pt idx="6">
                  <c:v>111.49537927337872</c:v>
                </c:pt>
                <c:pt idx="7">
                  <c:v>107.4776487948788</c:v>
                </c:pt>
                <c:pt idx="8">
                  <c:v>103.64880620019841</c:v>
                </c:pt>
                <c:pt idx="9">
                  <c:v>100.0</c:v>
                </c:pt>
                <c:pt idx="10">
                  <c:v>96.5225780947424</c:v>
                </c:pt>
                <c:pt idx="11">
                  <c:v>93.20811351705612</c:v>
                </c:pt>
                <c:pt idx="12">
                  <c:v>89.56358269793363</c:v>
                </c:pt>
                <c:pt idx="13">
                  <c:v>82.12658186775155</c:v>
                </c:pt>
                <c:pt idx="14">
                  <c:v>75.52194303758147</c:v>
                </c:pt>
                <c:pt idx="15">
                  <c:v>69.64222140199585</c:v>
                </c:pt>
                <c:pt idx="16">
                  <c:v>64.39401390492344</c:v>
                </c:pt>
                <c:pt idx="17">
                  <c:v>59.696351426055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C$2:$C$19</c:f>
              <c:numCache>
                <c:formatCode>General</c:formatCode>
                <c:ptCount val="18"/>
                <c:pt idx="0">
                  <c:v>116.80978496766667</c:v>
                </c:pt>
                <c:pt idx="1">
                  <c:v>113.36862004047134</c:v>
                </c:pt>
                <c:pt idx="2">
                  <c:v>110.34941769531595</c:v>
                </c:pt>
                <c:pt idx="3">
                  <c:v>108.8598751852932</c:v>
                </c:pt>
                <c:pt idx="4">
                  <c:v>107.3655439696249</c:v>
                </c:pt>
                <c:pt idx="5">
                  <c:v>105.87218501494868</c:v>
                </c:pt>
                <c:pt idx="6">
                  <c:v>104.38486484181864</c:v>
                </c:pt>
                <c:pt idx="7">
                  <c:v>102.90798218773112</c:v>
                </c:pt>
                <c:pt idx="8">
                  <c:v>101.44530272426069</c:v>
                </c:pt>
                <c:pt idx="9">
                  <c:v>100.0</c:v>
                </c:pt>
                <c:pt idx="10">
                  <c:v>98.5747007487857</c:v>
                </c:pt>
                <c:pt idx="11">
                  <c:v>97.1715327980291</c:v>
                </c:pt>
                <c:pt idx="12">
                  <c:v>95.27708775116535</c:v>
                </c:pt>
                <c:pt idx="13">
                  <c:v>89.11807274733847</c:v>
                </c:pt>
                <c:pt idx="14">
                  <c:v>83.5624143142837</c:v>
                </c:pt>
                <c:pt idx="15">
                  <c:v>78.54228843706986</c:v>
                </c:pt>
                <c:pt idx="16">
                  <c:v>73.99682201510463</c:v>
                </c:pt>
                <c:pt idx="17">
                  <c:v>69.871711301265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D$2:$D$19</c:f>
              <c:numCache>
                <c:formatCode>General</c:formatCode>
                <c:ptCount val="18"/>
                <c:pt idx="0">
                  <c:v>87.5243236780972</c:v>
                </c:pt>
                <c:pt idx="1">
                  <c:v>88.75055424475829</c:v>
                </c:pt>
                <c:pt idx="2">
                  <c:v>89.9053547856286</c:v>
                </c:pt>
                <c:pt idx="3">
                  <c:v>91.99454082875258</c:v>
                </c:pt>
                <c:pt idx="4">
                  <c:v>93.83407787635736</c:v>
                </c:pt>
                <c:pt idx="5">
                  <c:v>95.44586347039916</c:v>
                </c:pt>
                <c:pt idx="6">
                  <c:v>96.85024325288786</c:v>
                </c:pt>
                <c:pt idx="7">
                  <c:v>98.06604928273434</c:v>
                </c:pt>
                <c:pt idx="8">
                  <c:v>99.11064843062393</c:v>
                </c:pt>
                <c:pt idx="9">
                  <c:v>100.0</c:v>
                </c:pt>
                <c:pt idx="10">
                  <c:v>100.7487212002785</c:v>
                </c:pt>
                <c:pt idx="11">
                  <c:v>101.37015879383024</c:v>
                </c:pt>
                <c:pt idx="12">
                  <c:v>101.32793436561656</c:v>
                </c:pt>
                <c:pt idx="13">
                  <c:v>96.5098979619803</c:v>
                </c:pt>
                <c:pt idx="14">
                  <c:v>92.05520112004176</c:v>
                </c:pt>
                <c:pt idx="15">
                  <c:v>87.93750523973401</c:v>
                </c:pt>
                <c:pt idx="16">
                  <c:v>84.12999964957231</c:v>
                </c:pt>
                <c:pt idx="17">
                  <c:v>80.60630463988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E$2:$E$19</c:f>
              <c:numCache>
                <c:formatCode>General</c:formatCode>
                <c:ptCount val="18"/>
                <c:pt idx="0">
                  <c:v>0.3641947695343638</c:v>
                </c:pt>
                <c:pt idx="1">
                  <c:v>0.3804974677514315</c:v>
                </c:pt>
                <c:pt idx="2">
                  <c:v>0.39598503105764565</c:v>
                </c:pt>
                <c:pt idx="3">
                  <c:v>0.4107171034708738</c:v>
                </c:pt>
                <c:pt idx="4">
                  <c:v>0.4247476486263292</c:v>
                </c:pt>
                <c:pt idx="5">
                  <c:v>0.438125610286182</c:v>
                </c:pt>
                <c:pt idx="6">
                  <c:v>0.45089548277967784</c:v>
                </c:pt>
                <c:pt idx="7">
                  <c:v>0.4630978053845739</c:v>
                </c:pt>
                <c:pt idx="8">
                  <c:v>0.47476959222403964</c:v>
                </c:pt>
                <c:pt idx="9">
                  <c:v>0.48594470728310263</c:v>
                </c:pt>
                <c:pt idx="10">
                  <c:v>0.496654192548038</c:v>
                </c:pt>
                <c:pt idx="11">
                  <c:v>0.506926555965425</c:v>
                </c:pt>
                <c:pt idx="12">
                  <c:v>0.5167880248461165</c:v>
                </c:pt>
                <c:pt idx="13">
                  <c:v>0.5262627694569769</c:v>
                </c:pt>
                <c:pt idx="14">
                  <c:v>0.5353731008135736</c:v>
                </c:pt>
                <c:pt idx="15">
                  <c:v>0.544139646081242</c:v>
                </c:pt>
                <c:pt idx="16">
                  <c:v>0.5525815044871449</c:v>
                </c:pt>
                <c:pt idx="17">
                  <c:v>0.56071638622374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B$2:$B$41</c:f>
              <c:numCache>
                <c:formatCode>General</c:formatCode>
                <c:ptCount val="40"/>
                <c:pt idx="0">
                  <c:v>314.36405024499715</c:v>
                </c:pt>
                <c:pt idx="1">
                  <c:v>294.97254152618535</c:v>
                </c:pt>
                <c:pt idx="2">
                  <c:v>277.4358397468396</c:v>
                </c:pt>
                <c:pt idx="3">
                  <c:v>261.58134148463006</c:v>
                </c:pt>
                <c:pt idx="4">
                  <c:v>247.24292990721577</c:v>
                </c:pt>
                <c:pt idx="5">
                  <c:v>234.26386125493877</c:v>
                </c:pt>
                <c:pt idx="6">
                  <c:v>222.49863296024253</c:v>
                </c:pt>
                <c:pt idx="7">
                  <c:v>211.8140097915365</c:v>
                </c:pt>
                <c:pt idx="8">
                  <c:v>202.08937193617112</c:v>
                </c:pt>
                <c:pt idx="9">
                  <c:v>193.21653983543627</c:v>
                </c:pt>
                <c:pt idx="10">
                  <c:v>184.31475354510178</c:v>
                </c:pt>
                <c:pt idx="11">
                  <c:v>169.7780468936722</c:v>
                </c:pt>
                <c:pt idx="12">
                  <c:v>157.03905963996323</c:v>
                </c:pt>
                <c:pt idx="13">
                  <c:v>145.82235584012372</c:v>
                </c:pt>
                <c:pt idx="14">
                  <c:v>135.8984770628191</c:v>
                </c:pt>
                <c:pt idx="15">
                  <c:v>127.07655804214792</c:v>
                </c:pt>
                <c:pt idx="16">
                  <c:v>119.19775007854292</c:v>
                </c:pt>
                <c:pt idx="17">
                  <c:v>112.12959487413347</c:v>
                </c:pt>
                <c:pt idx="18">
                  <c:v>105.76132601931923</c:v>
                </c:pt>
                <c:pt idx="19">
                  <c:v>100.0</c:v>
                </c:pt>
                <c:pt idx="20">
                  <c:v>94.96114294633884</c:v>
                </c:pt>
                <c:pt idx="21">
                  <c:v>91.97619932660504</c:v>
                </c:pt>
                <c:pt idx="22">
                  <c:v>89.14885165086936</c:v>
                </c:pt>
                <c:pt idx="23">
                  <c:v>86.46751358174804</c:v>
                </c:pt>
                <c:pt idx="24">
                  <c:v>83.9215815996239</c:v>
                </c:pt>
                <c:pt idx="25">
                  <c:v>81.50135271993769</c:v>
                </c:pt>
                <c:pt idx="26">
                  <c:v>79.19794771501452</c:v>
                </c:pt>
                <c:pt idx="27">
                  <c:v>77.00323975379051</c:v>
                </c:pt>
                <c:pt idx="28">
                  <c:v>74.90978833629309</c:v>
                </c:pt>
                <c:pt idx="29">
                  <c:v>72.91077835757476</c:v>
                </c:pt>
                <c:pt idx="30">
                  <c:v>70.86351767660078</c:v>
                </c:pt>
                <c:pt idx="31">
                  <c:v>67.77159762834847</c:v>
                </c:pt>
                <c:pt idx="32">
                  <c:v>64.92260203814043</c:v>
                </c:pt>
                <c:pt idx="33">
                  <c:v>62.28915027665766</c:v>
                </c:pt>
                <c:pt idx="34">
                  <c:v>59.847434925560286</c:v>
                </c:pt>
                <c:pt idx="35">
                  <c:v>57.57675001851099</c:v>
                </c:pt>
                <c:pt idx="36">
                  <c:v>55.45907042479349</c:v>
                </c:pt>
                <c:pt idx="37">
                  <c:v>53.47868293116586</c:v>
                </c:pt>
                <c:pt idx="38">
                  <c:v>51.62186605507911</c:v>
                </c:pt>
                <c:pt idx="39">
                  <c:v>49.8766139933093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C$2:$C$41</c:f>
              <c:numCache>
                <c:formatCode>General</c:formatCode>
                <c:ptCount val="40"/>
                <c:pt idx="0">
                  <c:v>247.5983895901266</c:v>
                </c:pt>
                <c:pt idx="1">
                  <c:v>235.60541296406043</c:v>
                </c:pt>
                <c:pt idx="2">
                  <c:v>224.6858719150981</c:v>
                </c:pt>
                <c:pt idx="3">
                  <c:v>214.75911810599152</c:v>
                </c:pt>
                <c:pt idx="4">
                  <c:v>205.742439068023</c:v>
                </c:pt>
                <c:pt idx="5">
                  <c:v>197.5538041281468</c:v>
                </c:pt>
                <c:pt idx="6">
                  <c:v>190.11394130770327</c:v>
                </c:pt>
                <c:pt idx="7">
                  <c:v>183.34781806367124</c:v>
                </c:pt>
                <c:pt idx="8">
                  <c:v>177.18560312845332</c:v>
                </c:pt>
                <c:pt idx="9">
                  <c:v>171.56319303519294</c:v>
                </c:pt>
                <c:pt idx="10">
                  <c:v>165.7178192351815</c:v>
                </c:pt>
                <c:pt idx="11">
                  <c:v>154.5506664427274</c:v>
                </c:pt>
                <c:pt idx="12">
                  <c:v>144.7144405951036</c:v>
                </c:pt>
                <c:pt idx="13">
                  <c:v>136.01263354577213</c:v>
                </c:pt>
                <c:pt idx="14">
                  <c:v>128.27980704376492</c:v>
                </c:pt>
                <c:pt idx="15">
                  <c:v>121.37710802063806</c:v>
                </c:pt>
                <c:pt idx="16">
                  <c:v>115.18807168264564</c:v>
                </c:pt>
                <c:pt idx="17">
                  <c:v>109.6149134756997</c:v>
                </c:pt>
                <c:pt idx="18">
                  <c:v>104.57536099748856</c:v>
                </c:pt>
                <c:pt idx="19">
                  <c:v>100.0</c:v>
                </c:pt>
                <c:pt idx="20">
                  <c:v>96.02586173377674</c:v>
                </c:pt>
                <c:pt idx="21">
                  <c:v>94.0370914541703</c:v>
                </c:pt>
                <c:pt idx="22">
                  <c:v>92.14450233708605</c:v>
                </c:pt>
                <c:pt idx="23">
                  <c:v>90.34126301937086</c:v>
                </c:pt>
                <c:pt idx="24">
                  <c:v>88.62106394660583</c:v>
                </c:pt>
                <c:pt idx="25">
                  <c:v>86.9780841451278</c:v>
                </c:pt>
                <c:pt idx="26">
                  <c:v>85.40695846944351</c:v>
                </c:pt>
                <c:pt idx="27">
                  <c:v>83.90274565218755</c:v>
                </c:pt>
                <c:pt idx="28">
                  <c:v>82.46089743713323</c:v>
                </c:pt>
                <c:pt idx="29">
                  <c:v>81.07722901903034</c:v>
                </c:pt>
                <c:pt idx="30">
                  <c:v>79.59466691582168</c:v>
                </c:pt>
                <c:pt idx="31">
                  <c:v>76.88153753570344</c:v>
                </c:pt>
                <c:pt idx="32">
                  <c:v>74.37749888192985</c:v>
                </c:pt>
                <c:pt idx="33">
                  <c:v>72.0590184459309</c:v>
                </c:pt>
                <c:pt idx="34">
                  <c:v>69.90551607103761</c:v>
                </c:pt>
                <c:pt idx="35">
                  <c:v>67.89900633391888</c:v>
                </c:pt>
                <c:pt idx="36">
                  <c:v>66.02377047147608</c:v>
                </c:pt>
                <c:pt idx="37">
                  <c:v>64.2660624357763</c:v>
                </c:pt>
                <c:pt idx="38">
                  <c:v>62.61384946105195</c:v>
                </c:pt>
                <c:pt idx="39">
                  <c:v>61.056585285213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D$2:$D$41</c:f>
              <c:numCache>
                <c:formatCode>General</c:formatCode>
                <c:ptCount val="40"/>
                <c:pt idx="0">
                  <c:v>166.91791660464045</c:v>
                </c:pt>
                <c:pt idx="1">
                  <c:v>163.90323318835883</c:v>
                </c:pt>
                <c:pt idx="2">
                  <c:v>161.00758239011142</c:v>
                </c:pt>
                <c:pt idx="3">
                  <c:v>158.2638964850092</c:v>
                </c:pt>
                <c:pt idx="4">
                  <c:v>155.69214903710395</c:v>
                </c:pt>
                <c:pt idx="5">
                  <c:v>153.3020444436484</c:v>
                </c:pt>
                <c:pt idx="6">
                  <c:v>151.09544345483567</c:v>
                </c:pt>
                <c:pt idx="7">
                  <c:v>149.06847283184464</c:v>
                </c:pt>
                <c:pt idx="8">
                  <c:v>147.21329305409066</c:v>
                </c:pt>
                <c:pt idx="9">
                  <c:v>145.51952350257</c:v>
                </c:pt>
                <c:pt idx="10">
                  <c:v>143.36516695202414</c:v>
                </c:pt>
                <c:pt idx="11">
                  <c:v>136.24921428939658</c:v>
                </c:pt>
                <c:pt idx="12">
                  <c:v>129.9026342632984</c:v>
                </c:pt>
                <c:pt idx="13">
                  <c:v>124.22392137650908</c:v>
                </c:pt>
                <c:pt idx="14">
                  <c:v>119.12467528167335</c:v>
                </c:pt>
                <c:pt idx="15">
                  <c:v>114.52862054233945</c:v>
                </c:pt>
                <c:pt idx="16">
                  <c:v>110.37028059195634</c:v>
                </c:pt>
                <c:pt idx="17">
                  <c:v>106.59358111189094</c:v>
                </c:pt>
                <c:pt idx="18">
                  <c:v>103.15052484317484</c:v>
                </c:pt>
                <c:pt idx="19">
                  <c:v>100.0</c:v>
                </c:pt>
                <c:pt idx="20">
                  <c:v>97.30533314349117</c:v>
                </c:pt>
                <c:pt idx="21">
                  <c:v>96.51720837816181</c:v>
                </c:pt>
                <c:pt idx="22">
                  <c:v>95.75097935205275</c:v>
                </c:pt>
                <c:pt idx="23">
                  <c:v>95.00558679449388</c:v>
                </c:pt>
                <c:pt idx="24">
                  <c:v>94.2799314894585</c:v>
                </c:pt>
                <c:pt idx="25">
                  <c:v>93.57290111370705</c:v>
                </c:pt>
                <c:pt idx="26">
                  <c:v>92.88339134337524</c:v>
                </c:pt>
                <c:pt idx="27">
                  <c:v>92.21032207644608</c:v>
                </c:pt>
                <c:pt idx="28">
                  <c:v>91.55264955681676</c:v>
                </c:pt>
                <c:pt idx="29">
                  <c:v>90.90937510879053</c:v>
                </c:pt>
                <c:pt idx="30">
                  <c:v>90.10605353400891</c:v>
                </c:pt>
                <c:pt idx="31">
                  <c:v>87.84753730765496</c:v>
                </c:pt>
                <c:pt idx="32">
                  <c:v>85.75725074963063</c:v>
                </c:pt>
                <c:pt idx="33">
                  <c:v>83.8163408002595</c:v>
                </c:pt>
                <c:pt idx="34">
                  <c:v>82.0081470743947</c:v>
                </c:pt>
                <c:pt idx="35">
                  <c:v>80.31798480816423</c:v>
                </c:pt>
                <c:pt idx="36">
                  <c:v>78.73293053628734</c:v>
                </c:pt>
                <c:pt idx="37">
                  <c:v>77.24162013996225</c:v>
                </c:pt>
                <c:pt idx="38">
                  <c:v>75.83406384038524</c:v>
                </c:pt>
                <c:pt idx="39">
                  <c:v>74.501479693659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E$2:$E$41</c:f>
              <c:numCache>
                <c:formatCode>General</c:formatCode>
                <c:ptCount val="40"/>
                <c:pt idx="0">
                  <c:v>0.3072735142743031</c:v>
                </c:pt>
                <c:pt idx="1">
                  <c:v>0.31703022534086206</c:v>
                </c:pt>
                <c:pt idx="2">
                  <c:v>0.3265159166555724</c:v>
                </c:pt>
                <c:pt idx="3">
                  <c:v>0.33574172601645486</c:v>
                </c:pt>
                <c:pt idx="4">
                  <c:v>0.3447181891783948</c:v>
                </c:pt>
                <c:pt idx="5">
                  <c:v>0.35345527998934945</c:v>
                </c:pt>
                <c:pt idx="6">
                  <c:v>0.36196244735791056</c:v>
                </c:pt>
                <c:pt idx="7">
                  <c:v>0.3702486493402755</c:v>
                </c:pt>
                <c:pt idx="8">
                  <c:v>0.3783223846051437</c:v>
                </c:pt>
                <c:pt idx="9">
                  <c:v>0.3861917215088762</c:v>
                </c:pt>
                <c:pt idx="10">
                  <c:v>0.3938643249900151</c:v>
                </c:pt>
                <c:pt idx="11">
                  <c:v>0.40134748147161975</c:v>
                </c:pt>
                <c:pt idx="12">
                  <c:v>0.40864812194147815</c:v>
                </c:pt>
                <c:pt idx="13">
                  <c:v>0.41577284336386994</c:v>
                </c:pt>
                <c:pt idx="14">
                  <c:v>0.4227279285619192</c:v>
                </c:pt>
                <c:pt idx="15">
                  <c:v>0.4295193646964848</c:v>
                </c:pt>
                <c:pt idx="16">
                  <c:v>0.43615286045582796</c:v>
                </c:pt>
                <c:pt idx="17">
                  <c:v>0.44263386205978406</c:v>
                </c:pt>
                <c:pt idx="18">
                  <c:v>0.448967568172741</c:v>
                </c:pt>
                <c:pt idx="19">
                  <c:v>0.4551589438112495</c:v>
                </c:pt>
                <c:pt idx="20">
                  <c:v>0.46121273332445784</c:v>
                </c:pt>
                <c:pt idx="21">
                  <c:v>0.4671334725186946</c:v>
                </c:pt>
                <c:pt idx="22">
                  <c:v>0.47292549999131756</c:v>
                </c:pt>
                <c:pt idx="23">
                  <c:v>0.47859296773334636</c:v>
                </c:pt>
                <c:pt idx="24">
                  <c:v>0.4841398510553321</c:v>
                </c:pt>
                <c:pt idx="25">
                  <c:v>0.48956995788632857</c:v>
                </c:pt>
                <c:pt idx="26">
                  <c:v>0.4948869374916793</c:v>
                </c:pt>
                <c:pt idx="27">
                  <c:v>0.500094288651559</c:v>
                </c:pt>
                <c:pt idx="28">
                  <c:v>0.5051953673387879</c:v>
                </c:pt>
                <c:pt idx="29">
                  <c:v>0.5101933939313253</c:v>
                </c:pt>
                <c:pt idx="30">
                  <c:v>0.5150914599920121</c:v>
                </c:pt>
                <c:pt idx="31">
                  <c:v>0.5198925346455565</c:v>
                </c:pt>
                <c:pt idx="32">
                  <c:v>0.524599470580404</c:v>
                </c:pt>
                <c:pt idx="33">
                  <c:v>0.5292150097009826</c:v>
                </c:pt>
                <c:pt idx="34">
                  <c:v>0.5337417884538578</c:v>
                </c:pt>
                <c:pt idx="35">
                  <c:v>0.5381823428495354</c:v>
                </c:pt>
                <c:pt idx="36">
                  <c:v>0.5425391132000114</c:v>
                </c:pt>
                <c:pt idx="37">
                  <c:v>0.5468144485906654</c:v>
                </c:pt>
                <c:pt idx="38">
                  <c:v>0.5510106111037149</c:v>
                </c:pt>
                <c:pt idx="39">
                  <c:v>0.555129779809185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B$2:$B$31</c:f>
              <c:numCache>
                <c:formatCode>General</c:formatCode>
                <c:ptCount val="30"/>
                <c:pt idx="0">
                  <c:v>174.27807878123926</c:v>
                </c:pt>
                <c:pt idx="1">
                  <c:v>168.80682293312483</c:v>
                </c:pt>
                <c:pt idx="2">
                  <c:v>163.74066256183534</c:v>
                </c:pt>
                <c:pt idx="3">
                  <c:v>159.03978067109995</c:v>
                </c:pt>
                <c:pt idx="4">
                  <c:v>154.66768547206095</c:v>
                </c:pt>
                <c:pt idx="5">
                  <c:v>150.59135282727584</c:v>
                </c:pt>
                <c:pt idx="6">
                  <c:v>146.78118280800783</c:v>
                </c:pt>
                <c:pt idx="7">
                  <c:v>143.21082954829433</c:v>
                </c:pt>
                <c:pt idx="8">
                  <c:v>139.85695507565188</c:v>
                </c:pt>
                <c:pt idx="9">
                  <c:v>136.69894615299992</c:v>
                </c:pt>
                <c:pt idx="10">
                  <c:v>129.47411251170124</c:v>
                </c:pt>
                <c:pt idx="11">
                  <c:v>122.45518077574306</c:v>
                </c:pt>
                <c:pt idx="12">
                  <c:v>116.06428061015717</c:v>
                </c:pt>
                <c:pt idx="13">
                  <c:v>110.23143300457963</c:v>
                </c:pt>
                <c:pt idx="14">
                  <c:v>104.89482015132101</c:v>
                </c:pt>
                <c:pt idx="15">
                  <c:v>100.0</c:v>
                </c:pt>
                <c:pt idx="16">
                  <c:v>95.49915669843794</c:v>
                </c:pt>
                <c:pt idx="17">
                  <c:v>91.35037903773502</c:v>
                </c:pt>
                <c:pt idx="18">
                  <c:v>87.51697139694211</c:v>
                </c:pt>
                <c:pt idx="19">
                  <c:v>83.96680721693677</c:v>
                </c:pt>
                <c:pt idx="20">
                  <c:v>81.63325740664253</c:v>
                </c:pt>
                <c:pt idx="21">
                  <c:v>79.50727901203004</c:v>
                </c:pt>
                <c:pt idx="22">
                  <c:v>77.46975673979254</c:v>
                </c:pt>
                <c:pt idx="23">
                  <c:v>75.51614424593645</c:v>
                </c:pt>
                <c:pt idx="24">
                  <c:v>73.64215848245223</c:v>
                </c:pt>
                <c:pt idx="25">
                  <c:v>71.84376131345698</c:v>
                </c:pt>
                <c:pt idx="26">
                  <c:v>70.11714308997591</c:v>
                </c:pt>
                <c:pt idx="27">
                  <c:v>68.45870792065195</c:v>
                </c:pt>
                <c:pt idx="28">
                  <c:v>66.86506038111428</c:v>
                </c:pt>
                <c:pt idx="29">
                  <c:v>65.332993427123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C$2:$C$31</c:f>
              <c:numCache>
                <c:formatCode>General</c:formatCode>
                <c:ptCount val="30"/>
                <c:pt idx="0">
                  <c:v>144.62155546269187</c:v>
                </c:pt>
                <c:pt idx="1">
                  <c:v>141.97715332600987</c:v>
                </c:pt>
                <c:pt idx="2">
                  <c:v>139.55682991378342</c:v>
                </c:pt>
                <c:pt idx="3">
                  <c:v>137.3394761001732</c:v>
                </c:pt>
                <c:pt idx="4">
                  <c:v>135.30518302094484</c:v>
                </c:pt>
                <c:pt idx="5">
                  <c:v>133.43553823527364</c:v>
                </c:pt>
                <c:pt idx="6">
                  <c:v>131.71376769201095</c:v>
                </c:pt>
                <c:pt idx="7">
                  <c:v>130.12476238069698</c:v>
                </c:pt>
                <c:pt idx="8">
                  <c:v>128.65502594237958</c:v>
                </c:pt>
                <c:pt idx="9">
                  <c:v>127.29257320006991</c:v>
                </c:pt>
                <c:pt idx="10">
                  <c:v>122.04504903748021</c:v>
                </c:pt>
                <c:pt idx="11">
                  <c:v>116.83201285608085</c:v>
                </c:pt>
                <c:pt idx="12">
                  <c:v>112.06562685952008</c:v>
                </c:pt>
                <c:pt idx="13">
                  <c:v>107.69882320107698</c:v>
                </c:pt>
                <c:pt idx="14">
                  <c:v>103.68946262818051</c:v>
                </c:pt>
                <c:pt idx="15">
                  <c:v>100.0</c:v>
                </c:pt>
                <c:pt idx="16">
                  <c:v>96.59713583797046</c:v>
                </c:pt>
                <c:pt idx="17">
                  <c:v>93.45144807199432</c:v>
                </c:pt>
                <c:pt idx="18">
                  <c:v>90.53701027518963</c:v>
                </c:pt>
                <c:pt idx="19">
                  <c:v>87.8310089347363</c:v>
                </c:pt>
                <c:pt idx="20">
                  <c:v>86.32461812047302</c:v>
                </c:pt>
                <c:pt idx="21">
                  <c:v>84.98652560116966</c:v>
                </c:pt>
                <c:pt idx="22">
                  <c:v>83.69575889813493</c:v>
                </c:pt>
                <c:pt idx="23">
                  <c:v>82.45033766674112</c:v>
                </c:pt>
                <c:pt idx="24">
                  <c:v>81.24836957209583</c:v>
                </c:pt>
                <c:pt idx="25">
                  <c:v>80.08804429752904</c:v>
                </c:pt>
                <c:pt idx="26">
                  <c:v>78.96762855672583</c:v>
                </c:pt>
                <c:pt idx="27">
                  <c:v>77.88546195886634</c:v>
                </c:pt>
                <c:pt idx="28">
                  <c:v>76.83995356015343</c:v>
                </c:pt>
                <c:pt idx="29">
                  <c:v>75.829578938962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D$2:$D$31</c:f>
              <c:numCache>
                <c:formatCode>General</c:formatCode>
                <c:ptCount val="30"/>
                <c:pt idx="0">
                  <c:v>96.00681916799701</c:v>
                </c:pt>
                <c:pt idx="1">
                  <c:v>98.04706604896161</c:v>
                </c:pt>
                <c:pt idx="2">
                  <c:v>100.00709990257963</c:v>
                </c:pt>
                <c:pt idx="3">
                  <c:v>101.89779678514583</c:v>
                </c:pt>
                <c:pt idx="4">
                  <c:v>103.72749413025008</c:v>
                </c:pt>
                <c:pt idx="5">
                  <c:v>105.5025883458918</c:v>
                </c:pt>
                <c:pt idx="6">
                  <c:v>107.22802220543261</c:v>
                </c:pt>
                <c:pt idx="7">
                  <c:v>108.90766808009018</c:v>
                </c:pt>
                <c:pt idx="8">
                  <c:v>110.54462051547536</c:v>
                </c:pt>
                <c:pt idx="9">
                  <c:v>112.14141424073078</c:v>
                </c:pt>
                <c:pt idx="10">
                  <c:v>110.09110128338668</c:v>
                </c:pt>
                <c:pt idx="11">
                  <c:v>107.78939100265931</c:v>
                </c:pt>
                <c:pt idx="12">
                  <c:v>105.63899074812575</c:v>
                </c:pt>
                <c:pt idx="13">
                  <c:v>103.63052395120305</c:v>
                </c:pt>
                <c:pt idx="14">
                  <c:v>101.75414988551586</c:v>
                </c:pt>
                <c:pt idx="15">
                  <c:v>100.0</c:v>
                </c:pt>
                <c:pt idx="16">
                  <c:v>98.35851010997504</c:v>
                </c:pt>
                <c:pt idx="17">
                  <c:v>96.82064761343713</c:v>
                </c:pt>
                <c:pt idx="18">
                  <c:v>95.3780445011197</c:v>
                </c:pt>
                <c:pt idx="19">
                  <c:v>94.02305420264688</c:v>
                </c:pt>
                <c:pt idx="20">
                  <c:v>93.85422045648643</c:v>
                </c:pt>
                <c:pt idx="21">
                  <c:v>93.79050939926564</c:v>
                </c:pt>
                <c:pt idx="22">
                  <c:v>93.70648537887915</c:v>
                </c:pt>
                <c:pt idx="23">
                  <c:v>93.60445850048788</c:v>
                </c:pt>
                <c:pt idx="24">
                  <c:v>93.48652862482055</c:v>
                </c:pt>
                <c:pt idx="25">
                  <c:v>93.3546008968869</c:v>
                </c:pt>
                <c:pt idx="26">
                  <c:v>93.21040057581132</c:v>
                </c:pt>
                <c:pt idx="27">
                  <c:v>93.0554872191912</c:v>
                </c:pt>
                <c:pt idx="28">
                  <c:v>92.89126822002132</c:v>
                </c:pt>
                <c:pt idx="29">
                  <c:v>92.719011664368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E$2:$E$31</c:f>
              <c:numCache>
                <c:formatCode>General</c:formatCode>
                <c:ptCount val="30"/>
                <c:pt idx="0">
                  <c:v>0.2598709652858147</c:v>
                </c:pt>
                <c:pt idx="1">
                  <c:v>0.27017916911191775</c:v>
                </c:pt>
                <c:pt idx="2">
                  <c:v>0.28020418052521556</c:v>
                </c:pt>
                <c:pt idx="3">
                  <c:v>0.2899575114124078</c:v>
                </c:pt>
                <c:pt idx="4">
                  <c:v>0.2994500580512792</c:v>
                </c:pt>
                <c:pt idx="5">
                  <c:v>0.30869214171814874</c:v>
                </c:pt>
                <c:pt idx="6">
                  <c:v>0.3176935461228605</c:v>
                </c:pt>
                <c:pt idx="7">
                  <c:v>0.32646355195675686</c:v>
                </c:pt>
                <c:pt idx="8">
                  <c:v>0.33501096881009756</c:v>
                </c:pt>
                <c:pt idx="9">
                  <c:v>0.3433441646896702</c:v>
                </c:pt>
                <c:pt idx="10">
                  <c:v>0.3514710933445009</c:v>
                </c:pt>
                <c:pt idx="11">
                  <c:v>0.35939931958723337</c:v>
                </c:pt>
                <c:pt idx="12">
                  <c:v>0.3671360427806243</c:v>
                </c:pt>
                <c:pt idx="13">
                  <c:v>0.3746881186424306</c:v>
                </c:pt>
                <c:pt idx="14">
                  <c:v>0.38206207950749627</c:v>
                </c:pt>
                <c:pt idx="15">
                  <c:v>0.38926415317291</c:v>
                </c:pt>
                <c:pt idx="16">
                  <c:v>0.39630028044050325</c:v>
                </c:pt>
                <c:pt idx="17">
                  <c:v>0.40317613146054304</c:v>
                </c:pt>
                <c:pt idx="18">
                  <c:v>0.4098971209711226</c:v>
                </c:pt>
                <c:pt idx="19">
                  <c:v>0.4164684225193284</c:v>
                </c:pt>
                <c:pt idx="20">
                  <c:v>0.4228949817426837</c:v>
                </c:pt>
                <c:pt idx="21">
                  <c:v>0.42918152878252375</c:v>
                </c:pt>
                <c:pt idx="22">
                  <c:v>0.4353325898947811</c:v>
                </c:pt>
                <c:pt idx="23">
                  <c:v>0.4413524983180776</c:v>
                </c:pt>
                <c:pt idx="24">
                  <c:v>0.447245404453963</c:v>
                </c:pt>
                <c:pt idx="25">
                  <c:v>0.4530152854095584</c:v>
                </c:pt>
                <c:pt idx="26">
                  <c:v>0.4586659539487158</c:v>
                </c:pt>
                <c:pt idx="27">
                  <c:v>0.4642010668940254</c:v>
                </c:pt>
                <c:pt idx="28">
                  <c:v>0.4696241330185799</c:v>
                </c:pt>
                <c:pt idx="29">
                  <c:v>0.474938520463283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B$2:$B$61</c:f>
              <c:numCache>
                <c:formatCode>General</c:formatCode>
                <c:ptCount val="60"/>
                <c:pt idx="0">
                  <c:v>140.6264944574226</c:v>
                </c:pt>
                <c:pt idx="1">
                  <c:v>138.24632429289667</c:v>
                </c:pt>
                <c:pt idx="2">
                  <c:v>135.9459308593497</c:v>
                </c:pt>
                <c:pt idx="3">
                  <c:v>133.72133036501532</c:v>
                </c:pt>
                <c:pt idx="4">
                  <c:v>131.56878316878488</c:v>
                </c:pt>
                <c:pt idx="5">
                  <c:v>129.48477751526218</c:v>
                </c:pt>
                <c:pt idx="6">
                  <c:v>127.46601431176445</c:v>
                </c:pt>
                <c:pt idx="7">
                  <c:v>125.50939290263787</c:v>
                </c:pt>
                <c:pt idx="8">
                  <c:v>123.9618919448553</c:v>
                </c:pt>
                <c:pt idx="9">
                  <c:v>122.55349993448459</c:v>
                </c:pt>
                <c:pt idx="10">
                  <c:v>121.19358292140487</c:v>
                </c:pt>
                <c:pt idx="11">
                  <c:v>119.87967752070399</c:v>
                </c:pt>
                <c:pt idx="12">
                  <c:v>118.60947045934492</c:v>
                </c:pt>
                <c:pt idx="13">
                  <c:v>117.38078785626995</c:v>
                </c:pt>
                <c:pt idx="14">
                  <c:v>116.1915854234862</c:v>
                </c:pt>
                <c:pt idx="15">
                  <c:v>115.03993949165854</c:v>
                </c:pt>
                <c:pt idx="16">
                  <c:v>113.92403877573844</c:v>
                </c:pt>
                <c:pt idx="17">
                  <c:v>112.84217680646434</c:v>
                </c:pt>
                <c:pt idx="18">
                  <c:v>111.7927449624564</c:v>
                </c:pt>
                <c:pt idx="19">
                  <c:v>110.77422604528475</c:v>
                </c:pt>
                <c:pt idx="20">
                  <c:v>109.6172164380812</c:v>
                </c:pt>
                <c:pt idx="21">
                  <c:v>108.43916355312024</c:v>
                </c:pt>
                <c:pt idx="22">
                  <c:v>107.28081383267288</c:v>
                </c:pt>
                <c:pt idx="23">
                  <c:v>106.14179700022454</c:v>
                </c:pt>
                <c:pt idx="24">
                  <c:v>105.02175795239741</c:v>
                </c:pt>
                <c:pt idx="25">
                  <c:v>103.92035544484584</c:v>
                </c:pt>
                <c:pt idx="26">
                  <c:v>102.83726084628582</c:v>
                </c:pt>
                <c:pt idx="27">
                  <c:v>101.77215696244086</c:v>
                </c:pt>
                <c:pt idx="28">
                  <c:v>100.86196469160656</c:v>
                </c:pt>
                <c:pt idx="29">
                  <c:v>100.0</c:v>
                </c:pt>
                <c:pt idx="30">
                  <c:v>99.15137045673211</c:v>
                </c:pt>
                <c:pt idx="31">
                  <c:v>98.31588615859901</c:v>
                </c:pt>
                <c:pt idx="32">
                  <c:v>97.49336070811496</c:v>
                </c:pt>
                <c:pt idx="33">
                  <c:v>96.68361077363055</c:v>
                </c:pt>
                <c:pt idx="34">
                  <c:v>95.88645568839303</c:v>
                </c:pt>
                <c:pt idx="35">
                  <c:v>95.10171708788174</c:v>
                </c:pt>
                <c:pt idx="36">
                  <c:v>94.32921858452738</c:v>
                </c:pt>
                <c:pt idx="37">
                  <c:v>93.56878547872994</c:v>
                </c:pt>
                <c:pt idx="38">
                  <c:v>92.82024450489985</c:v>
                </c:pt>
                <c:pt idx="39">
                  <c:v>92.08342361109915</c:v>
                </c:pt>
                <c:pt idx="40">
                  <c:v>91.35815177071814</c:v>
                </c:pt>
                <c:pt idx="41">
                  <c:v>90.64425882451091</c:v>
                </c:pt>
                <c:pt idx="42">
                  <c:v>89.94157535122875</c:v>
                </c:pt>
                <c:pt idx="43">
                  <c:v>89.24993256501067</c:v>
                </c:pt>
                <c:pt idx="44">
                  <c:v>88.56916223765398</c:v>
                </c:pt>
                <c:pt idx="45">
                  <c:v>87.8990966438502</c:v>
                </c:pt>
                <c:pt idx="46">
                  <c:v>87.23956852747011</c:v>
                </c:pt>
                <c:pt idx="47">
                  <c:v>86.59041108698308</c:v>
                </c:pt>
                <c:pt idx="48">
                  <c:v>85.74637431104588</c:v>
                </c:pt>
                <c:pt idx="49">
                  <c:v>84.86900167661723</c:v>
                </c:pt>
                <c:pt idx="50">
                  <c:v>84.00986222346906</c:v>
                </c:pt>
                <c:pt idx="51">
                  <c:v>83.1683720991905</c:v>
                </c:pt>
                <c:pt idx="52">
                  <c:v>82.34397242411534</c:v>
                </c:pt>
                <c:pt idx="53">
                  <c:v>81.5361280063766</c:v>
                </c:pt>
                <c:pt idx="54">
                  <c:v>80.74432612926108</c:v>
                </c:pt>
                <c:pt idx="55">
                  <c:v>79.96807540654784</c:v>
                </c:pt>
                <c:pt idx="56">
                  <c:v>79.20690470178877</c:v>
                </c:pt>
                <c:pt idx="57">
                  <c:v>78.4603621077532</c:v>
                </c:pt>
                <c:pt idx="58">
                  <c:v>77.72801398250664</c:v>
                </c:pt>
                <c:pt idx="59">
                  <c:v>77.009444038833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C$2:$C$61</c:f>
              <c:numCache>
                <c:formatCode>General</c:formatCode>
                <c:ptCount val="60"/>
                <c:pt idx="0">
                  <c:v>115.47754061067405</c:v>
                </c:pt>
                <c:pt idx="1">
                  <c:v>114.3709185292322</c:v>
                </c:pt>
                <c:pt idx="2">
                  <c:v>113.30191932262463</c:v>
                </c:pt>
                <c:pt idx="3">
                  <c:v>112.26863286321449</c:v>
                </c:pt>
                <c:pt idx="4">
                  <c:v>111.26926099594701</c:v>
                </c:pt>
                <c:pt idx="5">
                  <c:v>110.30211084271548</c:v>
                </c:pt>
                <c:pt idx="6">
                  <c:v>109.36558843680544</c:v>
                </c:pt>
                <c:pt idx="7">
                  <c:v>108.45819268987395</c:v>
                </c:pt>
                <c:pt idx="8">
                  <c:v>107.8860873252189</c:v>
                </c:pt>
                <c:pt idx="9">
                  <c:v>107.41765114758672</c:v>
                </c:pt>
                <c:pt idx="10">
                  <c:v>106.97466404528984</c:v>
                </c:pt>
                <c:pt idx="11">
                  <c:v>106.55582766745471</c:v>
                </c:pt>
                <c:pt idx="12">
                  <c:v>106.15991780986313</c:v>
                </c:pt>
                <c:pt idx="13">
                  <c:v>105.7857793272223</c:v>
                </c:pt>
                <c:pt idx="14">
                  <c:v>105.43232149032048</c:v>
                </c:pt>
                <c:pt idx="15">
                  <c:v>105.09851373903423</c:v>
                </c:pt>
                <c:pt idx="16">
                  <c:v>104.78338178850515</c:v>
                </c:pt>
                <c:pt idx="17">
                  <c:v>104.4860040512557</c:v>
                </c:pt>
                <c:pt idx="18">
                  <c:v>104.20550834269456</c:v>
                </c:pt>
                <c:pt idx="19">
                  <c:v>103.941068841481</c:v>
                </c:pt>
                <c:pt idx="20">
                  <c:v>103.53161337224934</c:v>
                </c:pt>
                <c:pt idx="21">
                  <c:v>103.08753033638212</c:v>
                </c:pt>
                <c:pt idx="22">
                  <c:v>102.64783316810657</c:v>
                </c:pt>
                <c:pt idx="23">
                  <c:v>102.21252730178693</c:v>
                </c:pt>
                <c:pt idx="24">
                  <c:v>101.78162384780588</c:v>
                </c:pt>
                <c:pt idx="25">
                  <c:v>101.35513876990441</c:v>
                </c:pt>
                <c:pt idx="26">
                  <c:v>100.93309208167338</c:v>
                </c:pt>
                <c:pt idx="27">
                  <c:v>100.5155070668383</c:v>
                </c:pt>
                <c:pt idx="28">
                  <c:v>100.23919246006511</c:v>
                </c:pt>
                <c:pt idx="29">
                  <c:v>100.0</c:v>
                </c:pt>
                <c:pt idx="30">
                  <c:v>99.76361028625004</c:v>
                </c:pt>
                <c:pt idx="31">
                  <c:v>99.53007721621248</c:v>
                </c:pt>
                <c:pt idx="32">
                  <c:v>99.29945357355827</c:v>
                </c:pt>
                <c:pt idx="33">
                  <c:v>99.07179068521687</c:v>
                </c:pt>
                <c:pt idx="34">
                  <c:v>98.84713810241507</c:v>
                </c:pt>
                <c:pt idx="35">
                  <c:v>98.62554330673875</c:v>
                </c:pt>
                <c:pt idx="36">
                  <c:v>98.40705144192235</c:v>
                </c:pt>
                <c:pt idx="37">
                  <c:v>98.19170507182173</c:v>
                </c:pt>
                <c:pt idx="38">
                  <c:v>97.97954396477398</c:v>
                </c:pt>
                <c:pt idx="39">
                  <c:v>97.77060490432666</c:v>
                </c:pt>
                <c:pt idx="40">
                  <c:v>97.56492152610163</c:v>
                </c:pt>
                <c:pt idx="41">
                  <c:v>97.36252418035934</c:v>
                </c:pt>
                <c:pt idx="42">
                  <c:v>97.16343981965734</c:v>
                </c:pt>
                <c:pt idx="43">
                  <c:v>96.96769191082537</c:v>
                </c:pt>
                <c:pt idx="44">
                  <c:v>96.7753003703478</c:v>
                </c:pt>
                <c:pt idx="45">
                  <c:v>96.58628152211425</c:v>
                </c:pt>
                <c:pt idx="46">
                  <c:v>96.40064807640135</c:v>
                </c:pt>
                <c:pt idx="47">
                  <c:v>96.2184091288578</c:v>
                </c:pt>
                <c:pt idx="48">
                  <c:v>95.81009886699228</c:v>
                </c:pt>
                <c:pt idx="49">
                  <c:v>95.353884341703</c:v>
                </c:pt>
                <c:pt idx="50">
                  <c:v>94.9074865255433</c:v>
                </c:pt>
                <c:pt idx="51">
                  <c:v>94.47057641381629</c:v>
                </c:pt>
                <c:pt idx="52">
                  <c:v>94.04283933727326</c:v>
                </c:pt>
                <c:pt idx="53">
                  <c:v>93.62397424081185</c:v>
                </c:pt>
                <c:pt idx="54">
                  <c:v>93.21369299934152</c:v>
                </c:pt>
                <c:pt idx="55">
                  <c:v>92.81171976882547</c:v>
                </c:pt>
                <c:pt idx="56">
                  <c:v>92.4177903706212</c:v>
                </c:pt>
                <c:pt idx="57">
                  <c:v>92.03165170736267</c:v>
                </c:pt>
                <c:pt idx="58">
                  <c:v>91.65306120874044</c:v>
                </c:pt>
                <c:pt idx="59">
                  <c:v>91.281786305650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D$2:$D$61</c:f>
              <c:numCache>
                <c:formatCode>General</c:formatCode>
                <c:ptCount val="60"/>
                <c:pt idx="0">
                  <c:v>67.44816303992557</c:v>
                </c:pt>
                <c:pt idx="1">
                  <c:v>68.78725202002114</c:v>
                </c:pt>
                <c:pt idx="2">
                  <c:v>70.0820478600753</c:v>
                </c:pt>
                <c:pt idx="3">
                  <c:v>71.33471989643654</c:v>
                </c:pt>
                <c:pt idx="4">
                  <c:v>72.54728615122447</c:v>
                </c:pt>
                <c:pt idx="5">
                  <c:v>73.7216259770505</c:v>
                </c:pt>
                <c:pt idx="6">
                  <c:v>74.85949156252266</c:v>
                </c:pt>
                <c:pt idx="7">
                  <c:v>75.96251840239545</c:v>
                </c:pt>
                <c:pt idx="8">
                  <c:v>77.25028104460168</c:v>
                </c:pt>
                <c:pt idx="9">
                  <c:v>78.57169296378125</c:v>
                </c:pt>
                <c:pt idx="10">
                  <c:v>79.87450893055733</c:v>
                </c:pt>
                <c:pt idx="11">
                  <c:v>81.15967070474238</c:v>
                </c:pt>
                <c:pt idx="12">
                  <c:v>82.42804755575871</c:v>
                </c:pt>
                <c:pt idx="13">
                  <c:v>83.68044208843209</c:v>
                </c:pt>
                <c:pt idx="14">
                  <c:v>84.91759558773488</c:v>
                </c:pt>
                <c:pt idx="15">
                  <c:v>86.14019292592327</c:v>
                </c:pt>
                <c:pt idx="16">
                  <c:v>87.34886707086325</c:v>
                </c:pt>
                <c:pt idx="17">
                  <c:v>88.54420323030843</c:v>
                </c:pt>
                <c:pt idx="18">
                  <c:v>89.72674266337256</c:v>
                </c:pt>
                <c:pt idx="19">
                  <c:v>90.89698618735615</c:v>
                </c:pt>
                <c:pt idx="20">
                  <c:v>91.91455216916796</c:v>
                </c:pt>
                <c:pt idx="21">
                  <c:v>92.87257308607526</c:v>
                </c:pt>
                <c:pt idx="22">
                  <c:v>93.80554452694244</c:v>
                </c:pt>
                <c:pt idx="23">
                  <c:v>94.71419673662609</c:v>
                </c:pt>
                <c:pt idx="24">
                  <c:v>95.59924719494143</c:v>
                </c:pt>
                <c:pt idx="25">
                  <c:v>96.46140075820622</c:v>
                </c:pt>
                <c:pt idx="26">
                  <c:v>97.3013497237698</c:v>
                </c:pt>
                <c:pt idx="27">
                  <c:v>98.1197738278042</c:v>
                </c:pt>
                <c:pt idx="28">
                  <c:v>99.05210554269458</c:v>
                </c:pt>
                <c:pt idx="29">
                  <c:v>100.0</c:v>
                </c:pt>
                <c:pt idx="30">
                  <c:v>100.9305348374475</c:v>
                </c:pt>
                <c:pt idx="31">
                  <c:v>101.84423119117079</c:v>
                </c:pt>
                <c:pt idx="32">
                  <c:v>102.74160026130825</c:v>
                </c:pt>
                <c:pt idx="33">
                  <c:v>103.62314315507975</c:v>
                </c:pt>
                <c:pt idx="34">
                  <c:v>104.48935072494096</c:v>
                </c:pt>
                <c:pt idx="35">
                  <c:v>105.3407034059658</c:v>
                </c:pt>
                <c:pt idx="36">
                  <c:v>106.17767105626383</c:v>
                </c:pt>
                <c:pt idx="37">
                  <c:v>107.00071280388556</c:v>
                </c:pt>
                <c:pt idx="38">
                  <c:v>107.81027690329468</c:v>
                </c:pt>
                <c:pt idx="39">
                  <c:v>108.60680060412653</c:v>
                </c:pt>
                <c:pt idx="40">
                  <c:v>109.39071003458159</c:v>
                </c:pt>
                <c:pt idx="41">
                  <c:v>110.16242010143907</c:v>
                </c:pt>
                <c:pt idx="42">
                  <c:v>110.9223344083323</c:v>
                </c:pt>
                <c:pt idx="43">
                  <c:v>111.67084519357482</c:v>
                </c:pt>
                <c:pt idx="44">
                  <c:v>112.40833328851664</c:v>
                </c:pt>
                <c:pt idx="45">
                  <c:v>113.13516809708956</c:v>
                </c:pt>
                <c:pt idx="46">
                  <c:v>113.85170759692753</c:v>
                </c:pt>
                <c:pt idx="47">
                  <c:v>114.55829836217086</c:v>
                </c:pt>
                <c:pt idx="48">
                  <c:v>114.98027184258981</c:v>
                </c:pt>
                <c:pt idx="49">
                  <c:v>115.32665528530839</c:v>
                </c:pt>
                <c:pt idx="50">
                  <c:v>115.6666555685747</c:v>
                </c:pt>
                <c:pt idx="51">
                  <c:v>116.00043987904714</c:v>
                </c:pt>
                <c:pt idx="52">
                  <c:v>116.32816877622787</c:v>
                </c:pt>
                <c:pt idx="53">
                  <c:v>116.64999659469537</c:v>
                </c:pt>
                <c:pt idx="54">
                  <c:v>116.96607181272935</c:v>
                </c:pt>
                <c:pt idx="55">
                  <c:v>117.27653739007789</c:v>
                </c:pt>
                <c:pt idx="56">
                  <c:v>117.58153107740799</c:v>
                </c:pt>
                <c:pt idx="57">
                  <c:v>117.88118569979457</c:v>
                </c:pt>
                <c:pt idx="58">
                  <c:v>118.17562941643807</c:v>
                </c:pt>
                <c:pt idx="59">
                  <c:v>118.4649859586619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E$2:$E$61</c:f>
              <c:numCache>
                <c:formatCode>General</c:formatCode>
                <c:ptCount val="60"/>
                <c:pt idx="0">
                  <c:v>0.20435152232382875</c:v>
                </c:pt>
                <c:pt idx="1">
                  <c:v>0.21038830895263128</c:v>
                </c:pt>
                <c:pt idx="2">
                  <c:v>0.21633418012015665</c:v>
                </c:pt>
                <c:pt idx="3">
                  <c:v>0.2221911742896621</c:v>
                </c:pt>
                <c:pt idx="4">
                  <c:v>0.22796126943588138</c:v>
                </c:pt>
                <c:pt idx="5">
                  <c:v>0.23364638527214132</c:v>
                </c:pt>
                <c:pt idx="6">
                  <c:v>0.23924838537980134</c:v>
                </c:pt>
                <c:pt idx="7">
                  <c:v>0.24476907924496957</c:v>
                </c:pt>
                <c:pt idx="8">
                  <c:v>0.2502102242071815</c:v>
                </c:pt>
                <c:pt idx="9">
                  <c:v>0.25557352732444066</c:v>
                </c:pt>
                <c:pt idx="10">
                  <c:v>0.26086064715878404</c:v>
                </c:pt>
                <c:pt idx="11">
                  <c:v>0.26607319548629604</c:v>
                </c:pt>
                <c:pt idx="12">
                  <c:v>0.27121273893527176</c:v>
                </c:pt>
                <c:pt idx="13">
                  <c:v>0.2762808005560279</c:v>
                </c:pt>
                <c:pt idx="14">
                  <c:v>0.28127886132566843</c:v>
                </c:pt>
                <c:pt idx="15">
                  <c:v>0.28620836159092466</c:v>
                </c:pt>
                <c:pt idx="16">
                  <c:v>0.2910707024520219</c:v>
                </c:pt>
                <c:pt idx="17">
                  <c:v>0.2958672470903707</c:v>
                </c:pt>
                <c:pt idx="18">
                  <c:v>0.30059932204272044</c:v>
                </c:pt>
                <c:pt idx="19">
                  <c:v>0.3052682184242776</c:v>
                </c:pt>
                <c:pt idx="20">
                  <c:v>0.30987519310316186</c:v>
                </c:pt>
                <c:pt idx="21">
                  <c:v>0.31442146982843727</c:v>
                </c:pt>
                <c:pt idx="22">
                  <c:v>0.31890824031385334</c:v>
                </c:pt>
                <c:pt idx="23">
                  <c:v>0.323336665279303</c:v>
                </c:pt>
                <c:pt idx="24">
                  <c:v>0.3277078754519173</c:v>
                </c:pt>
                <c:pt idx="25">
                  <c:v>0.332022972528606</c:v>
                </c:pt>
                <c:pt idx="26">
                  <c:v>0.3362830301017652</c:v>
                </c:pt>
                <c:pt idx="27">
                  <c:v>0.34048909454978976</c:v>
                </c:pt>
                <c:pt idx="28">
                  <c:v>0.34464218589393447</c:v>
                </c:pt>
                <c:pt idx="29">
                  <c:v>0.3487432986230086</c:v>
                </c:pt>
                <c:pt idx="30">
                  <c:v>0.35279340248729346</c:v>
                </c:pt>
                <c:pt idx="31">
                  <c:v>0.35679344326302104</c:v>
                </c:pt>
                <c:pt idx="32">
                  <c:v>0.3607443434886782</c:v>
                </c:pt>
                <c:pt idx="33">
                  <c:v>0.3646470031743394</c:v>
                </c:pt>
                <c:pt idx="34">
                  <c:v>0.36850230048517485</c:v>
                </c:pt>
                <c:pt idx="35">
                  <c:v>0.372311092400222</c:v>
                </c:pt>
                <c:pt idx="36">
                  <c:v>0.3760742153474629</c:v>
                </c:pt>
                <c:pt idx="37">
                  <c:v>0.37979248581619063</c:v>
                </c:pt>
                <c:pt idx="38">
                  <c:v>0.38346670094761137</c:v>
                </c:pt>
                <c:pt idx="39">
                  <c:v>0.38709763910457484</c:v>
                </c:pt>
                <c:pt idx="40">
                  <c:v>0.3906860604212928</c:v>
                </c:pt>
                <c:pt idx="41">
                  <c:v>0.394232707333858</c:v>
                </c:pt>
                <c:pt idx="42">
                  <c:v>0.39773830509234265</c:v>
                </c:pt>
                <c:pt idx="43">
                  <c:v>0.4012035622552175</c:v>
                </c:pt>
                <c:pt idx="44">
                  <c:v>0.40462917116680097</c:v>
                </c:pt>
                <c:pt idx="45">
                  <c:v>0.40801580841841184</c:v>
                </c:pt>
                <c:pt idx="46">
                  <c:v>0.4113641352938733</c:v>
                </c:pt>
                <c:pt idx="47">
                  <c:v>0.4146747981999819</c:v>
                </c:pt>
                <c:pt idx="48">
                  <c:v>0.4179484290825325</c:v>
                </c:pt>
                <c:pt idx="49">
                  <c:v>0.42118564582845824</c:v>
                </c:pt>
                <c:pt idx="50">
                  <c:v>0.4243870526546283</c:v>
                </c:pt>
                <c:pt idx="51">
                  <c:v>0.42755324048381077</c:v>
                </c:pt>
                <c:pt idx="52">
                  <c:v>0.43068478730829757</c:v>
                </c:pt>
                <c:pt idx="53">
                  <c:v>0.43378225854165836</c:v>
                </c:pt>
                <c:pt idx="54">
                  <c:v>0.43684620735907354</c:v>
                </c:pt>
                <c:pt idx="55">
                  <c:v>0.43987717502667817</c:v>
                </c:pt>
                <c:pt idx="56">
                  <c:v>0.44287569122032544</c:v>
                </c:pt>
                <c:pt idx="57">
                  <c:v>0.4458422743341682</c:v>
                </c:pt>
                <c:pt idx="58">
                  <c:v>0.4487774317794322</c:v>
                </c:pt>
                <c:pt idx="59">
                  <c:v>0.4516816602737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B$2:$B$61</c:f>
              <c:numCache>
                <c:formatCode>General</c:formatCode>
                <c:ptCount val="60"/>
                <c:pt idx="0">
                  <c:v>216.92311418576534</c:v>
                </c:pt>
                <c:pt idx="1">
                  <c:v>210.3920381235054</c:v>
                </c:pt>
                <c:pt idx="2">
                  <c:v>204.1291150487941</c:v>
                </c:pt>
                <c:pt idx="3">
                  <c:v>198.12160135564358</c:v>
                </c:pt>
                <c:pt idx="4">
                  <c:v>192.35740533553272</c:v>
                </c:pt>
                <c:pt idx="5">
                  <c:v>186.8250481405445</c:v>
                </c:pt>
                <c:pt idx="6">
                  <c:v>181.51362850215475</c:v>
                </c:pt>
                <c:pt idx="7">
                  <c:v>176.41279076270573</c:v>
                </c:pt>
                <c:pt idx="8">
                  <c:v>171.51269577039193</c:v>
                </c:pt>
                <c:pt idx="9">
                  <c:v>166.80399420885496</c:v>
                </c:pt>
                <c:pt idx="10">
                  <c:v>162.27780197055952</c:v>
                </c:pt>
                <c:pt idx="11">
                  <c:v>157.9256772317704</c:v>
                </c:pt>
                <c:pt idx="12">
                  <c:v>153.7395989402519</c:v>
                </c:pt>
                <c:pt idx="13">
                  <c:v>149.71194648034657</c:v>
                </c:pt>
                <c:pt idx="14">
                  <c:v>145.83548033058364</c:v>
                </c:pt>
                <c:pt idx="15">
                  <c:v>142.10332357433177</c:v>
                </c:pt>
                <c:pt idx="16">
                  <c:v>138.50894416301875</c:v>
                </c:pt>
                <c:pt idx="17">
                  <c:v>135.04613786358527</c:v>
                </c:pt>
                <c:pt idx="18">
                  <c:v>131.70901184714637</c:v>
                </c:pt>
                <c:pt idx="19">
                  <c:v>128.49196889476048</c:v>
                </c:pt>
                <c:pt idx="20">
                  <c:v>125.4987284972539</c:v>
                </c:pt>
                <c:pt idx="21">
                  <c:v>122.65965323404319</c:v>
                </c:pt>
                <c:pt idx="22">
                  <c:v>119.94243861333803</c:v>
                </c:pt>
                <c:pt idx="23">
                  <c:v>117.34042768267854</c:v>
                </c:pt>
                <c:pt idx="24">
                  <c:v>114.84739129573317</c:v>
                </c:pt>
                <c:pt idx="25">
                  <c:v>112.45749474921315</c:v>
                </c:pt>
                <c:pt idx="26">
                  <c:v>110.16526771721963</c:v>
                </c:pt>
                <c:pt idx="27">
                  <c:v>107.96557707871159</c:v>
                </c:pt>
                <c:pt idx="28">
                  <c:v>105.85360229080678</c:v>
                </c:pt>
                <c:pt idx="29">
                  <c:v>103.82481300900818</c:v>
                </c:pt>
                <c:pt idx="30">
                  <c:v>101.8749486965489</c:v>
                </c:pt>
                <c:pt idx="31">
                  <c:v>100.0</c:v>
                </c:pt>
                <c:pt idx="32">
                  <c:v>98.50377646012683</c:v>
                </c:pt>
                <c:pt idx="33">
                  <c:v>97.11973109839818</c:v>
                </c:pt>
                <c:pt idx="34">
                  <c:v>95.76633283366178</c:v>
                </c:pt>
                <c:pt idx="35">
                  <c:v>94.44273883420263</c:v>
                </c:pt>
                <c:pt idx="36">
                  <c:v>93.1481345754579</c:v>
                </c:pt>
                <c:pt idx="37">
                  <c:v>91.8817325055498</c:v>
                </c:pt>
                <c:pt idx="38">
                  <c:v>90.64277078259303</c:v>
                </c:pt>
                <c:pt idx="39">
                  <c:v>89.43051208171075</c:v>
                </c:pt>
                <c:pt idx="40">
                  <c:v>88.25521247610212</c:v>
                </c:pt>
                <c:pt idx="41">
                  <c:v>87.10830727043621</c:v>
                </c:pt>
                <c:pt idx="42">
                  <c:v>85.98644518294626</c:v>
                </c:pt>
                <c:pt idx="43">
                  <c:v>84.8889929172162</c:v>
                </c:pt>
                <c:pt idx="44">
                  <c:v>83.81532988407866</c:v>
                </c:pt>
                <c:pt idx="45">
                  <c:v>82.76484804674136</c:v>
                </c:pt>
                <c:pt idx="46">
                  <c:v>81.73695178400581</c:v>
                </c:pt>
                <c:pt idx="47">
                  <c:v>80.73105777128316</c:v>
                </c:pt>
                <c:pt idx="48">
                  <c:v>79.74659487832983</c:v>
                </c:pt>
                <c:pt idx="49">
                  <c:v>78.78300408199595</c:v>
                </c:pt>
                <c:pt idx="50">
                  <c:v>77.83973839180737</c:v>
                </c:pt>
                <c:pt idx="51">
                  <c:v>76.91626278586105</c:v>
                </c:pt>
                <c:pt idx="52">
                  <c:v>76.01205415430573</c:v>
                </c:pt>
                <c:pt idx="53">
                  <c:v>75.12660124760644</c:v>
                </c:pt>
                <c:pt idx="54">
                  <c:v>74.25940462680646</c:v>
                </c:pt>
                <c:pt idx="55">
                  <c:v>73.40997661311481</c:v>
                </c:pt>
                <c:pt idx="56">
                  <c:v>72.57784123433245</c:v>
                </c:pt>
                <c:pt idx="57">
                  <c:v>71.76253416587785</c:v>
                </c:pt>
                <c:pt idx="58">
                  <c:v>70.96360266444539</c:v>
                </c:pt>
                <c:pt idx="59">
                  <c:v>70.180605492647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C$2:$C$61</c:f>
              <c:numCache>
                <c:formatCode>General</c:formatCode>
                <c:ptCount val="60"/>
                <c:pt idx="0">
                  <c:v>172.0088031731826</c:v>
                </c:pt>
                <c:pt idx="1">
                  <c:v>168.23254282954895</c:v>
                </c:pt>
                <c:pt idx="2">
                  <c:v>164.58567489096558</c:v>
                </c:pt>
                <c:pt idx="3">
                  <c:v>161.0631609776389</c:v>
                </c:pt>
                <c:pt idx="4">
                  <c:v>157.66016226344613</c:v>
                </c:pt>
                <c:pt idx="5">
                  <c:v>154.37202839983536</c:v>
                </c:pt>
                <c:pt idx="6">
                  <c:v>151.19428805986382</c:v>
                </c:pt>
                <c:pt idx="7">
                  <c:v>148.12264090076974</c:v>
                </c:pt>
                <c:pt idx="8">
                  <c:v>145.15295071525492</c:v>
                </c:pt>
                <c:pt idx="9">
                  <c:v>142.28123953549692</c:v>
                </c:pt>
                <c:pt idx="10">
                  <c:v>139.503682464135</c:v>
                </c:pt>
                <c:pt idx="11">
                  <c:v>136.81660302808348</c:v>
                </c:pt>
                <c:pt idx="12">
                  <c:v>134.21646887952235</c:v>
                </c:pt>
                <c:pt idx="13">
                  <c:v>131.69988770029633</c:v>
                </c:pt>
                <c:pt idx="14">
                  <c:v>129.2636031983101</c:v>
                </c:pt>
                <c:pt idx="15">
                  <c:v>126.90449111531193</c:v>
                </c:pt>
                <c:pt idx="16">
                  <c:v>124.6195551932489</c:v>
                </c:pt>
                <c:pt idx="17">
                  <c:v>122.40592307029527</c:v>
                </c:pt>
                <c:pt idx="18">
                  <c:v>120.26084209725295</c:v>
                </c:pt>
                <c:pt idx="19">
                  <c:v>118.18167508028105</c:v>
                </c:pt>
                <c:pt idx="20">
                  <c:v>116.2680280817513</c:v>
                </c:pt>
                <c:pt idx="21">
                  <c:v>114.45838268096651</c:v>
                </c:pt>
                <c:pt idx="22">
                  <c:v>112.72518252997786</c:v>
                </c:pt>
                <c:pt idx="23">
                  <c:v>111.06458210864554</c:v>
                </c:pt>
                <c:pt idx="24">
                  <c:v>109.47296452508661</c:v>
                </c:pt>
                <c:pt idx="25">
                  <c:v>107.94692392465923</c:v>
                </c:pt>
                <c:pt idx="26">
                  <c:v>106.48324972977716</c:v>
                </c:pt>
                <c:pt idx="27">
                  <c:v>105.07891247414452</c:v>
                </c:pt>
                <c:pt idx="28">
                  <c:v>103.73105102878519</c:v>
                </c:pt>
                <c:pt idx="29">
                  <c:v>102.43696104602509</c:v>
                </c:pt>
                <c:pt idx="30">
                  <c:v>101.19408447210412</c:v>
                </c:pt>
                <c:pt idx="31">
                  <c:v>100.0</c:v>
                </c:pt>
                <c:pt idx="32">
                  <c:v>99.1606997490439</c:v>
                </c:pt>
                <c:pt idx="33">
                  <c:v>98.41480243323701</c:v>
                </c:pt>
                <c:pt idx="34">
                  <c:v>97.68173974496565</c:v>
                </c:pt>
                <c:pt idx="35">
                  <c:v>96.9612572797211</c:v>
                </c:pt>
                <c:pt idx="36">
                  <c:v>96.2531075338786</c:v>
                </c:pt>
                <c:pt idx="37">
                  <c:v>95.55704945281897</c:v>
                </c:pt>
                <c:pt idx="38">
                  <c:v>94.87284800132274</c:v>
                </c:pt>
                <c:pt idx="39">
                  <c:v>94.20027375736332</c:v>
                </c:pt>
                <c:pt idx="40">
                  <c:v>93.5506687219952</c:v>
                </c:pt>
                <c:pt idx="41">
                  <c:v>92.91568131521008</c:v>
                </c:pt>
                <c:pt idx="42">
                  <c:v>92.29229650811762</c:v>
                </c:pt>
                <c:pt idx="43">
                  <c:v>91.68032993658971</c:v>
                </c:pt>
                <c:pt idx="44">
                  <c:v>91.07959424489196</c:v>
                </c:pt>
                <c:pt idx="45">
                  <c:v>90.48989933493165</c:v>
                </c:pt>
                <c:pt idx="46">
                  <c:v>89.9110526294491</c:v>
                </c:pt>
                <c:pt idx="47">
                  <c:v>89.3428593496546</c:v>
                </c:pt>
                <c:pt idx="48">
                  <c:v>88.7851228069283</c:v>
                </c:pt>
                <c:pt idx="49">
                  <c:v>88.23764470744155</c:v>
                </c:pt>
                <c:pt idx="50">
                  <c:v>87.70022546793375</c:v>
                </c:pt>
                <c:pt idx="51">
                  <c:v>87.17266454037922</c:v>
                </c:pt>
                <c:pt idx="52">
                  <c:v>86.65476074290926</c:v>
                </c:pt>
                <c:pt idx="53">
                  <c:v>86.14631259412413</c:v>
                </c:pt>
                <c:pt idx="54">
                  <c:v>85.64711864779822</c:v>
                </c:pt>
                <c:pt idx="55">
                  <c:v>85.15697782497095</c:v>
                </c:pt>
                <c:pt idx="56">
                  <c:v>84.67568974048298</c:v>
                </c:pt>
                <c:pt idx="57">
                  <c:v>84.2030550211809</c:v>
                </c:pt>
                <c:pt idx="58">
                  <c:v>83.73887561321445</c:v>
                </c:pt>
                <c:pt idx="59">
                  <c:v>83.2829550761215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D$2:$D$61</c:f>
              <c:numCache>
                <c:formatCode>General</c:formatCode>
                <c:ptCount val="60"/>
                <c:pt idx="0">
                  <c:v>78.60083045557886</c:v>
                </c:pt>
                <c:pt idx="1">
                  <c:v>80.5620008871997</c:v>
                </c:pt>
                <c:pt idx="2">
                  <c:v>82.36268407529754</c:v>
                </c:pt>
                <c:pt idx="3">
                  <c:v>84.01402341042295</c:v>
                </c:pt>
                <c:pt idx="4">
                  <c:v>85.5264036107526</c:v>
                </c:pt>
                <c:pt idx="5">
                  <c:v>86.90949960861852</c:v>
                </c:pt>
                <c:pt idx="6">
                  <c:v>88.17232244356593</c:v>
                </c:pt>
                <c:pt idx="7">
                  <c:v>89.32326247841725</c:v>
                </c:pt>
                <c:pt idx="8">
                  <c:v>90.37013017865215</c:v>
                </c:pt>
                <c:pt idx="9">
                  <c:v>91.32019463260491</c:v>
                </c:pt>
                <c:pt idx="10">
                  <c:v>92.18021994101962</c:v>
                </c:pt>
                <c:pt idx="11">
                  <c:v>92.9564995688354</c:v>
                </c:pt>
                <c:pt idx="12">
                  <c:v>93.65488872822687</c:v>
                </c:pt>
                <c:pt idx="13">
                  <c:v>94.28083484810944</c:v>
                </c:pt>
                <c:pt idx="14">
                  <c:v>94.83940617942332</c:v>
                </c:pt>
                <c:pt idx="15">
                  <c:v>95.33531858552935</c:v>
                </c:pt>
                <c:pt idx="16">
                  <c:v>95.77296057106868</c:v>
                </c:pt>
                <c:pt idx="17">
                  <c:v>96.15641660898984</c:v>
                </c:pt>
                <c:pt idx="18">
                  <c:v>96.48948883274373</c:v>
                </c:pt>
                <c:pt idx="19">
                  <c:v>96.77571716781989</c:v>
                </c:pt>
                <c:pt idx="20">
                  <c:v>97.10276317912242</c:v>
                </c:pt>
                <c:pt idx="21">
                  <c:v>97.42912409298027</c:v>
                </c:pt>
                <c:pt idx="22">
                  <c:v>97.73798913377868</c:v>
                </c:pt>
                <c:pt idx="23">
                  <c:v>98.03131664566196</c:v>
                </c:pt>
                <c:pt idx="24">
                  <c:v>98.31088345861097</c:v>
                </c:pt>
                <c:pt idx="25">
                  <c:v>98.57829964181926</c:v>
                </c:pt>
                <c:pt idx="26">
                  <c:v>98.83502209778692</c:v>
                </c:pt>
                <c:pt idx="27">
                  <c:v>99.0823671008766</c:v>
                </c:pt>
                <c:pt idx="28">
                  <c:v>99.32152187104056</c:v>
                </c:pt>
                <c:pt idx="29">
                  <c:v>99.55355526267991</c:v>
                </c:pt>
                <c:pt idx="30">
                  <c:v>99.77942763965478</c:v>
                </c:pt>
                <c:pt idx="31">
                  <c:v>100.0</c:v>
                </c:pt>
                <c:pt idx="32">
                  <c:v>100.52995404742191</c:v>
                </c:pt>
                <c:pt idx="33">
                  <c:v>101.1151479140235</c:v>
                </c:pt>
                <c:pt idx="34">
                  <c:v>101.67594170891783</c:v>
                </c:pt>
                <c:pt idx="35">
                  <c:v>102.21331444400484</c:v>
                </c:pt>
                <c:pt idx="36">
                  <c:v>102.72820700301253</c:v>
                </c:pt>
                <c:pt idx="37">
                  <c:v>103.2215235536589</c:v>
                </c:pt>
                <c:pt idx="38">
                  <c:v>103.69413287722777</c:v>
                </c:pt>
                <c:pt idx="39">
                  <c:v>104.14686962348489</c:v>
                </c:pt>
                <c:pt idx="40">
                  <c:v>104.59353633702338</c:v>
                </c:pt>
                <c:pt idx="41">
                  <c:v>105.02608729890139</c:v>
                </c:pt>
                <c:pt idx="42">
                  <c:v>105.44216512912712</c:v>
                </c:pt>
                <c:pt idx="43">
                  <c:v>105.84252558830502</c:v>
                </c:pt>
                <c:pt idx="44">
                  <c:v>106.22788843578887</c:v>
                </c:pt>
                <c:pt idx="45">
                  <c:v>106.59893853711908</c:v>
                </c:pt>
                <c:pt idx="46">
                  <c:v>106.9563269760226</c:v>
                </c:pt>
                <c:pt idx="47">
                  <c:v>107.30067217318494</c:v>
                </c:pt>
                <c:pt idx="48">
                  <c:v>107.63256101290288</c:v>
                </c:pt>
                <c:pt idx="49">
                  <c:v>107.9525499776895</c:v>
                </c:pt>
                <c:pt idx="50">
                  <c:v>108.26116628995877</c:v>
                </c:pt>
                <c:pt idx="51">
                  <c:v>108.55890905908095</c:v>
                </c:pt>
                <c:pt idx="52">
                  <c:v>108.84625043139057</c:v>
                </c:pt>
                <c:pt idx="53">
                  <c:v>109.12363674016619</c:v>
                </c:pt>
                <c:pt idx="54">
                  <c:v>109.39148965216687</c:v>
                </c:pt>
                <c:pt idx="55">
                  <c:v>109.65020730702413</c:v>
                </c:pt>
                <c:pt idx="56">
                  <c:v>109.90016544562478</c:v>
                </c:pt>
                <c:pt idx="57">
                  <c:v>110.14171852359193</c:v>
                </c:pt>
                <c:pt idx="58">
                  <c:v>110.37520080603029</c:v>
                </c:pt>
                <c:pt idx="59">
                  <c:v>110.600927439873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E$2:$E$61</c:f>
              <c:numCache>
                <c:formatCode>General</c:formatCode>
                <c:ptCount val="60"/>
                <c:pt idx="0">
                  <c:v>0.14827920099613398</c:v>
                </c:pt>
                <c:pt idx="1">
                  <c:v>0.15538872352538158</c:v>
                </c:pt>
                <c:pt idx="2">
                  <c:v>0.16238053872798602</c:v>
                </c:pt>
                <c:pt idx="3">
                  <c:v>0.16925754579918487</c:v>
                </c:pt>
                <c:pt idx="4">
                  <c:v>0.1760225494978885</c:v>
                </c:pt>
                <c:pt idx="5">
                  <c:v>0.18267826396074902</c:v>
                </c:pt>
                <c:pt idx="6">
                  <c:v>0.18922731633285841</c:v>
                </c:pt>
                <c:pt idx="7">
                  <c:v>0.19567225022528403</c:v>
                </c:pt>
                <c:pt idx="8">
                  <c:v>0.20201552900899622</c:v>
                </c:pt>
                <c:pt idx="9">
                  <c:v>0.20825953895415272</c:v>
                </c:pt>
                <c:pt idx="10">
                  <c:v>0.21440659222314218</c:v>
                </c:pt>
                <c:pt idx="11">
                  <c:v>0.22045892972527525</c:v>
                </c:pt>
                <c:pt idx="12">
                  <c:v>0.2264187238405253</c:v>
                </c:pt>
                <c:pt idx="13">
                  <c:v>0.23228808101927703</c:v>
                </c:pt>
                <c:pt idx="14">
                  <c:v>0.2380690442646139</c:v>
                </c:pt>
                <c:pt idx="15">
                  <c:v>0.24376359550329385</c:v>
                </c:pt>
                <c:pt idx="16">
                  <c:v>0.24937365785119223</c:v>
                </c:pt>
                <c:pt idx="17">
                  <c:v>0.2549010977786501</c:v>
                </c:pt>
                <c:pt idx="18">
                  <c:v>0.2603477271808533</c:v>
                </c:pt>
                <c:pt idx="19">
                  <c:v>0.2657153053580605</c:v>
                </c:pt>
                <c:pt idx="20">
                  <c:v>0.27100554091023576</c:v>
                </c:pt>
                <c:pt idx="21">
                  <c:v>0.27622009355036276</c:v>
                </c:pt>
                <c:pt idx="22">
                  <c:v>0.28136057584048796</c:v>
                </c:pt>
                <c:pt idx="23">
                  <c:v>0.2864285548543069</c:v>
                </c:pt>
                <c:pt idx="24">
                  <c:v>0.29142555376989293</c:v>
                </c:pt>
                <c:pt idx="25">
                  <c:v>0.2963530533959716</c:v>
                </c:pt>
                <c:pt idx="26">
                  <c:v>0.3012124936349497</c:v>
                </c:pt>
                <c:pt idx="27">
                  <c:v>0.3060052748857389</c:v>
                </c:pt>
                <c:pt idx="28">
                  <c:v>0.31073275938924183</c:v>
                </c:pt>
                <c:pt idx="29">
                  <c:v>0.31539627251922</c:v>
                </c:pt>
                <c:pt idx="30">
                  <c:v>0.3199971040211069</c:v>
                </c:pt>
                <c:pt idx="31">
                  <c:v>0.3245365092012064</c:v>
                </c:pt>
                <c:pt idx="32">
                  <c:v>0.32901571006857255</c:v>
                </c:pt>
                <c:pt idx="33">
                  <c:v>0.3334358964317571</c:v>
                </c:pt>
                <c:pt idx="34">
                  <c:v>0.3377982269524916</c:v>
                </c:pt>
                <c:pt idx="35">
                  <c:v>0.3421038301582621</c:v>
                </c:pt>
                <c:pt idx="36">
                  <c:v>0.34635380541563765</c:v>
                </c:pt>
                <c:pt idx="37">
                  <c:v>0.35054922386611487</c:v>
                </c:pt>
                <c:pt idx="38">
                  <c:v>0.35469112932615265</c:v>
                </c:pt>
                <c:pt idx="39">
                  <c:v>0.35878053915298286</c:v>
                </c:pt>
                <c:pt idx="40">
                  <c:v>0.3628184450777124</c:v>
                </c:pt>
                <c:pt idx="41">
                  <c:v>0.36680581400713835</c:v>
                </c:pt>
                <c:pt idx="42">
                  <c:v>0.3707435887956512</c:v>
                </c:pt>
                <c:pt idx="43">
                  <c:v>0.3746326889885086</c:v>
                </c:pt>
                <c:pt idx="44">
                  <c:v>0.3784740115377195</c:v>
                </c:pt>
                <c:pt idx="45">
                  <c:v>0.38226843149170164</c:v>
                </c:pt>
                <c:pt idx="46">
                  <c:v>0.3860168026598345</c:v>
                </c:pt>
                <c:pt idx="47">
                  <c:v>0.3897199582529598</c:v>
                </c:pt>
                <c:pt idx="48">
                  <c:v>0.3933787115008437</c:v>
                </c:pt>
                <c:pt idx="49">
                  <c:v>0.3969938562475608</c:v>
                </c:pt>
                <c:pt idx="50">
                  <c:v>0.40056616752571517</c:v>
                </c:pt>
                <c:pt idx="51">
                  <c:v>0.40409640211036946</c:v>
                </c:pt>
                <c:pt idx="52">
                  <c:v>0.407585299053517</c:v>
                </c:pt>
                <c:pt idx="53">
                  <c:v>0.4110335801998877</c:v>
                </c:pt>
                <c:pt idx="54">
                  <c:v>0.414441950684842</c:v>
                </c:pt>
                <c:pt idx="55">
                  <c:v>0.4178110994150789</c:v>
                </c:pt>
                <c:pt idx="56">
                  <c:v>0.42114169953284164</c:v>
                </c:pt>
                <c:pt idx="57">
                  <c:v>0.4244344088642817</c:v>
                </c:pt>
                <c:pt idx="58">
                  <c:v>0.42768987035260597</c:v>
                </c:pt>
                <c:pt idx="59">
                  <c:v>0.43090871247660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68.98576734732654</c:v>
                </c:pt>
                <c:pt idx="1">
                  <c:v>254.95782775044464</c:v>
                </c:pt>
                <c:pt idx="2">
                  <c:v>241.93514273017715</c:v>
                </c:pt>
                <c:pt idx="3">
                  <c:v>229.84242087536808</c:v>
                </c:pt>
                <c:pt idx="4">
                  <c:v>217.84928845719932</c:v>
                </c:pt>
                <c:pt idx="5">
                  <c:v>200.48709270199257</c:v>
                </c:pt>
                <c:pt idx="6">
                  <c:v>185.00771061371313</c:v>
                </c:pt>
                <c:pt idx="7">
                  <c:v>171.23262058593488</c:v>
                </c:pt>
                <c:pt idx="8">
                  <c:v>158.97966034384962</c:v>
                </c:pt>
                <c:pt idx="9">
                  <c:v>148.07196561551385</c:v>
                </c:pt>
                <c:pt idx="10">
                  <c:v>138.34417585177928</c:v>
                </c:pt>
                <c:pt idx="11">
                  <c:v>129.64597732917915</c:v>
                </c:pt>
                <c:pt idx="12">
                  <c:v>121.843526969764</c:v>
                </c:pt>
                <c:pt idx="13">
                  <c:v>114.81941012498457</c:v>
                </c:pt>
                <c:pt idx="14">
                  <c:v>108.20555818084487</c:v>
                </c:pt>
                <c:pt idx="15">
                  <c:v>100.0</c:v>
                </c:pt>
                <c:pt idx="16">
                  <c:v>92.67075416995705</c:v>
                </c:pt>
                <c:pt idx="17">
                  <c:v>86.11488094057378</c:v>
                </c:pt>
                <c:pt idx="18">
                  <c:v>80.24120716826756</c:v>
                </c:pt>
                <c:pt idx="19">
                  <c:v>74.96938119535454</c:v>
                </c:pt>
                <c:pt idx="20">
                  <c:v>70.22879380036807</c:v>
                </c:pt>
                <c:pt idx="21">
                  <c:v>65.95748258591124</c:v>
                </c:pt>
                <c:pt idx="22">
                  <c:v>62.101090493082346</c:v>
                </c:pt>
                <c:pt idx="23">
                  <c:v>58.61191557279355</c:v>
                </c:pt>
                <c:pt idx="24">
                  <c:v>55.16149253099826</c:v>
                </c:pt>
                <c:pt idx="25">
                  <c:v>49.719300817849565</c:v>
                </c:pt>
                <c:pt idx="26">
                  <c:v>45.00810818472462</c:v>
                </c:pt>
                <c:pt idx="27">
                  <c:v>40.914963201969954</c:v>
                </c:pt>
                <c:pt idx="28">
                  <c:v>37.34529716959506</c:v>
                </c:pt>
                <c:pt idx="29">
                  <c:v>34.219947297500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212.37285921535937</c:v>
                </c:pt>
                <c:pt idx="1">
                  <c:v>204.86128371212553</c:v>
                </c:pt>
                <c:pt idx="2">
                  <c:v>197.78085164561648</c:v>
                </c:pt>
                <c:pt idx="3">
                  <c:v>191.11076535539164</c:v>
                </c:pt>
                <c:pt idx="4">
                  <c:v>184.18817939868038</c:v>
                </c:pt>
                <c:pt idx="5">
                  <c:v>172.320700790297</c:v>
                </c:pt>
                <c:pt idx="6">
                  <c:v>161.6121211708262</c:v>
                </c:pt>
                <c:pt idx="7">
                  <c:v>151.98272591288338</c:v>
                </c:pt>
                <c:pt idx="8">
                  <c:v>143.3396571451462</c:v>
                </c:pt>
                <c:pt idx="9">
                  <c:v>135.58480266163033</c:v>
                </c:pt>
                <c:pt idx="10">
                  <c:v>128.62090308566684</c:v>
                </c:pt>
                <c:pt idx="11">
                  <c:v>122.35567625498669</c:v>
                </c:pt>
                <c:pt idx="12">
                  <c:v>116.70421713673929</c:v>
                </c:pt>
                <c:pt idx="13">
                  <c:v>111.59009867184768</c:v>
                </c:pt>
                <c:pt idx="14">
                  <c:v>106.68329658629487</c:v>
                </c:pt>
                <c:pt idx="15">
                  <c:v>100.0</c:v>
                </c:pt>
                <c:pt idx="16">
                  <c:v>93.97474465806341</c:v>
                </c:pt>
                <c:pt idx="17">
                  <c:v>88.5385704614206</c:v>
                </c:pt>
                <c:pt idx="18">
                  <c:v>83.62902150096888</c:v>
                </c:pt>
                <c:pt idx="19">
                  <c:v>79.1899657750559</c:v>
                </c:pt>
                <c:pt idx="20">
                  <c:v>75.17119443491721</c:v>
                </c:pt>
                <c:pt idx="21">
                  <c:v>71.52791394598154</c:v>
                </c:pt>
                <c:pt idx="22">
                  <c:v>68.22020665199538</c:v>
                </c:pt>
                <c:pt idx="23">
                  <c:v>65.21250598532899</c:v>
                </c:pt>
                <c:pt idx="24">
                  <c:v>62.150409930722304</c:v>
                </c:pt>
                <c:pt idx="25">
                  <c:v>56.720350968603626</c:v>
                </c:pt>
                <c:pt idx="26">
                  <c:v>51.980835728358</c:v>
                </c:pt>
                <c:pt idx="27">
                  <c:v>47.83080244916052</c:v>
                </c:pt>
                <c:pt idx="28">
                  <c:v>44.184553795627075</c:v>
                </c:pt>
                <c:pt idx="29">
                  <c:v>40.9694920209990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32.1205532967871</c:v>
                </c:pt>
                <c:pt idx="1">
                  <c:v>133.8788050738426</c:v>
                </c:pt>
                <c:pt idx="2">
                  <c:v>135.24732537969203</c:v>
                </c:pt>
                <c:pt idx="3">
                  <c:v>136.28376923003503</c:v>
                </c:pt>
                <c:pt idx="4">
                  <c:v>136.56224052540847</c:v>
                </c:pt>
                <c:pt idx="5">
                  <c:v>132.4792593566763</c:v>
                </c:pt>
                <c:pt idx="6">
                  <c:v>128.5263878347641</c:v>
                </c:pt>
                <c:pt idx="7">
                  <c:v>124.76515231295397</c:v>
                </c:pt>
                <c:pt idx="8">
                  <c:v>121.23008020792867</c:v>
                </c:pt>
                <c:pt idx="9">
                  <c:v>117.93520192171857</c:v>
                </c:pt>
                <c:pt idx="10">
                  <c:v>114.88010260690487</c:v>
                </c:pt>
                <c:pt idx="11">
                  <c:v>112.05493562915483</c:v>
                </c:pt>
                <c:pt idx="12">
                  <c:v>109.44425353322087</c:v>
                </c:pt>
                <c:pt idx="13">
                  <c:v>107.02976221962601</c:v>
                </c:pt>
                <c:pt idx="14">
                  <c:v>104.53508470116898</c:v>
                </c:pt>
                <c:pt idx="15">
                  <c:v>100.0</c:v>
                </c:pt>
                <c:pt idx="16">
                  <c:v>95.81426686228937</c:v>
                </c:pt>
                <c:pt idx="17">
                  <c:v>91.9571388062843</c:v>
                </c:pt>
                <c:pt idx="18">
                  <c:v>88.40686597100846</c:v>
                </c:pt>
                <c:pt idx="19">
                  <c:v>85.14161744981237</c:v>
                </c:pt>
                <c:pt idx="20">
                  <c:v>82.14005462132602</c:v>
                </c:pt>
                <c:pt idx="21">
                  <c:v>79.38166493039792</c:v>
                </c:pt>
                <c:pt idx="22">
                  <c:v>76.84693966036782</c:v>
                </c:pt>
                <c:pt idx="23">
                  <c:v>74.51745575536978</c:v>
                </c:pt>
                <c:pt idx="24">
                  <c:v>72.00183964019044</c:v>
                </c:pt>
                <c:pt idx="25">
                  <c:v>66.58473528794785</c:v>
                </c:pt>
                <c:pt idx="26">
                  <c:v>61.802178402905405</c:v>
                </c:pt>
                <c:pt idx="27">
                  <c:v>57.569629362880406</c:v>
                </c:pt>
                <c:pt idx="28">
                  <c:v>53.81371179662139</c:v>
                </c:pt>
                <c:pt idx="29">
                  <c:v>50.4709399082541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5857142857142845</c:v>
                </c:pt>
                <c:pt idx="1">
                  <c:v>0.271578947368421</c:v>
                </c:pt>
                <c:pt idx="2">
                  <c:v>0.2841379310344828</c:v>
                </c:pt>
                <c:pt idx="3">
                  <c:v>0.29627118644067796</c:v>
                </c:pt>
                <c:pt idx="4">
                  <c:v>0.308</c:v>
                </c:pt>
                <c:pt idx="5">
                  <c:v>0.319344262295082</c:v>
                </c:pt>
                <c:pt idx="6">
                  <c:v>0.33032258064516135</c:v>
                </c:pt>
                <c:pt idx="7">
                  <c:v>0.340952380952381</c:v>
                </c:pt>
                <c:pt idx="8">
                  <c:v>0.3512499999999999</c:v>
                </c:pt>
                <c:pt idx="9">
                  <c:v>0.36123076923076924</c:v>
                </c:pt>
                <c:pt idx="10">
                  <c:v>0.3709090909090908</c:v>
                </c:pt>
                <c:pt idx="11">
                  <c:v>0.3802985074626866</c:v>
                </c:pt>
                <c:pt idx="12">
                  <c:v>0.38941176470588235</c:v>
                </c:pt>
                <c:pt idx="13">
                  <c:v>0.39826086956521745</c:v>
                </c:pt>
                <c:pt idx="14">
                  <c:v>0.40685714285714286</c:v>
                </c:pt>
                <c:pt idx="15">
                  <c:v>0.4152112676056338</c:v>
                </c:pt>
                <c:pt idx="16">
                  <c:v>0.42333333333333334</c:v>
                </c:pt>
                <c:pt idx="17">
                  <c:v>0.4312328767123288</c:v>
                </c:pt>
                <c:pt idx="18">
                  <c:v>0.4389189189189189</c:v>
                </c:pt>
                <c:pt idx="19">
                  <c:v>0.4463999999999999</c:v>
                </c:pt>
                <c:pt idx="20">
                  <c:v>0.4536842105263158</c:v>
                </c:pt>
                <c:pt idx="21">
                  <c:v>0.46077922077922084</c:v>
                </c:pt>
                <c:pt idx="22">
                  <c:v>0.46769230769230774</c:v>
                </c:pt>
                <c:pt idx="23">
                  <c:v>0.4744303797468355</c:v>
                </c:pt>
                <c:pt idx="24">
                  <c:v>0.48100000000000004</c:v>
                </c:pt>
                <c:pt idx="25">
                  <c:v>0.48740740740740746</c:v>
                </c:pt>
                <c:pt idx="26">
                  <c:v>0.49365853658536585</c:v>
                </c:pt>
                <c:pt idx="27">
                  <c:v>0.49975903614457834</c:v>
                </c:pt>
                <c:pt idx="28">
                  <c:v>0.5057142857142858</c:v>
                </c:pt>
                <c:pt idx="29">
                  <c:v>0.51152941176470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3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B$2:$B$34</c:f>
              <c:numCache>
                <c:formatCode>General</c:formatCode>
                <c:ptCount val="33"/>
                <c:pt idx="0">
                  <c:v>186.29761377097572</c:v>
                </c:pt>
                <c:pt idx="1">
                  <c:v>177.58597230112883</c:v>
                </c:pt>
                <c:pt idx="2">
                  <c:v>169.60848773239107</c:v>
                </c:pt>
                <c:pt idx="3">
                  <c:v>162.27343177122796</c:v>
                </c:pt>
                <c:pt idx="4">
                  <c:v>155.5032468509248</c:v>
                </c:pt>
                <c:pt idx="5">
                  <c:v>149.23219352552155</c:v>
                </c:pt>
                <c:pt idx="6">
                  <c:v>143.40437435288646</c:v>
                </c:pt>
                <c:pt idx="7">
                  <c:v>137.43886318316868</c:v>
                </c:pt>
                <c:pt idx="8">
                  <c:v>131.95057601396127</c:v>
                </c:pt>
                <c:pt idx="9">
                  <c:v>126.88512490222708</c:v>
                </c:pt>
                <c:pt idx="10">
                  <c:v>122.19545293050848</c:v>
                </c:pt>
                <c:pt idx="11">
                  <c:v>117.84077466889525</c:v>
                </c:pt>
                <c:pt idx="12">
                  <c:v>113.78566861856491</c:v>
                </c:pt>
                <c:pt idx="13">
                  <c:v>109.99930274135126</c:v>
                </c:pt>
                <c:pt idx="14">
                  <c:v>106.45477516805657</c:v>
                </c:pt>
                <c:pt idx="15">
                  <c:v>103.12855375861882</c:v>
                </c:pt>
                <c:pt idx="16">
                  <c:v>100.0</c:v>
                </c:pt>
                <c:pt idx="17">
                  <c:v>93.48585697559662</c:v>
                </c:pt>
                <c:pt idx="18">
                  <c:v>87.6091754679744</c:v>
                </c:pt>
                <c:pt idx="19">
                  <c:v>82.29141862140057</c:v>
                </c:pt>
                <c:pt idx="20">
                  <c:v>77.465458425349</c:v>
                </c:pt>
                <c:pt idx="21">
                  <c:v>73.07371243051048</c:v>
                </c:pt>
                <c:pt idx="22">
                  <c:v>69.06660954963442</c:v>
                </c:pt>
                <c:pt idx="23">
                  <c:v>65.40132429845217</c:v>
                </c:pt>
                <c:pt idx="24">
                  <c:v>62.0407299886682</c:v>
                </c:pt>
                <c:pt idx="25">
                  <c:v>58.95253065053326</c:v>
                </c:pt>
                <c:pt idx="26">
                  <c:v>56.10853906620489</c:v>
                </c:pt>
                <c:pt idx="27">
                  <c:v>54.56583487429971</c:v>
                </c:pt>
                <c:pt idx="28">
                  <c:v>53.095671000320166</c:v>
                </c:pt>
                <c:pt idx="29">
                  <c:v>51.69339998067572</c:v>
                </c:pt>
                <c:pt idx="30">
                  <c:v>50.35474240062332</c:v>
                </c:pt>
                <c:pt idx="31">
                  <c:v>49.07575358561564</c:v>
                </c:pt>
                <c:pt idx="32">
                  <c:v>47.852793526419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C$2:$C$34</c:f>
              <c:numCache>
                <c:formatCode>General</c:formatCode>
                <c:ptCount val="33"/>
                <c:pt idx="0">
                  <c:v>149.1168057302508</c:v>
                </c:pt>
                <c:pt idx="1">
                  <c:v>144.3566103034208</c:v>
                </c:pt>
                <c:pt idx="2">
                  <c:v>139.98563213254522</c:v>
                </c:pt>
                <c:pt idx="3">
                  <c:v>135.95438213540453</c:v>
                </c:pt>
                <c:pt idx="4">
                  <c:v>132.22086664116512</c:v>
                </c:pt>
                <c:pt idx="5">
                  <c:v>128.74943589826722</c:v>
                </c:pt>
                <c:pt idx="6">
                  <c:v>125.5097874873796</c:v>
                </c:pt>
                <c:pt idx="7">
                  <c:v>122.00275747246742</c:v>
                </c:pt>
                <c:pt idx="8">
                  <c:v>118.77676896112122</c:v>
                </c:pt>
                <c:pt idx="9">
                  <c:v>115.79998181741409</c:v>
                </c:pt>
                <c:pt idx="10">
                  <c:v>113.04463769417512</c:v>
                </c:pt>
                <c:pt idx="11">
                  <c:v>110.48652077226124</c:v>
                </c:pt>
                <c:pt idx="12">
                  <c:v>108.1044843288315</c:v>
                </c:pt>
                <c:pt idx="13">
                  <c:v>105.88003803601651</c:v>
                </c:pt>
                <c:pt idx="14">
                  <c:v>103.79699001495091</c:v>
                </c:pt>
                <c:pt idx="15">
                  <c:v>101.84113747788948</c:v>
                </c:pt>
                <c:pt idx="16">
                  <c:v>100.0</c:v>
                </c:pt>
                <c:pt idx="17">
                  <c:v>94.65438520237814</c:v>
                </c:pt>
                <c:pt idx="18">
                  <c:v>89.79944877957348</c:v>
                </c:pt>
                <c:pt idx="19">
                  <c:v>85.3775738916201</c:v>
                </c:pt>
                <c:pt idx="20">
                  <c:v>81.33920638738287</c:v>
                </c:pt>
                <c:pt idx="21">
                  <c:v>77.64158546137821</c:v>
                </c:pt>
                <c:pt idx="22">
                  <c:v>74.24768904559268</c:v>
                </c:pt>
                <c:pt idx="23">
                  <c:v>71.12535657925379</c:v>
                </c:pt>
                <c:pt idx="24">
                  <c:v>68.24655806605958</c:v>
                </c:pt>
                <c:pt idx="25">
                  <c:v>65.58678372840893</c:v>
                </c:pt>
                <c:pt idx="26">
                  <c:v>63.12453312880555</c:v>
                </c:pt>
                <c:pt idx="27">
                  <c:v>62.070953564351115</c:v>
                </c:pt>
                <c:pt idx="28">
                  <c:v>61.0622566720049</c:v>
                </c:pt>
                <c:pt idx="29">
                  <c:v>60.09575640077798</c:v>
                </c:pt>
                <c:pt idx="30">
                  <c:v>59.16896723806163</c:v>
                </c:pt>
                <c:pt idx="31">
                  <c:v>58.27958759760813</c:v>
                </c:pt>
                <c:pt idx="32">
                  <c:v>57.425484598729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D$2:$D$34</c:f>
              <c:numCache>
                <c:formatCode>General</c:formatCode>
                <c:ptCount val="33"/>
                <c:pt idx="0">
                  <c:v>95.21476160890091</c:v>
                </c:pt>
                <c:pt idx="1">
                  <c:v>96.18881025276626</c:v>
                </c:pt>
                <c:pt idx="2">
                  <c:v>97.05054435215713</c:v>
                </c:pt>
                <c:pt idx="3">
                  <c:v>97.81197442324282</c:v>
                </c:pt>
                <c:pt idx="4">
                  <c:v>98.48287381601786</c:v>
                </c:pt>
                <c:pt idx="5">
                  <c:v>99.0713819478475</c:v>
                </c:pt>
                <c:pt idx="6">
                  <c:v>99.58443765258296</c:v>
                </c:pt>
                <c:pt idx="7">
                  <c:v>99.64150811068563</c:v>
                </c:pt>
                <c:pt idx="8">
                  <c:v>99.69456756461247</c:v>
                </c:pt>
                <c:pt idx="9">
                  <c:v>99.74460902493269</c:v>
                </c:pt>
                <c:pt idx="10">
                  <c:v>99.79196473856538</c:v>
                </c:pt>
                <c:pt idx="11">
                  <c:v>99.83652859897128</c:v>
                </c:pt>
                <c:pt idx="12">
                  <c:v>99.87791770436311</c:v>
                </c:pt>
                <c:pt idx="13">
                  <c:v>99.91558840916036</c:v>
                </c:pt>
                <c:pt idx="14">
                  <c:v>99.94891852266555</c:v>
                </c:pt>
                <c:pt idx="15">
                  <c:v>99.97726446351255</c:v>
                </c:pt>
                <c:pt idx="16">
                  <c:v>100.0</c:v>
                </c:pt>
                <c:pt idx="17">
                  <c:v>96.34249531283695</c:v>
                </c:pt>
                <c:pt idx="18">
                  <c:v>92.9633057596005</c:v>
                </c:pt>
                <c:pt idx="19">
                  <c:v>89.83513150583671</c:v>
                </c:pt>
                <c:pt idx="20">
                  <c:v>86.9338766656617</c:v>
                </c:pt>
                <c:pt idx="21">
                  <c:v>84.23824443175025</c:v>
                </c:pt>
                <c:pt idx="22">
                  <c:v>81.72938000789952</c:v>
                </c:pt>
                <c:pt idx="23">
                  <c:v>79.39055811830282</c:v>
                </c:pt>
                <c:pt idx="24">
                  <c:v>77.20691092679839</c:v>
                </c:pt>
                <c:pt idx="25">
                  <c:v>75.16519191541853</c:v>
                </c:pt>
                <c:pt idx="26">
                  <c:v>73.25357136610774</c:v>
                </c:pt>
                <c:pt idx="27">
                  <c:v>72.9068275049557</c:v>
                </c:pt>
                <c:pt idx="28">
                  <c:v>72.56494272478339</c:v>
                </c:pt>
                <c:pt idx="29">
                  <c:v>72.22807322727607</c:v>
                </c:pt>
                <c:pt idx="30">
                  <c:v>71.89633266464008</c:v>
                </c:pt>
                <c:pt idx="31">
                  <c:v>71.56979979597878</c:v>
                </c:pt>
                <c:pt idx="32">
                  <c:v>71.248524851606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E$2:$E$34</c:f>
              <c:numCache>
                <c:formatCode>General</c:formatCode>
                <c:ptCount val="33"/>
                <c:pt idx="0">
                  <c:v>0.2617500584136314</c:v>
                </c:pt>
                <c:pt idx="1">
                  <c:v>0.27312525011758193</c:v>
                </c:pt>
                <c:pt idx="2">
                  <c:v>0.2841552159731572</c:v>
                </c:pt>
                <c:pt idx="3">
                  <c:v>0.29485543696010535</c:v>
                </c:pt>
                <c:pt idx="4">
                  <c:v>0.30524048207114957</c:v>
                </c:pt>
                <c:pt idx="5">
                  <c:v>0.3153240744939196</c:v>
                </c:pt>
                <c:pt idx="6">
                  <c:v>0.3251191521120323</c:v>
                </c:pt>
                <c:pt idx="7">
                  <c:v>0.33463792288619243</c:v>
                </c:pt>
                <c:pt idx="8">
                  <c:v>0.3438919156137838</c:v>
                </c:pt>
                <c:pt idx="9">
                  <c:v>0.352892026510714</c:v>
                </c:pt>
                <c:pt idx="10">
                  <c:v>0.36164856201124573</c:v>
                </c:pt>
                <c:pt idx="11">
                  <c:v>0.3701712781392665</c:v>
                </c:pt>
                <c:pt idx="12">
                  <c:v>0.3784694167672076</c:v>
                </c:pt>
                <c:pt idx="13">
                  <c:v>0.3865517390459174</c:v>
                </c:pt>
                <c:pt idx="14">
                  <c:v>0.39442655625970546</c:v>
                </c:pt>
                <c:pt idx="15">
                  <c:v>0.4021017583349943</c:v>
                </c:pt>
                <c:pt idx="16">
                  <c:v>0.40958484020814845</c:v>
                </c:pt>
                <c:pt idx="17">
                  <c:v>0.4168829262377139</c:v>
                </c:pt>
                <c:pt idx="18">
                  <c:v>0.424002792828218</c:v>
                </c:pt>
                <c:pt idx="19">
                  <c:v>0.43095088941653875</c:v>
                </c:pt>
                <c:pt idx="20">
                  <c:v>0.43773335795746193</c:v>
                </c:pt>
                <c:pt idx="21">
                  <c:v>0.4443560510321679</c:v>
                </c:pt>
                <c:pt idx="22">
                  <c:v>0.4508245486918632</c:v>
                </c:pt>
                <c:pt idx="23">
                  <c:v>0.4571441741384472</c:v>
                </c:pt>
                <c:pt idx="24">
                  <c:v>0.46332000833482434</c:v>
                </c:pt>
                <c:pt idx="25">
                  <c:v>0.46935690362914567</c:v>
                </c:pt>
                <c:pt idx="26">
                  <c:v>0.47525949646975585</c:v>
                </c:pt>
                <c:pt idx="27">
                  <c:v>0.4810322192808697</c:v>
                </c:pt>
                <c:pt idx="28">
                  <c:v>0.4866793115629059</c:v>
                </c:pt>
                <c:pt idx="29">
                  <c:v>0.4922048302758994</c:v>
                </c:pt>
                <c:pt idx="30">
                  <c:v>0.4976126595594361</c:v>
                </c:pt>
                <c:pt idx="31">
                  <c:v>0.5029065198380511</c:v>
                </c:pt>
                <c:pt idx="32">
                  <c:v>0.508089976356945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utz (4.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Malard (6.0%)</c:v>
                </c:pt>
                <c:pt idx="3">
                  <c:v>Laurent Perrier (3.9%)</c:v>
                </c:pt>
                <c:pt idx="4">
                  <c:v>Taittinger (2.2%)</c:v>
                </c:pt>
                <c:pt idx="5">
                  <c:v>Ayala (1.7%)</c:v>
                </c:pt>
                <c:pt idx="6">
                  <c:v>Heidsieck &amp; C° Monopole (4.2%)</c:v>
                </c:pt>
                <c:pt idx="7">
                  <c:v>Nicolas Feuillatte (4.5%)</c:v>
                </c:pt>
                <c:pt idx="8">
                  <c:v>Demoiselle (3.5%)</c:v>
                </c:pt>
                <c:pt idx="9">
                  <c:v>Besserat De Bellefon (2.0%)</c:v>
                </c:pt>
              </c:strCache>
            </c:strRef>
          </c:cat>
          <c:val>
            <c:numRef>
              <c:f>Sheet1!$B$2:$B$11</c:f>
              <c:numCache>
                <c:formatCode>General</c:formatCode>
                <c:ptCount val="10"/>
                <c:pt idx="0">
                  <c:v>0.11454825509266954</c:v>
                </c:pt>
                <c:pt idx="1">
                  <c:v>0.10920544369355081</c:v>
                </c:pt>
                <c:pt idx="2">
                  <c:v>0.07064888192937532</c:v>
                </c:pt>
                <c:pt idx="3">
                  <c:v>0.05693084707188136</c:v>
                </c:pt>
                <c:pt idx="4">
                  <c:v>0.053064504192684075</c:v>
                </c:pt>
                <c:pt idx="5">
                  <c:v>0.050352656502923095</c:v>
                </c:pt>
                <c:pt idx="6">
                  <c:v>0.04989384278916196</c:v>
                </c:pt>
                <c:pt idx="7">
                  <c:v>0.04701100437493881</c:v>
                </c:pt>
                <c:pt idx="8">
                  <c:v>0.04594976533212687</c:v>
                </c:pt>
                <c:pt idx="9">
                  <c:v>0.042909337843488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52.98464697959875</c:v>
                </c:pt>
                <c:pt idx="1">
                  <c:v>242.12219589126263</c:v>
                </c:pt>
                <c:pt idx="2">
                  <c:v>231.98131787134434</c:v>
                </c:pt>
                <c:pt idx="3">
                  <c:v>222.5026448336389</c:v>
                </c:pt>
                <c:pt idx="4">
                  <c:v>212.99822168768497</c:v>
                </c:pt>
                <c:pt idx="5">
                  <c:v>198.92199126703196</c:v>
                </c:pt>
                <c:pt idx="6">
                  <c:v>186.31545352166617</c:v>
                </c:pt>
                <c:pt idx="7">
                  <c:v>175.01643505078067</c:v>
                </c:pt>
                <c:pt idx="8">
                  <c:v>164.87306249538202</c:v>
                </c:pt>
                <c:pt idx="9">
                  <c:v>155.74617290952784</c:v>
                </c:pt>
                <c:pt idx="10">
                  <c:v>147.51046761849173</c:v>
                </c:pt>
                <c:pt idx="11">
                  <c:v>140.05469209301782</c:v>
                </c:pt>
                <c:pt idx="12">
                  <c:v>133.28112572593292</c:v>
                </c:pt>
                <c:pt idx="13">
                  <c:v>127.10463393236307</c:v>
                </c:pt>
                <c:pt idx="14">
                  <c:v>121.35109606380396</c:v>
                </c:pt>
                <c:pt idx="15">
                  <c:v>115.24319563785683</c:v>
                </c:pt>
                <c:pt idx="16">
                  <c:v>109.69027384654517</c:v>
                </c:pt>
                <c:pt idx="17">
                  <c:v>104.62804192325518</c:v>
                </c:pt>
                <c:pt idx="18">
                  <c:v>100.0</c:v>
                </c:pt>
                <c:pt idx="19">
                  <c:v>95.75664975773867</c:v>
                </c:pt>
                <c:pt idx="20">
                  <c:v>91.85470754841079</c:v>
                </c:pt>
                <c:pt idx="21">
                  <c:v>88.25635667571994</c:v>
                </c:pt>
                <c:pt idx="22">
                  <c:v>84.92855965035136</c:v>
                </c:pt>
                <c:pt idx="23">
                  <c:v>81.84243937111518</c:v>
                </c:pt>
                <c:pt idx="24">
                  <c:v>78.58887395822285</c:v>
                </c:pt>
                <c:pt idx="25">
                  <c:v>72.3705527945939</c:v>
                </c:pt>
                <c:pt idx="26">
                  <c:v>66.81277649406454</c:v>
                </c:pt>
                <c:pt idx="27">
                  <c:v>61.833295460761974</c:v>
                </c:pt>
                <c:pt idx="28">
                  <c:v>57.36172862741454</c:v>
                </c:pt>
                <c:pt idx="29">
                  <c:v>53.3375185912482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92.02221174148397</c:v>
                </c:pt>
                <c:pt idx="1">
                  <c:v>187.00100214212472</c:v>
                </c:pt>
                <c:pt idx="2">
                  <c:v>182.2593407944991</c:v>
                </c:pt>
                <c:pt idx="3">
                  <c:v>177.77825951270862</c:v>
                </c:pt>
                <c:pt idx="4">
                  <c:v>173.02528096972148</c:v>
                </c:pt>
                <c:pt idx="5">
                  <c:v>164.2477872827246</c:v>
                </c:pt>
                <c:pt idx="6">
                  <c:v>156.3295703905735</c:v>
                </c:pt>
                <c:pt idx="7">
                  <c:v>149.19059949655949</c:v>
                </c:pt>
                <c:pt idx="8">
                  <c:v>142.7512831549002</c:v>
                </c:pt>
                <c:pt idx="9">
                  <c:v>136.93523072425538</c:v>
                </c:pt>
                <c:pt idx="10">
                  <c:v>131.67109449932738</c:v>
                </c:pt>
                <c:pt idx="11">
                  <c:v>126.89363017604789</c:v>
                </c:pt>
                <c:pt idx="12">
                  <c:v>122.54414431333225</c:v>
                </c:pt>
                <c:pt idx="13">
                  <c:v>118.57049833543753</c:v>
                </c:pt>
                <c:pt idx="14">
                  <c:v>114.83180002635582</c:v>
                </c:pt>
                <c:pt idx="15">
                  <c:v>110.59897121608266</c:v>
                </c:pt>
                <c:pt idx="16">
                  <c:v>106.7428215543455</c:v>
                </c:pt>
                <c:pt idx="17">
                  <c:v>103.22211708357953</c:v>
                </c:pt>
                <c:pt idx="18">
                  <c:v>100.0</c:v>
                </c:pt>
                <c:pt idx="19">
                  <c:v>97.0437038388872</c:v>
                </c:pt>
                <c:pt idx="20">
                  <c:v>94.3242080890705</c:v>
                </c:pt>
                <c:pt idx="21">
                  <c:v>91.815871972381</c:v>
                </c:pt>
                <c:pt idx="22">
                  <c:v>89.49607256402012</c:v>
                </c:pt>
                <c:pt idx="23">
                  <c:v>87.3448621039024</c:v>
                </c:pt>
                <c:pt idx="24">
                  <c:v>84.93017692777917</c:v>
                </c:pt>
                <c:pt idx="25">
                  <c:v>79.18714696041378</c:v>
                </c:pt>
                <c:pt idx="26">
                  <c:v>74.00807605590535</c:v>
                </c:pt>
                <c:pt idx="27">
                  <c:v>69.32743224222837</c:v>
                </c:pt>
                <c:pt idx="28">
                  <c:v>65.08872846927738</c:v>
                </c:pt>
                <c:pt idx="29">
                  <c:v>61.242970661603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05.27356431192116</c:v>
                </c:pt>
                <c:pt idx="1">
                  <c:v>108.60723405038628</c:v>
                </c:pt>
                <c:pt idx="2">
                  <c:v>111.58328131745292</c:v>
                </c:pt>
                <c:pt idx="3">
                  <c:v>114.24144217045607</c:v>
                </c:pt>
                <c:pt idx="4">
                  <c:v>116.27061910966682</c:v>
                </c:pt>
                <c:pt idx="5">
                  <c:v>115.03926039021175</c:v>
                </c:pt>
                <c:pt idx="6">
                  <c:v>113.79232432264669</c:v>
                </c:pt>
                <c:pt idx="7">
                  <c:v>112.56852202501038</c:v>
                </c:pt>
                <c:pt idx="8">
                  <c:v>111.39248163649586</c:v>
                </c:pt>
                <c:pt idx="9">
                  <c:v>110.27812554681793</c:v>
                </c:pt>
                <c:pt idx="10">
                  <c:v>109.23158629438791</c:v>
                </c:pt>
                <c:pt idx="11">
                  <c:v>108.25359420445415</c:v>
                </c:pt>
                <c:pt idx="12">
                  <c:v>107.34134424750454</c:v>
                </c:pt>
                <c:pt idx="13">
                  <c:v>106.48989690475035</c:v>
                </c:pt>
                <c:pt idx="14">
                  <c:v>105.6058263220315</c:v>
                </c:pt>
                <c:pt idx="15">
                  <c:v>104.02861707153794</c:v>
                </c:pt>
                <c:pt idx="16">
                  <c:v>102.57413313672139</c:v>
                </c:pt>
                <c:pt idx="17">
                  <c:v>101.23417735163036</c:v>
                </c:pt>
                <c:pt idx="18">
                  <c:v>100.0</c:v>
                </c:pt>
                <c:pt idx="19">
                  <c:v>98.8627491851622</c:v>
                </c:pt>
                <c:pt idx="20">
                  <c:v>97.81376846468348</c:v>
                </c:pt>
                <c:pt idx="21">
                  <c:v>96.84478430859419</c:v>
                </c:pt>
                <c:pt idx="22">
                  <c:v>95.94801578918923</c:v>
                </c:pt>
                <c:pt idx="23">
                  <c:v>95.1162305236208</c:v>
                </c:pt>
                <c:pt idx="24">
                  <c:v>93.88419957922635</c:v>
                </c:pt>
                <c:pt idx="25">
                  <c:v>88.80315493934621</c:v>
                </c:pt>
                <c:pt idx="26">
                  <c:v>84.15065348435861</c:v>
                </c:pt>
                <c:pt idx="27">
                  <c:v>79.88471305954627</c:v>
                </c:pt>
                <c:pt idx="28">
                  <c:v>75.96839802284622</c:v>
                </c:pt>
                <c:pt idx="29">
                  <c:v>72.368969672001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290818723609503</c:v>
                </c:pt>
                <c:pt idx="1">
                  <c:v>0.24260675179321425</c:v>
                </c:pt>
                <c:pt idx="2">
                  <c:v>0.2556652560726417</c:v>
                </c:pt>
                <c:pt idx="3">
                  <c:v>0.26828109919005455</c:v>
                </c:pt>
                <c:pt idx="4">
                  <c:v>0.2804764142035536</c:v>
                </c:pt>
                <c:pt idx="5">
                  <c:v>0.29227188282316746</c:v>
                </c:pt>
                <c:pt idx="6">
                  <c:v>0.30368685245505195</c:v>
                </c:pt>
                <c:pt idx="7">
                  <c:v>0.3147394420986224</c:v>
                </c:pt>
                <c:pt idx="8">
                  <c:v>0.3254466383158316</c:v>
                </c:pt>
                <c:pt idx="9">
                  <c:v>0.33582438234174183</c:v>
                </c:pt>
                <c:pt idx="10">
                  <c:v>0.3458876492759579</c:v>
                </c:pt>
                <c:pt idx="11">
                  <c:v>0.355650520182287</c:v>
                </c:pt>
                <c:pt idx="12">
                  <c:v>0.3651262478266651</c:v>
                </c:pt>
                <c:pt idx="13">
                  <c:v>0.3743273166987422</c:v>
                </c:pt>
                <c:pt idx="14">
                  <c:v>0.3832654978887603</c:v>
                </c:pt>
                <c:pt idx="15">
                  <c:v>0.3919518993269466</c:v>
                </c:pt>
                <c:pt idx="16">
                  <c:v>0.4003970118362948</c:v>
                </c:pt>
                <c:pt idx="17">
                  <c:v>0.40861075140018116</c:v>
                </c:pt>
                <c:pt idx="18">
                  <c:v>0.4166024980028814</c:v>
                </c:pt>
                <c:pt idx="19">
                  <c:v>0.42438113136284294</c:v>
                </c:pt>
                <c:pt idx="20">
                  <c:v>0.4319550638449107</c:v>
                </c:pt>
                <c:pt idx="21">
                  <c:v>0.43933227080796383</c:v>
                </c:pt>
                <c:pt idx="22">
                  <c:v>0.44652031861811814</c:v>
                </c:pt>
                <c:pt idx="23">
                  <c:v>0.4535263905343445</c:v>
                </c:pt>
                <c:pt idx="24">
                  <c:v>0.4603573106526652</c:v>
                </c:pt>
                <c:pt idx="25">
                  <c:v>0.46701956607670647</c:v>
                </c:pt>
                <c:pt idx="26">
                  <c:v>0.473519327466015</c:v>
                </c:pt>
                <c:pt idx="27">
                  <c:v>0.47986246809895444</c:v>
                </c:pt>
                <c:pt idx="28">
                  <c:v>0.4860545815739668</c:v>
                </c:pt>
                <c:pt idx="29">
                  <c:v>0.4921009982613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75.20865188329867</c:v>
                </c:pt>
                <c:pt idx="1">
                  <c:v>262.53900126166474</c:v>
                </c:pt>
                <c:pt idx="2">
                  <c:v>250.75326033075282</c:v>
                </c:pt>
                <c:pt idx="3">
                  <c:v>239.78224926290542</c:v>
                </c:pt>
                <c:pt idx="4">
                  <c:v>228.76774347709414</c:v>
                </c:pt>
                <c:pt idx="5">
                  <c:v>212.02414844078908</c:v>
                </c:pt>
                <c:pt idx="6">
                  <c:v>197.14960786615103</c:v>
                </c:pt>
                <c:pt idx="7">
                  <c:v>183.94825541627975</c:v>
                </c:pt>
                <c:pt idx="8">
                  <c:v>172.22522471138288</c:v>
                </c:pt>
                <c:pt idx="9">
                  <c:v>161.79549362427178</c:v>
                </c:pt>
                <c:pt idx="10">
                  <c:v>152.48958510250142</c:v>
                </c:pt>
                <c:pt idx="11">
                  <c:v>144.15635108176022</c:v>
                </c:pt>
                <c:pt idx="12">
                  <c:v>136.66355499950575</c:v>
                </c:pt>
                <c:pt idx="13">
                  <c:v>129.8970367764036</c:v>
                </c:pt>
                <c:pt idx="14">
                  <c:v>123.61932979662255</c:v>
                </c:pt>
                <c:pt idx="15">
                  <c:v>116.75767994600864</c:v>
                </c:pt>
                <c:pt idx="16">
                  <c:v>110.5881191525045</c:v>
                </c:pt>
                <c:pt idx="17">
                  <c:v>105.02690636894441</c:v>
                </c:pt>
                <c:pt idx="18">
                  <c:v>100.0</c:v>
                </c:pt>
                <c:pt idx="19">
                  <c:v>95.44234502425778</c:v>
                </c:pt>
                <c:pt idx="20">
                  <c:v>91.29705385537703</c:v>
                </c:pt>
                <c:pt idx="21">
                  <c:v>87.51455214862776</c:v>
                </c:pt>
                <c:pt idx="22">
                  <c:v>84.05173823879211</c:v>
                </c:pt>
                <c:pt idx="23">
                  <c:v>80.8711876844153</c:v>
                </c:pt>
                <c:pt idx="24">
                  <c:v>77.54711143598252</c:v>
                </c:pt>
                <c:pt idx="25">
                  <c:v>71.22899640375782</c:v>
                </c:pt>
                <c:pt idx="26">
                  <c:v>65.63439278050565</c:v>
                </c:pt>
                <c:pt idx="27">
                  <c:v>60.66318070313906</c:v>
                </c:pt>
                <c:pt idx="28">
                  <c:v>56.23048699098333</c:v>
                </c:pt>
                <c:pt idx="29">
                  <c:v>52.2643025473739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208.62188269411703</c:v>
                </c:pt>
                <c:pt idx="1">
                  <c:v>202.53100488335863</c:v>
                </c:pt>
                <c:pt idx="2">
                  <c:v>196.79627777712412</c:v>
                </c:pt>
                <c:pt idx="3">
                  <c:v>191.39765037750792</c:v>
                </c:pt>
                <c:pt idx="4">
                  <c:v>185.6715191123896</c:v>
                </c:pt>
                <c:pt idx="5">
                  <c:v>174.92920664194966</c:v>
                </c:pt>
                <c:pt idx="6">
                  <c:v>165.30588541888625</c:v>
                </c:pt>
                <c:pt idx="7">
                  <c:v>156.70942125016623</c:v>
                </c:pt>
                <c:pt idx="8">
                  <c:v>149.03820339776613</c:v>
                </c:pt>
                <c:pt idx="9">
                  <c:v>142.18893647248186</c:v>
                </c:pt>
                <c:pt idx="10">
                  <c:v>136.06234877445803</c:v>
                </c:pt>
                <c:pt idx="11">
                  <c:v>130.56672752763944</c:v>
                </c:pt>
                <c:pt idx="12">
                  <c:v>125.61966345763614</c:v>
                </c:pt>
                <c:pt idx="13">
                  <c:v>121.14852706492127</c:v>
                </c:pt>
                <c:pt idx="14">
                  <c:v>116.9579313528472</c:v>
                </c:pt>
                <c:pt idx="15">
                  <c:v>112.03846962884145</c:v>
                </c:pt>
                <c:pt idx="16">
                  <c:v>107.60796306554772</c:v>
                </c:pt>
                <c:pt idx="17">
                  <c:v>103.61165297262147</c:v>
                </c:pt>
                <c:pt idx="18">
                  <c:v>100.0</c:v>
                </c:pt>
                <c:pt idx="19">
                  <c:v>96.7286062901971</c:v>
                </c:pt>
                <c:pt idx="20">
                  <c:v>93.757973127779</c:v>
                </c:pt>
                <c:pt idx="21">
                  <c:v>91.05315761239292</c:v>
                </c:pt>
                <c:pt idx="22">
                  <c:v>88.58337593266931</c:v>
                </c:pt>
                <c:pt idx="23">
                  <c:v>86.32158779087752</c:v>
                </c:pt>
                <c:pt idx="24">
                  <c:v>83.81932996923351</c:v>
                </c:pt>
                <c:pt idx="25">
                  <c:v>77.9538399874399</c:v>
                </c:pt>
                <c:pt idx="26">
                  <c:v>72.71897116184033</c:v>
                </c:pt>
                <c:pt idx="27">
                  <c:v>68.0318128182278</c:v>
                </c:pt>
                <c:pt idx="28">
                  <c:v>63.821341445736834</c:v>
                </c:pt>
                <c:pt idx="29">
                  <c:v>60.0267148854211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28.9863254884306</c:v>
                </c:pt>
                <c:pt idx="1">
                  <c:v>130.7977295615339</c:v>
                </c:pt>
                <c:pt idx="2">
                  <c:v>132.32763889528007</c:v>
                </c:pt>
                <c:pt idx="3">
                  <c:v>133.6157761903101</c:v>
                </c:pt>
                <c:pt idx="4">
                  <c:v>134.2307197861993</c:v>
                </c:pt>
                <c:pt idx="5">
                  <c:v>130.66474019994544</c:v>
                </c:pt>
                <c:pt idx="6">
                  <c:v>127.31732095038248</c:v>
                </c:pt>
                <c:pt idx="7">
                  <c:v>124.22170122810883</c:v>
                </c:pt>
                <c:pt idx="8">
                  <c:v>121.38869910547807</c:v>
                </c:pt>
                <c:pt idx="9">
                  <c:v>118.81335386222098</c:v>
                </c:pt>
                <c:pt idx="10">
                  <c:v>116.48073350395975</c:v>
                </c:pt>
                <c:pt idx="11">
                  <c:v>114.37043771330957</c:v>
                </c:pt>
                <c:pt idx="12">
                  <c:v>112.45978232415328</c:v>
                </c:pt>
                <c:pt idx="13">
                  <c:v>110.72587863948998</c:v>
                </c:pt>
                <c:pt idx="14">
                  <c:v>109.02361134684917</c:v>
                </c:pt>
                <c:pt idx="15">
                  <c:v>106.41850669852143</c:v>
                </c:pt>
                <c:pt idx="16">
                  <c:v>104.05955661420461</c:v>
                </c:pt>
                <c:pt idx="17">
                  <c:v>101.9267780202189</c:v>
                </c:pt>
                <c:pt idx="18">
                  <c:v>100.0</c:v>
                </c:pt>
                <c:pt idx="19">
                  <c:v>98.2595613901207</c:v>
                </c:pt>
                <c:pt idx="20">
                  <c:v>96.68676958818027</c:v>
                </c:pt>
                <c:pt idx="21">
                  <c:v>95.2641761284749</c:v>
                </c:pt>
                <c:pt idx="22">
                  <c:v>93.9757162167166</c:v>
                </c:pt>
                <c:pt idx="23">
                  <c:v>92.80675116063755</c:v>
                </c:pt>
                <c:pt idx="24">
                  <c:v>91.28107772153346</c:v>
                </c:pt>
                <c:pt idx="25">
                  <c:v>85.94649376189159</c:v>
                </c:pt>
                <c:pt idx="26">
                  <c:v>81.13328149349529</c:v>
                </c:pt>
                <c:pt idx="27">
                  <c:v>76.77879216416007</c:v>
                </c:pt>
                <c:pt idx="28">
                  <c:v>72.82830299929476</c:v>
                </c:pt>
                <c:pt idx="29">
                  <c:v>69.234111209807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8354008144834225</c:v>
                </c:pt>
                <c:pt idx="1">
                  <c:v>0.2961095537036347</c:v>
                </c:pt>
                <c:pt idx="2">
                  <c:v>0.3082455958811582</c:v>
                </c:pt>
                <c:pt idx="3">
                  <c:v>0.3199702467984265</c:v>
                </c:pt>
                <c:pt idx="4">
                  <c:v>0.33130407601845274</c:v>
                </c:pt>
                <c:pt idx="5">
                  <c:v>0.34226630428044524</c:v>
                </c:pt>
                <c:pt idx="6">
                  <c:v>0.3528749122759221</c:v>
                </c:pt>
                <c:pt idx="7">
                  <c:v>0.3631467390651932</c:v>
                </c:pt>
                <c:pt idx="8">
                  <c:v>0.3730975712672995</c:v>
                </c:pt>
                <c:pt idx="9">
                  <c:v>0.38274222401703334</c:v>
                </c:pt>
                <c:pt idx="10">
                  <c:v>0.39209461456222994</c:v>
                </c:pt>
                <c:pt idx="11">
                  <c:v>0.40116782927025624</c:v>
                </c:pt>
                <c:pt idx="12">
                  <c:v>0.40997418472216424</c:v>
                </c:pt>
                <c:pt idx="13">
                  <c:v>0.41852528349430673</c:v>
                </c:pt>
                <c:pt idx="14">
                  <c:v>0.426832065158674</c:v>
                </c:pt>
                <c:pt idx="15">
                  <c:v>0.43490485297334025</c:v>
                </c:pt>
                <c:pt idx="16">
                  <c:v>0.44275339668204405</c:v>
                </c:pt>
                <c:pt idx="17">
                  <c:v>0.45038691179598855</c:v>
                </c:pt>
                <c:pt idx="18">
                  <c:v>0.45781411569063735</c:v>
                </c:pt>
                <c:pt idx="19">
                  <c:v>0.4650432608147621</c:v>
                </c:pt>
                <c:pt idx="20">
                  <c:v>0.47208216527772595</c:v>
                </c:pt>
                <c:pt idx="21">
                  <c:v>0.4789382410533399</c:v>
                </c:pt>
                <c:pt idx="22">
                  <c:v>0.4856185200141945</c:v>
                </c:pt>
                <c:pt idx="23">
                  <c:v>0.4921296779886983</c:v>
                </c:pt>
                <c:pt idx="24">
                  <c:v>0.4984780570138396</c:v>
                </c:pt>
                <c:pt idx="25">
                  <c:v>0.5046696859395946</c:v>
                </c:pt>
                <c:pt idx="26">
                  <c:v>0.5107102995256971</c:v>
                </c:pt>
                <c:pt idx="27">
                  <c:v>0.5166053561579176</c:v>
                </c:pt>
                <c:pt idx="28">
                  <c:v>0.5223600542988948</c:v>
                </c:pt>
                <c:pt idx="29">
                  <c:v>0.52797934777773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B$2:$B$23</c:f>
              <c:numCache>
                <c:formatCode>General</c:formatCode>
                <c:ptCount val="22"/>
                <c:pt idx="0">
                  <c:v>163.61925026055602</c:v>
                </c:pt>
                <c:pt idx="1">
                  <c:v>160.93890674036822</c:v>
                </c:pt>
                <c:pt idx="2">
                  <c:v>153.72702736032326</c:v>
                </c:pt>
                <c:pt idx="3">
                  <c:v>146.3617326812435</c:v>
                </c:pt>
                <c:pt idx="4">
                  <c:v>139.36047905425858</c:v>
                </c:pt>
                <c:pt idx="5">
                  <c:v>132.7167149398716</c:v>
                </c:pt>
                <c:pt idx="6">
                  <c:v>126.42488661055282</c:v>
                </c:pt>
                <c:pt idx="7">
                  <c:v>120.47940885541249</c:v>
                </c:pt>
                <c:pt idx="8">
                  <c:v>114.8736732333941</c:v>
                </c:pt>
                <c:pt idx="9">
                  <c:v>109.59928843433372</c:v>
                </c:pt>
                <c:pt idx="10">
                  <c:v>104.64566906736839</c:v>
                </c:pt>
                <c:pt idx="11">
                  <c:v>100.0</c:v>
                </c:pt>
                <c:pt idx="12">
                  <c:v>93.22361122436234</c:v>
                </c:pt>
                <c:pt idx="13">
                  <c:v>86.74621404923126</c:v>
                </c:pt>
                <c:pt idx="14">
                  <c:v>80.83025271853262</c:v>
                </c:pt>
                <c:pt idx="15">
                  <c:v>75.44228976470627</c:v>
                </c:pt>
                <c:pt idx="16">
                  <c:v>70.54175215506592</c:v>
                </c:pt>
                <c:pt idx="17">
                  <c:v>66.08501228709494</c:v>
                </c:pt>
                <c:pt idx="18">
                  <c:v>62.028634207154035</c:v>
                </c:pt>
                <c:pt idx="19">
                  <c:v>58.331542089643484</c:v>
                </c:pt>
                <c:pt idx="20">
                  <c:v>54.95618962740208</c:v>
                </c:pt>
                <c:pt idx="21">
                  <c:v>51.86897044841510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C$2:$C$23</c:f>
              <c:numCache>
                <c:formatCode>General</c:formatCode>
                <c:ptCount val="22"/>
                <c:pt idx="0">
                  <c:v>134.6578391824118</c:v>
                </c:pt>
                <c:pt idx="1">
                  <c:v>135.01939374891424</c:v>
                </c:pt>
                <c:pt idx="2">
                  <c:v>131.4199778613705</c:v>
                </c:pt>
                <c:pt idx="3">
                  <c:v>127.4626797078675</c:v>
                </c:pt>
                <c:pt idx="4">
                  <c:v>123.59842592015711</c:v>
                </c:pt>
                <c:pt idx="5">
                  <c:v>119.8377291864801</c:v>
                </c:pt>
                <c:pt idx="6">
                  <c:v>116.19166893837227</c:v>
                </c:pt>
                <c:pt idx="7">
                  <c:v>112.67102236368451</c:v>
                </c:pt>
                <c:pt idx="8">
                  <c:v>109.28533400565463</c:v>
                </c:pt>
                <c:pt idx="9">
                  <c:v>106.04211188520812</c:v>
                </c:pt>
                <c:pt idx="10">
                  <c:v>102.94628690533945</c:v>
                </c:pt>
                <c:pt idx="11">
                  <c:v>100.0</c:v>
                </c:pt>
                <c:pt idx="12">
                  <c:v>94.75031178489436</c:v>
                </c:pt>
                <c:pt idx="13">
                  <c:v>89.59082101778175</c:v>
                </c:pt>
                <c:pt idx="14">
                  <c:v>84.80943642128086</c:v>
                </c:pt>
                <c:pt idx="15">
                  <c:v>80.39753431224754</c:v>
                </c:pt>
                <c:pt idx="16">
                  <c:v>76.33679039648865</c:v>
                </c:pt>
                <c:pt idx="17">
                  <c:v>72.60301119770463</c:v>
                </c:pt>
                <c:pt idx="18">
                  <c:v>69.16945161765616</c:v>
                </c:pt>
                <c:pt idx="19">
                  <c:v>66.00924750131871</c:v>
                </c:pt>
                <c:pt idx="20">
                  <c:v>63.09692725283117</c:v>
                </c:pt>
                <c:pt idx="21">
                  <c:v>60.409164178552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D$2:$D$23</c:f>
              <c:numCache>
                <c:formatCode>General</c:formatCode>
                <c:ptCount val="22"/>
                <c:pt idx="0">
                  <c:v>92.44617015810415</c:v>
                </c:pt>
                <c:pt idx="1">
                  <c:v>97.2960414085219</c:v>
                </c:pt>
                <c:pt idx="2">
                  <c:v>99.01517533844245</c:v>
                </c:pt>
                <c:pt idx="3">
                  <c:v>100.05904438079347</c:v>
                </c:pt>
                <c:pt idx="4">
                  <c:v>100.78366586179672</c:v>
                </c:pt>
                <c:pt idx="5">
                  <c:v>101.22723043692505</c:v>
                </c:pt>
                <c:pt idx="6">
                  <c:v>101.42769296697509</c:v>
                </c:pt>
                <c:pt idx="7">
                  <c:v>101.4221033266377</c:v>
                </c:pt>
                <c:pt idx="8">
                  <c:v>101.24572608778277</c:v>
                </c:pt>
                <c:pt idx="9">
                  <c:v>100.93113864312744</c:v>
                </c:pt>
                <c:pt idx="10">
                  <c:v>100.50748374046069</c:v>
                </c:pt>
                <c:pt idx="11">
                  <c:v>100.0</c:v>
                </c:pt>
                <c:pt idx="12">
                  <c:v>96.91011429255566</c:v>
                </c:pt>
                <c:pt idx="13">
                  <c:v>93.6069262668046</c:v>
                </c:pt>
                <c:pt idx="14">
                  <c:v>90.4194856629385</c:v>
                </c:pt>
                <c:pt idx="15">
                  <c:v>87.37567140639224</c:v>
                </c:pt>
                <c:pt idx="16">
                  <c:v>84.48952688401916</c:v>
                </c:pt>
                <c:pt idx="17">
                  <c:v>81.76489836048295</c:v>
                </c:pt>
                <c:pt idx="18">
                  <c:v>79.19897583220899</c:v>
                </c:pt>
                <c:pt idx="19">
                  <c:v>76.78518541554998</c:v>
                </c:pt>
                <c:pt idx="20">
                  <c:v>74.5152415794915</c:v>
                </c:pt>
                <c:pt idx="21">
                  <c:v>72.38041772993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E$2:$E$23</c:f>
              <c:numCache>
                <c:formatCode>General</c:formatCode>
                <c:ptCount val="22"/>
                <c:pt idx="0">
                  <c:v>0.29278311448980787</c:v>
                </c:pt>
                <c:pt idx="1">
                  <c:v>0.306984256769129</c:v>
                </c:pt>
                <c:pt idx="2">
                  <c:v>0.32062629895871314</c:v>
                </c:pt>
                <c:pt idx="3">
                  <c:v>0.33374162137263746</c:v>
                </c:pt>
                <c:pt idx="4">
                  <c:v>0.34636015127088327</c:v>
                </c:pt>
                <c:pt idx="5">
                  <c:v>0.35850959083833867</c:v>
                </c:pt>
                <c:pt idx="6">
                  <c:v>0.3702156202026027</c:v>
                </c:pt>
                <c:pt idx="7">
                  <c:v>0.3815020786219108</c:v>
                </c:pt>
                <c:pt idx="8">
                  <c:v>0.39239112653349706</c:v>
                </c:pt>
                <c:pt idx="9">
                  <c:v>0.40290339078032233</c:v>
                </c:pt>
                <c:pt idx="10">
                  <c:v>0.41305809501875207</c:v>
                </c:pt>
                <c:pt idx="11">
                  <c:v>0.4228731770418499</c:v>
                </c:pt>
                <c:pt idx="12">
                  <c:v>0.43236539452471423</c:v>
                </c:pt>
                <c:pt idx="13">
                  <c:v>0.4415504205032788</c:v>
                </c:pt>
                <c:pt idx="14">
                  <c:v>0.4504429297309336</c:v>
                </c:pt>
                <c:pt idx="15">
                  <c:v>0.45905667691383434</c:v>
                </c:pt>
                <c:pt idx="16">
                  <c:v>0.46740456770220107</c:v>
                </c:pt>
                <c:pt idx="17">
                  <c:v>0.4754987232082466</c:v>
                </c:pt>
                <c:pt idx="18">
                  <c:v>0.4833505387290813</c:v>
                </c:pt>
                <c:pt idx="19">
                  <c:v>0.4909707372729001</c:v>
                </c:pt>
                <c:pt idx="20">
                  <c:v>0.49836941841718924</c:v>
                </c:pt>
                <c:pt idx="21">
                  <c:v>0.5055561029670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B$2:$B$53</c:f>
              <c:numCache>
                <c:formatCode>General</c:formatCode>
                <c:ptCount val="52"/>
                <c:pt idx="0">
                  <c:v>141.00964561676287</c:v>
                </c:pt>
                <c:pt idx="1">
                  <c:v>134.4590234066431</c:v>
                </c:pt>
                <c:pt idx="2">
                  <c:v>128.4067995693271</c:v>
                </c:pt>
                <c:pt idx="3">
                  <c:v>122.80696845683808</c:v>
                </c:pt>
                <c:pt idx="4">
                  <c:v>119.86513206566671</c:v>
                </c:pt>
                <c:pt idx="5">
                  <c:v>117.2951648936751</c:v>
                </c:pt>
                <c:pt idx="6">
                  <c:v>114.82736570344689</c:v>
                </c:pt>
                <c:pt idx="7">
                  <c:v>112.45631670242827</c:v>
                </c:pt>
                <c:pt idx="8">
                  <c:v>110.17695384411404</c:v>
                </c:pt>
                <c:pt idx="9">
                  <c:v>107.98454251884905</c:v>
                </c:pt>
                <c:pt idx="10">
                  <c:v>105.8746545622412</c:v>
                </c:pt>
                <c:pt idx="11">
                  <c:v>103.84314658511111</c:v>
                </c:pt>
                <c:pt idx="12">
                  <c:v>101.88613961178639</c:v>
                </c:pt>
                <c:pt idx="13">
                  <c:v>100.0</c:v>
                </c:pt>
                <c:pt idx="14">
                  <c:v>97.37217118318974</c:v>
                </c:pt>
                <c:pt idx="15">
                  <c:v>94.78601299110511</c:v>
                </c:pt>
                <c:pt idx="16">
                  <c:v>92.3282255350478</c:v>
                </c:pt>
                <c:pt idx="17">
                  <c:v>89.99241365702247</c:v>
                </c:pt>
                <c:pt idx="18">
                  <c:v>87.77253556409738</c:v>
                </c:pt>
                <c:pt idx="19">
                  <c:v>85.66280149419285</c:v>
                </c:pt>
                <c:pt idx="20">
                  <c:v>83.65760801760193</c:v>
                </c:pt>
                <c:pt idx="21">
                  <c:v>81.75150235233023</c:v>
                </c:pt>
                <c:pt idx="22">
                  <c:v>79.93916971808471</c:v>
                </c:pt>
                <c:pt idx="23">
                  <c:v>78.21543661353265</c:v>
                </c:pt>
                <c:pt idx="24">
                  <c:v>77.3136216183424</c:v>
                </c:pt>
                <c:pt idx="25">
                  <c:v>76.51465949421647</c:v>
                </c:pt>
                <c:pt idx="26">
                  <c:v>75.73278862618609</c:v>
                </c:pt>
                <c:pt idx="27">
                  <c:v>74.96748955742778</c:v>
                </c:pt>
                <c:pt idx="28">
                  <c:v>74.21825725634011</c:v>
                </c:pt>
                <c:pt idx="29">
                  <c:v>73.48460101463688</c:v>
                </c:pt>
                <c:pt idx="30">
                  <c:v>72.76604435140229</c:v>
                </c:pt>
                <c:pt idx="31">
                  <c:v>72.06212491207103</c:v>
                </c:pt>
                <c:pt idx="32">
                  <c:v>71.13250226654642</c:v>
                </c:pt>
                <c:pt idx="33">
                  <c:v>70.1691318088798</c:v>
                </c:pt>
                <c:pt idx="34">
                  <c:v>69.23229105842323</c:v>
                </c:pt>
                <c:pt idx="35">
                  <c:v>68.32090501236492</c:v>
                </c:pt>
                <c:pt idx="36">
                  <c:v>67.4339514249576</c:v>
                </c:pt>
                <c:pt idx="37">
                  <c:v>66.5704581444837</c:v>
                </c:pt>
                <c:pt idx="38">
                  <c:v>65.72950054828837</c:v>
                </c:pt>
                <c:pt idx="39">
                  <c:v>64.9101990787153</c:v>
                </c:pt>
                <c:pt idx="40">
                  <c:v>64.11171688167161</c:v>
                </c:pt>
                <c:pt idx="41">
                  <c:v>63.333257548566046</c:v>
                </c:pt>
                <c:pt idx="42">
                  <c:v>62.57406296148863</c:v>
                </c:pt>
                <c:pt idx="43">
                  <c:v>61.83341124073798</c:v>
                </c:pt>
                <c:pt idx="44">
                  <c:v>61.1106147931476</c:v>
                </c:pt>
                <c:pt idx="45">
                  <c:v>60.40501845911981</c:v>
                </c:pt>
                <c:pt idx="46">
                  <c:v>59.71599775581334</c:v>
                </c:pt>
                <c:pt idx="47">
                  <c:v>59.04295721357611</c:v>
                </c:pt>
                <c:pt idx="48">
                  <c:v>58.38532880242766</c:v>
                </c:pt>
                <c:pt idx="49">
                  <c:v>57.742570445184626</c:v>
                </c:pt>
                <c:pt idx="50">
                  <c:v>57.114164613676046</c:v>
                </c:pt>
                <c:pt idx="51">
                  <c:v>56.4996170044059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C$2:$C$53</c:f>
              <c:numCache>
                <c:formatCode>General</c:formatCode>
                <c:ptCount val="52"/>
                <c:pt idx="0">
                  <c:v>123.09487307312605</c:v>
                </c:pt>
                <c:pt idx="1">
                  <c:v>118.6699796563436</c:v>
                </c:pt>
                <c:pt idx="2">
                  <c:v>114.56662696427897</c:v>
                </c:pt>
                <c:pt idx="3">
                  <c:v>110.75708467244401</c:v>
                </c:pt>
                <c:pt idx="4">
                  <c:v>109.2766858554793</c:v>
                </c:pt>
                <c:pt idx="5">
                  <c:v>108.08329576359255</c:v>
                </c:pt>
                <c:pt idx="6">
                  <c:v>106.93514746808117</c:v>
                </c:pt>
                <c:pt idx="7">
                  <c:v>105.83009377198532</c:v>
                </c:pt>
                <c:pt idx="8">
                  <c:v>104.76611702744106</c:v>
                </c:pt>
                <c:pt idx="9">
                  <c:v>103.74132251639485</c:v>
                </c:pt>
                <c:pt idx="10">
                  <c:v>102.75393174388927</c:v>
                </c:pt>
                <c:pt idx="11">
                  <c:v>101.80227573222172</c:v>
                </c:pt>
                <c:pt idx="12">
                  <c:v>100.8847883880087</c:v>
                </c:pt>
                <c:pt idx="13">
                  <c:v>100.0</c:v>
                </c:pt>
                <c:pt idx="14">
                  <c:v>98.32329779335038</c:v>
                </c:pt>
                <c:pt idx="15">
                  <c:v>96.63786895716832</c:v>
                </c:pt>
                <c:pt idx="16">
                  <c:v>95.03479418152573</c:v>
                </c:pt>
                <c:pt idx="17">
                  <c:v>93.51109236224362</c:v>
                </c:pt>
                <c:pt idx="18">
                  <c:v>92.06391530701524</c:v>
                </c:pt>
                <c:pt idx="19">
                  <c:v>90.69045577466383</c:v>
                </c:pt>
                <c:pt idx="20">
                  <c:v>89.38788809421078</c:v>
                </c:pt>
                <c:pt idx="21">
                  <c:v>88.15333763434629</c:v>
                </c:pt>
                <c:pt idx="22">
                  <c:v>86.9838734959805</c:v>
                </c:pt>
                <c:pt idx="23">
                  <c:v>85.87651811933095</c:v>
                </c:pt>
                <c:pt idx="24">
                  <c:v>85.64875549329646</c:v>
                </c:pt>
                <c:pt idx="25">
                  <c:v>85.51849637219038</c:v>
                </c:pt>
                <c:pt idx="26">
                  <c:v>85.3917760514256</c:v>
                </c:pt>
                <c:pt idx="27">
                  <c:v>85.26850721551328</c:v>
                </c:pt>
                <c:pt idx="28">
                  <c:v>85.14859872705797</c:v>
                </c:pt>
                <c:pt idx="29">
                  <c:v>85.03195621580767</c:v>
                </c:pt>
                <c:pt idx="30">
                  <c:v>84.91848266879025</c:v>
                </c:pt>
                <c:pt idx="31">
                  <c:v>84.80807900889317</c:v>
                </c:pt>
                <c:pt idx="32">
                  <c:v>84.41481763639622</c:v>
                </c:pt>
                <c:pt idx="33">
                  <c:v>83.96267980135198</c:v>
                </c:pt>
                <c:pt idx="34">
                  <c:v>83.523676509217</c:v>
                </c:pt>
                <c:pt idx="35">
                  <c:v>83.09727517732814</c:v>
                </c:pt>
                <c:pt idx="36">
                  <c:v>82.68296628687503</c:v>
                </c:pt>
                <c:pt idx="37">
                  <c:v>82.28026262924078</c:v>
                </c:pt>
                <c:pt idx="38">
                  <c:v>81.88869852207726</c:v>
                </c:pt>
                <c:pt idx="39">
                  <c:v>81.50782900506367</c:v>
                </c:pt>
                <c:pt idx="40">
                  <c:v>81.13722902414318</c:v>
                </c:pt>
                <c:pt idx="41">
                  <c:v>80.77649261193619</c:v>
                </c:pt>
                <c:pt idx="42">
                  <c:v>80.42523207097844</c:v>
                </c:pt>
                <c:pt idx="43">
                  <c:v>80.08307716545916</c:v>
                </c:pt>
                <c:pt idx="44">
                  <c:v>79.74967432622769</c:v>
                </c:pt>
                <c:pt idx="45">
                  <c:v>79.42468587301707</c:v>
                </c:pt>
                <c:pt idx="46">
                  <c:v>79.10778925708021</c:v>
                </c:pt>
                <c:pt idx="47">
                  <c:v>78.79867632676931</c:v>
                </c:pt>
                <c:pt idx="48">
                  <c:v>78.49705261799788</c:v>
                </c:pt>
                <c:pt idx="49">
                  <c:v>78.20263667099637</c:v>
                </c:pt>
                <c:pt idx="50">
                  <c:v>77.91515937432257</c:v>
                </c:pt>
                <c:pt idx="51">
                  <c:v>77.634363336697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D$2:$D$53</c:f>
              <c:numCache>
                <c:formatCode>General</c:formatCode>
                <c:ptCount val="52"/>
                <c:pt idx="0">
                  <c:v>95.0896708417649</c:v>
                </c:pt>
                <c:pt idx="1">
                  <c:v>94.04047929642975</c:v>
                </c:pt>
                <c:pt idx="2">
                  <c:v>93.02416441745842</c:v>
                </c:pt>
                <c:pt idx="3">
                  <c:v>92.04369980532552</c:v>
                </c:pt>
                <c:pt idx="4">
                  <c:v>92.84142994665369</c:v>
                </c:pt>
                <c:pt idx="5">
                  <c:v>93.78911982480236</c:v>
                </c:pt>
                <c:pt idx="6">
                  <c:v>94.69230658711106</c:v>
                </c:pt>
                <c:pt idx="7">
                  <c:v>95.55406469304529</c:v>
                </c:pt>
                <c:pt idx="8">
                  <c:v>96.37723517626408</c:v>
                </c:pt>
                <c:pt idx="9">
                  <c:v>97.16444807808267</c:v>
                </c:pt>
                <c:pt idx="10">
                  <c:v>97.91814244584035</c:v>
                </c:pt>
                <c:pt idx="11">
                  <c:v>98.64058413094729</c:v>
                </c:pt>
                <c:pt idx="12">
                  <c:v>99.33388160547914</c:v>
                </c:pt>
                <c:pt idx="13">
                  <c:v>100.0</c:v>
                </c:pt>
                <c:pt idx="14">
                  <c:v>99.81135382805928</c:v>
                </c:pt>
                <c:pt idx="15">
                  <c:v>99.53481123715251</c:v>
                </c:pt>
                <c:pt idx="16">
                  <c:v>99.26671943798218</c:v>
                </c:pt>
                <c:pt idx="17">
                  <c:v>99.00968957455986</c:v>
                </c:pt>
                <c:pt idx="18">
                  <c:v>98.76608961771683</c:v>
                </c:pt>
                <c:pt idx="19">
                  <c:v>98.5379720594523</c:v>
                </c:pt>
                <c:pt idx="20">
                  <c:v>98.32702826116937</c:v>
                </c:pt>
                <c:pt idx="21">
                  <c:v>98.13456895600359</c:v>
                </c:pt>
                <c:pt idx="22">
                  <c:v>97.96152762045851</c:v>
                </c:pt>
                <c:pt idx="23">
                  <c:v>97.80848185740352</c:v>
                </c:pt>
                <c:pt idx="24">
                  <c:v>98.61747527069127</c:v>
                </c:pt>
                <c:pt idx="25">
                  <c:v>99.5150581397725</c:v>
                </c:pt>
                <c:pt idx="26">
                  <c:v>100.39526989222864</c:v>
                </c:pt>
                <c:pt idx="27">
                  <c:v>101.25869331003278</c:v>
                </c:pt>
                <c:pt idx="28">
                  <c:v>102.10587897089675</c:v>
                </c:pt>
                <c:pt idx="29">
                  <c:v>102.937346912287</c:v>
                </c:pt>
                <c:pt idx="30">
                  <c:v>103.75358828862278</c:v>
                </c:pt>
                <c:pt idx="31">
                  <c:v>104.55506700669224</c:v>
                </c:pt>
                <c:pt idx="32">
                  <c:v>104.98815214290873</c:v>
                </c:pt>
                <c:pt idx="33">
                  <c:v>105.32400746463126</c:v>
                </c:pt>
                <c:pt idx="34">
                  <c:v>105.65208344887643</c:v>
                </c:pt>
                <c:pt idx="35">
                  <c:v>105.9727063718847</c:v>
                </c:pt>
                <c:pt idx="36">
                  <c:v>106.28617794735304</c:v>
                </c:pt>
                <c:pt idx="37">
                  <c:v>106.59277767022539</c:v>
                </c:pt>
                <c:pt idx="38">
                  <c:v>106.89276491971145</c:v>
                </c:pt>
                <c:pt idx="39">
                  <c:v>107.18638084340965</c:v>
                </c:pt>
                <c:pt idx="40">
                  <c:v>107.4738500431229</c:v>
                </c:pt>
                <c:pt idx="41">
                  <c:v>107.75538208162834</c:v>
                </c:pt>
                <c:pt idx="42">
                  <c:v>108.0311728283016</c:v>
                </c:pt>
                <c:pt idx="43">
                  <c:v>108.30140566013031</c:v>
                </c:pt>
                <c:pt idx="44">
                  <c:v>108.56625253331742</c:v>
                </c:pt>
                <c:pt idx="45">
                  <c:v>108.82587493937623</c:v>
                </c:pt>
                <c:pt idx="46">
                  <c:v>109.08042475836449</c:v>
                </c:pt>
                <c:pt idx="47">
                  <c:v>109.33004502073011</c:v>
                </c:pt>
                <c:pt idx="48">
                  <c:v>109.57487058812323</c:v>
                </c:pt>
                <c:pt idx="49">
                  <c:v>109.81502876248545</c:v>
                </c:pt>
                <c:pt idx="50">
                  <c:v>110.0506398317626</c:v>
                </c:pt>
                <c:pt idx="51">
                  <c:v>110.2818175597021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E$2:$E$53</c:f>
              <c:numCache>
                <c:formatCode>General</c:formatCode>
                <c:ptCount val="52"/>
                <c:pt idx="0">
                  <c:v>0.3101382488479264</c:v>
                </c:pt>
                <c:pt idx="1">
                  <c:v>0.317995444191344</c:v>
                </c:pt>
                <c:pt idx="2">
                  <c:v>0.3256756756756758</c:v>
                </c:pt>
                <c:pt idx="3">
                  <c:v>0.33318485523385294</c:v>
                </c:pt>
                <c:pt idx="4">
                  <c:v>0.34052863436123354</c:v>
                </c:pt>
                <c:pt idx="5">
                  <c:v>0.34771241830065364</c:v>
                </c:pt>
                <c:pt idx="6">
                  <c:v>0.3547413793103449</c:v>
                </c:pt>
                <c:pt idx="7">
                  <c:v>0.36162046908315576</c:v>
                </c:pt>
                <c:pt idx="8">
                  <c:v>0.3683544303797469</c:v>
                </c:pt>
                <c:pt idx="9">
                  <c:v>0.3749478079331942</c:v>
                </c:pt>
                <c:pt idx="10">
                  <c:v>0.3814049586776859</c:v>
                </c:pt>
                <c:pt idx="11">
                  <c:v>0.38773006134969334</c:v>
                </c:pt>
                <c:pt idx="12">
                  <c:v>0.393927125506073</c:v>
                </c:pt>
                <c:pt idx="13">
                  <c:v>0.4</c:v>
                </c:pt>
                <c:pt idx="14">
                  <c:v>0.405952380952381</c:v>
                </c:pt>
                <c:pt idx="15">
                  <c:v>0.4117878192534382</c:v>
                </c:pt>
                <c:pt idx="16">
                  <c:v>0.4175097276264591</c:v>
                </c:pt>
                <c:pt idx="17">
                  <c:v>0.423121387283237</c:v>
                </c:pt>
                <c:pt idx="18">
                  <c:v>0.4286259541984734</c:v>
                </c:pt>
                <c:pt idx="19">
                  <c:v>0.43402646502835546</c:v>
                </c:pt>
                <c:pt idx="20">
                  <c:v>0.4393258426966292</c:v>
                </c:pt>
                <c:pt idx="21">
                  <c:v>0.4445269016697588</c:v>
                </c:pt>
                <c:pt idx="22">
                  <c:v>0.4496323529411766</c:v>
                </c:pt>
                <c:pt idx="23">
                  <c:v>0.4546448087431695</c:v>
                </c:pt>
                <c:pt idx="24">
                  <c:v>0.4595667870036102</c:v>
                </c:pt>
                <c:pt idx="25">
                  <c:v>0.46440071556350626</c:v>
                </c:pt>
                <c:pt idx="26">
                  <c:v>0.4691489361702128</c:v>
                </c:pt>
                <c:pt idx="27">
                  <c:v>0.47381370826010555</c:v>
                </c:pt>
                <c:pt idx="28">
                  <c:v>0.47839721254355405</c:v>
                </c:pt>
                <c:pt idx="29">
                  <c:v>0.4829015544041452</c:v>
                </c:pt>
                <c:pt idx="30">
                  <c:v>0.4873287671232877</c:v>
                </c:pt>
                <c:pt idx="31">
                  <c:v>0.49168081494057736</c:v>
                </c:pt>
                <c:pt idx="32">
                  <c:v>0.495959595959596</c:v>
                </c:pt>
                <c:pt idx="33">
                  <c:v>0.5001669449081804</c:v>
                </c:pt>
                <c:pt idx="34">
                  <c:v>0.5043046357615893</c:v>
                </c:pt>
                <c:pt idx="35">
                  <c:v>0.5083743842364532</c:v>
                </c:pt>
                <c:pt idx="36">
                  <c:v>0.5123778501628665</c:v>
                </c:pt>
                <c:pt idx="37">
                  <c:v>0.5163166397415186</c:v>
                </c:pt>
                <c:pt idx="38">
                  <c:v>0.5201923076923077</c:v>
                </c:pt>
                <c:pt idx="39">
                  <c:v>0.524006359300477</c:v>
                </c:pt>
                <c:pt idx="40">
                  <c:v>0.5277602523659307</c:v>
                </c:pt>
                <c:pt idx="41">
                  <c:v>0.5314553990610329</c:v>
                </c:pt>
                <c:pt idx="42">
                  <c:v>0.5350931677018634</c:v>
                </c:pt>
                <c:pt idx="43">
                  <c:v>0.5386748844375964</c:v>
                </c:pt>
                <c:pt idx="44">
                  <c:v>0.5422018348623854</c:v>
                </c:pt>
                <c:pt idx="45">
                  <c:v>0.5456752655538696</c:v>
                </c:pt>
                <c:pt idx="46">
                  <c:v>0.5490963855421688</c:v>
                </c:pt>
                <c:pt idx="47">
                  <c:v>0.5524663677130045</c:v>
                </c:pt>
                <c:pt idx="48">
                  <c:v>0.5557863501483681</c:v>
                </c:pt>
                <c:pt idx="49">
                  <c:v>0.559057437407953</c:v>
                </c:pt>
                <c:pt idx="50">
                  <c:v>0.562280701754386</c:v>
                </c:pt>
                <c:pt idx="51">
                  <c:v>0.56545718432510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B$2:$B$82</c:f>
              <c:numCache>
                <c:formatCode>General</c:formatCode>
                <c:ptCount val="81"/>
                <c:pt idx="0">
                  <c:v>152.35483318430968</c:v>
                </c:pt>
                <c:pt idx="1">
                  <c:v>150.37876062563163</c:v>
                </c:pt>
                <c:pt idx="2">
                  <c:v>148.45001472107447</c:v>
                </c:pt>
                <c:pt idx="3">
                  <c:v>146.56700511486565</c:v>
                </c:pt>
                <c:pt idx="4">
                  <c:v>144.7282087753914</c:v>
                </c:pt>
                <c:pt idx="5">
                  <c:v>142.93216723091587</c:v>
                </c:pt>
                <c:pt idx="6">
                  <c:v>141.17748382681503</c:v>
                </c:pt>
                <c:pt idx="7">
                  <c:v>139.46282101974322</c:v>
                </c:pt>
                <c:pt idx="8">
                  <c:v>137.78689772210026</c:v>
                </c:pt>
                <c:pt idx="9">
                  <c:v>134.92216497828954</c:v>
                </c:pt>
                <c:pt idx="10">
                  <c:v>132.1627122802182</c:v>
                </c:pt>
                <c:pt idx="11">
                  <c:v>129.50450726864256</c:v>
                </c:pt>
                <c:pt idx="12">
                  <c:v>126.9435884120744</c:v>
                </c:pt>
                <c:pt idx="13">
                  <c:v>124.47607354690267</c:v>
                </c:pt>
                <c:pt idx="14">
                  <c:v>122.0981676698496</c:v>
                </c:pt>
                <c:pt idx="15">
                  <c:v>119.80616981129455</c:v>
                </c:pt>
                <c:pt idx="16">
                  <c:v>117.59647890244227</c:v>
                </c:pt>
                <c:pt idx="17">
                  <c:v>115.46559861123258</c:v>
                </c:pt>
                <c:pt idx="18">
                  <c:v>113.41014116528336</c:v>
                </c:pt>
                <c:pt idx="19">
                  <c:v>111.42683020908912</c:v>
                </c:pt>
                <c:pt idx="20">
                  <c:v>109.51250276070559</c:v>
                </c:pt>
                <c:pt idx="21">
                  <c:v>108.44133959632924</c:v>
                </c:pt>
                <c:pt idx="22">
                  <c:v>107.38676631655714</c:v>
                </c:pt>
                <c:pt idx="23">
                  <c:v>106.34847056319133</c:v>
                </c:pt>
                <c:pt idx="24">
                  <c:v>105.32614516676367</c:v>
                </c:pt>
                <c:pt idx="25">
                  <c:v>104.31948812239892</c:v>
                </c:pt>
                <c:pt idx="26">
                  <c:v>103.32820256204054</c:v>
                </c:pt>
                <c:pt idx="27">
                  <c:v>102.35199672322999</c:v>
                </c:pt>
                <c:pt idx="28">
                  <c:v>101.39058391465987</c:v>
                </c:pt>
                <c:pt idx="29">
                  <c:v>100.69092172447351</c:v>
                </c:pt>
                <c:pt idx="30">
                  <c:v>100.0</c:v>
                </c:pt>
                <c:pt idx="31">
                  <c:v>99.31766933149449</c:v>
                </c:pt>
                <c:pt idx="32">
                  <c:v>98.64378277349151</c:v>
                </c:pt>
                <c:pt idx="33">
                  <c:v>97.97819581758098</c:v>
                </c:pt>
                <c:pt idx="34">
                  <c:v>97.32076636598974</c:v>
                </c:pt>
                <c:pt idx="35">
                  <c:v>96.67135470578727</c:v>
                </c:pt>
                <c:pt idx="36">
                  <c:v>96.02982348354003</c:v>
                </c:pt>
                <c:pt idx="37">
                  <c:v>95.39603768028144</c:v>
                </c:pt>
                <c:pt idx="38">
                  <c:v>94.769864586662</c:v>
                </c:pt>
                <c:pt idx="39">
                  <c:v>94.1511737781828</c:v>
                </c:pt>
                <c:pt idx="40">
                  <c:v>93.53983709042043</c:v>
                </c:pt>
                <c:pt idx="41">
                  <c:v>92.93572859416669</c:v>
                </c:pt>
                <c:pt idx="42">
                  <c:v>92.33872457042654</c:v>
                </c:pt>
                <c:pt idx="43">
                  <c:v>91.74870348522846</c:v>
                </c:pt>
                <c:pt idx="44">
                  <c:v>91.16554596420835</c:v>
                </c:pt>
                <c:pt idx="45">
                  <c:v>90.58913476694427</c:v>
                </c:pt>
                <c:pt idx="46">
                  <c:v>90.01935476102568</c:v>
                </c:pt>
                <c:pt idx="47">
                  <c:v>89.45609289585057</c:v>
                </c:pt>
                <c:pt idx="48">
                  <c:v>88.89923817614385</c:v>
                </c:pt>
                <c:pt idx="49">
                  <c:v>87.8340785164333</c:v>
                </c:pt>
                <c:pt idx="50">
                  <c:v>86.78396373345666</c:v>
                </c:pt>
                <c:pt idx="51">
                  <c:v>85.7485543921029</c:v>
                </c:pt>
                <c:pt idx="52">
                  <c:v>84.72752414183863</c:v>
                </c:pt>
                <c:pt idx="53">
                  <c:v>83.72056101709117</c:v>
                </c:pt>
                <c:pt idx="54">
                  <c:v>82.7273687526662</c:v>
                </c:pt>
                <c:pt idx="55">
                  <c:v>81.74766807733334</c:v>
                </c:pt>
                <c:pt idx="56">
                  <c:v>80.78119794416202</c:v>
                </c:pt>
                <c:pt idx="57">
                  <c:v>79.82771665258372</c:v>
                </c:pt>
                <c:pt idx="58">
                  <c:v>78.88700281492942</c:v>
                </c:pt>
                <c:pt idx="59">
                  <c:v>77.95885611969983</c:v>
                </c:pt>
                <c:pt idx="60">
                  <c:v>77.04309784543685</c:v>
                </c:pt>
                <c:pt idx="61">
                  <c:v>76.13957108301672</c:v>
                </c:pt>
                <c:pt idx="62">
                  <c:v>75.24814063063069</c:v>
                </c:pt>
                <c:pt idx="63">
                  <c:v>74.36869253460924</c:v>
                </c:pt>
                <c:pt idx="64">
                  <c:v>73.50113326037089</c:v>
                </c:pt>
                <c:pt idx="65">
                  <c:v>72.64538849073374</c:v>
                </c:pt>
                <c:pt idx="66">
                  <c:v>71.8014015629793</c:v>
                </c:pt>
                <c:pt idx="67">
                  <c:v>70.96913157068715</c:v>
                </c:pt>
                <c:pt idx="68">
                  <c:v>70.1485511705504</c:v>
                </c:pt>
                <c:pt idx="69">
                  <c:v>69.7851889851183</c:v>
                </c:pt>
                <c:pt idx="70">
                  <c:v>69.4244944026827</c:v>
                </c:pt>
                <c:pt idx="71">
                  <c:v>69.06644323465831</c:v>
                </c:pt>
                <c:pt idx="72">
                  <c:v>68.71101164366985</c:v>
                </c:pt>
                <c:pt idx="73">
                  <c:v>68.3581761369228</c:v>
                </c:pt>
                <c:pt idx="74">
                  <c:v>68.00791355948267</c:v>
                </c:pt>
                <c:pt idx="75">
                  <c:v>67.66020108747406</c:v>
                </c:pt>
                <c:pt idx="76">
                  <c:v>67.31501622121189</c:v>
                </c:pt>
                <c:pt idx="77">
                  <c:v>66.97233677827612</c:v>
                </c:pt>
                <c:pt idx="78">
                  <c:v>66.6321408865414</c:v>
                </c:pt>
                <c:pt idx="79">
                  <c:v>66.29440697717541</c:v>
                </c:pt>
                <c:pt idx="80">
                  <c:v>65.959113777615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C$2:$C$82</c:f>
              <c:numCache>
                <c:formatCode>General</c:formatCode>
                <c:ptCount val="81"/>
                <c:pt idx="0">
                  <c:v>124.63195899191335</c:v>
                </c:pt>
                <c:pt idx="1">
                  <c:v>123.92359013211316</c:v>
                </c:pt>
                <c:pt idx="2">
                  <c:v>123.23103058311169</c:v>
                </c:pt>
                <c:pt idx="3">
                  <c:v>122.55377930841178</c:v>
                </c:pt>
                <c:pt idx="4">
                  <c:v>121.89135554546769</c:v>
                </c:pt>
                <c:pt idx="5">
                  <c:v>121.24329835632035</c:v>
                </c:pt>
                <c:pt idx="6">
                  <c:v>120.60916610500195</c:v>
                </c:pt>
                <c:pt idx="7">
                  <c:v>119.98853587555263</c:v>
                </c:pt>
                <c:pt idx="8">
                  <c:v>119.38100284344092</c:v>
                </c:pt>
                <c:pt idx="9">
                  <c:v>117.71137782592629</c:v>
                </c:pt>
                <c:pt idx="10">
                  <c:v>116.10042367907045</c:v>
                </c:pt>
                <c:pt idx="11">
                  <c:v>114.54640849453351</c:v>
                </c:pt>
                <c:pt idx="12">
                  <c:v>113.04757178083939</c:v>
                </c:pt>
                <c:pt idx="13">
                  <c:v>111.60213388730527</c:v>
                </c:pt>
                <c:pt idx="14">
                  <c:v>110.20830507475902</c:v>
                </c:pt>
                <c:pt idx="15">
                  <c:v>108.86429404667133</c:v>
                </c:pt>
                <c:pt idx="16">
                  <c:v>107.5683158232649</c:v>
                </c:pt>
                <c:pt idx="17">
                  <c:v>106.31859889381512</c:v>
                </c:pt>
                <c:pt idx="18">
                  <c:v>105.11339162115567</c:v>
                </c:pt>
                <c:pt idx="19">
                  <c:v>103.9509679000299</c:v>
                </c:pt>
                <c:pt idx="20">
                  <c:v>102.82963208989038</c:v>
                </c:pt>
                <c:pt idx="21">
                  <c:v>102.48489298770711</c:v>
                </c:pt>
                <c:pt idx="22">
                  <c:v>102.14294968301279</c:v>
                </c:pt>
                <c:pt idx="23">
                  <c:v>101.80380369804512</c:v>
                </c:pt>
                <c:pt idx="24">
                  <c:v>101.46745401697437</c:v>
                </c:pt>
                <c:pt idx="25">
                  <c:v>101.13389721957971</c:v>
                </c:pt>
                <c:pt idx="26">
                  <c:v>100.80312761040422</c:v>
                </c:pt>
                <c:pt idx="27">
                  <c:v>100.47513734343569</c:v>
                </c:pt>
                <c:pt idx="28">
                  <c:v>100.14991654239395</c:v>
                </c:pt>
                <c:pt idx="29">
                  <c:v>100.07486394809229</c:v>
                </c:pt>
                <c:pt idx="30">
                  <c:v>100.0</c:v>
                </c:pt>
                <c:pt idx="31">
                  <c:v>99.92533462099459</c:v>
                </c:pt>
                <c:pt idx="32">
                  <c:v>99.85087656741496</c:v>
                </c:pt>
                <c:pt idx="33">
                  <c:v>99.77663347759183</c:v>
                </c:pt>
                <c:pt idx="34">
                  <c:v>99.70261192014684</c:v>
                </c:pt>
                <c:pt idx="35">
                  <c:v>99.62881744190673</c:v>
                </c:pt>
                <c:pt idx="36">
                  <c:v>99.55525461528327</c:v>
                </c:pt>
                <c:pt idx="37">
                  <c:v>99.48192708499754</c:v>
                </c:pt>
                <c:pt idx="38">
                  <c:v>99.40883761402466</c:v>
                </c:pt>
                <c:pt idx="39">
                  <c:v>99.3359881286669</c:v>
                </c:pt>
                <c:pt idx="40">
                  <c:v>99.26337976265978</c:v>
                </c:pt>
                <c:pt idx="41">
                  <c:v>99.1910129002363</c:v>
                </c:pt>
                <c:pt idx="42">
                  <c:v>99.11888721808302</c:v>
                </c:pt>
                <c:pt idx="43">
                  <c:v>99.04700172613656</c:v>
                </c:pt>
                <c:pt idx="44">
                  <c:v>98.97535480717232</c:v>
                </c:pt>
                <c:pt idx="45">
                  <c:v>98.90394425515176</c:v>
                </c:pt>
                <c:pt idx="46">
                  <c:v>98.83276731230318</c:v>
                </c:pt>
                <c:pt idx="47">
                  <c:v>98.76182070491907</c:v>
                </c:pt>
                <c:pt idx="48">
                  <c:v>98.69110067785196</c:v>
                </c:pt>
                <c:pt idx="49">
                  <c:v>98.0438181667585</c:v>
                </c:pt>
                <c:pt idx="50">
                  <c:v>97.40053999488121</c:v>
                </c:pt>
                <c:pt idx="51">
                  <c:v>96.76115330306932</c:v>
                </c:pt>
                <c:pt idx="52">
                  <c:v>96.12555202314836</c:v>
                </c:pt>
                <c:pt idx="53">
                  <c:v>95.49363875983127</c:v>
                </c:pt>
                <c:pt idx="54">
                  <c:v>94.86532673695743</c:v>
                </c:pt>
                <c:pt idx="55">
                  <c:v>94.2405417659763</c:v>
                </c:pt>
                <c:pt idx="56">
                  <c:v>93.61922418752057</c:v>
                </c:pt>
                <c:pt idx="57">
                  <c:v>93.00133073071562</c:v>
                </c:pt>
                <c:pt idx="58">
                  <c:v>92.38683623008689</c:v>
                </c:pt>
                <c:pt idx="59">
                  <c:v>91.7757351370838</c:v>
                </c:pt>
                <c:pt idx="60">
                  <c:v>91.16804276285916</c:v>
                </c:pt>
                <c:pt idx="61">
                  <c:v>90.56379619145197</c:v>
                </c:pt>
                <c:pt idx="62">
                  <c:v>89.96305480822943</c:v>
                </c:pt>
                <c:pt idx="63">
                  <c:v>89.36590039745488</c:v>
                </c:pt>
                <c:pt idx="64">
                  <c:v>88.7724367750409</c:v>
                </c:pt>
                <c:pt idx="65">
                  <c:v>88.18278893757764</c:v>
                </c:pt>
                <c:pt idx="66">
                  <c:v>87.59710172591359</c:v>
                </c:pt>
                <c:pt idx="67">
                  <c:v>87.01553802010905</c:v>
                </c:pt>
                <c:pt idx="68">
                  <c:v>86.43827650136859</c:v>
                </c:pt>
                <c:pt idx="69">
                  <c:v>86.41874188939147</c:v>
                </c:pt>
                <c:pt idx="70">
                  <c:v>86.39806518903663</c:v>
                </c:pt>
                <c:pt idx="71">
                  <c:v>86.37626554338125</c:v>
                </c:pt>
                <c:pt idx="72">
                  <c:v>86.35336193330834</c:v>
                </c:pt>
                <c:pt idx="73">
                  <c:v>86.3293731801502</c:v>
                </c:pt>
                <c:pt idx="74">
                  <c:v>86.30431794796478</c:v>
                </c:pt>
                <c:pt idx="75">
                  <c:v>86.27821474545581</c:v>
                </c:pt>
                <c:pt idx="76">
                  <c:v>86.25108192754986</c:v>
                </c:pt>
                <c:pt idx="77">
                  <c:v>86.222937696641</c:v>
                </c:pt>
                <c:pt idx="78">
                  <c:v>86.19380010351817</c:v>
                </c:pt>
                <c:pt idx="79">
                  <c:v>86.16368704798869</c:v>
                </c:pt>
                <c:pt idx="80">
                  <c:v>86.132616279211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D$2:$D$82</c:f>
              <c:numCache>
                <c:formatCode>General</c:formatCode>
                <c:ptCount val="81"/>
                <c:pt idx="0">
                  <c:v>80.93850512916451</c:v>
                </c:pt>
                <c:pt idx="1">
                  <c:v>82.23838471714221</c:v>
                </c:pt>
                <c:pt idx="2">
                  <c:v>83.50313328060433</c:v>
                </c:pt>
                <c:pt idx="3">
                  <c:v>84.73404983203173</c:v>
                </c:pt>
                <c:pt idx="4">
                  <c:v>85.93237396038857</c:v>
                </c:pt>
                <c:pt idx="5">
                  <c:v>87.09928940633931</c:v>
                </c:pt>
                <c:pt idx="6">
                  <c:v>88.23592739175933</c:v>
                </c:pt>
                <c:pt idx="7">
                  <c:v>89.34336971577304</c:v>
                </c:pt>
                <c:pt idx="8">
                  <c:v>90.42265163012823</c:v>
                </c:pt>
                <c:pt idx="9">
                  <c:v>90.65082959478816</c:v>
                </c:pt>
                <c:pt idx="10">
                  <c:v>90.86186469264996</c:v>
                </c:pt>
                <c:pt idx="11">
                  <c:v>91.05785667326423</c:v>
                </c:pt>
                <c:pt idx="12">
                  <c:v>91.24070417117845</c:v>
                </c:pt>
                <c:pt idx="13">
                  <c:v>91.41211651100653</c:v>
                </c:pt>
                <c:pt idx="14">
                  <c:v>91.57362575238722</c:v>
                </c:pt>
                <c:pt idx="15">
                  <c:v>91.72659876177237</c:v>
                </c:pt>
                <c:pt idx="16">
                  <c:v>91.87224914253306</c:v>
                </c:pt>
                <c:pt idx="17">
                  <c:v>92.01164889332594</c:v>
                </c:pt>
                <c:pt idx="18">
                  <c:v>92.14573969679269</c:v>
                </c:pt>
                <c:pt idx="19">
                  <c:v>92.27534376690186</c:v>
                </c:pt>
                <c:pt idx="20">
                  <c:v>92.40117420434537</c:v>
                </c:pt>
                <c:pt idx="21">
                  <c:v>93.19177621559543</c:v>
                </c:pt>
                <c:pt idx="22">
                  <c:v>93.96342052698743</c:v>
                </c:pt>
                <c:pt idx="23">
                  <c:v>94.71660659534223</c:v>
                </c:pt>
                <c:pt idx="24">
                  <c:v>95.45181905737951</c:v>
                </c:pt>
                <c:pt idx="25">
                  <c:v>96.16952811283652</c:v>
                </c:pt>
                <c:pt idx="26">
                  <c:v>96.87018990191297</c:v>
                </c:pt>
                <c:pt idx="27">
                  <c:v>97.5542468768286</c:v>
                </c:pt>
                <c:pt idx="28">
                  <c:v>98.22212816732676</c:v>
                </c:pt>
                <c:pt idx="29">
                  <c:v>99.11762607252858</c:v>
                </c:pt>
                <c:pt idx="30">
                  <c:v>100.0</c:v>
                </c:pt>
                <c:pt idx="31">
                  <c:v>100.86950791479903</c:v>
                </c:pt>
                <c:pt idx="32">
                  <c:v>101.72640098516312</c:v>
                </c:pt>
                <c:pt idx="33">
                  <c:v>102.57092374653003</c:v>
                </c:pt>
                <c:pt idx="34">
                  <c:v>103.40331426386409</c:v>
                </c:pt>
                <c:pt idx="35">
                  <c:v>104.22380429217681</c:v>
                </c:pt>
                <c:pt idx="36">
                  <c:v>105.03261943512192</c:v>
                </c:pt>
                <c:pt idx="37">
                  <c:v>105.82997930156228</c:v>
                </c:pt>
                <c:pt idx="38">
                  <c:v>106.61609765999471</c:v>
                </c:pt>
                <c:pt idx="39">
                  <c:v>107.39118259073975</c:v>
                </c:pt>
                <c:pt idx="40">
                  <c:v>108.15543663579862</c:v>
                </c:pt>
                <c:pt idx="41">
                  <c:v>108.90905694628911</c:v>
                </c:pt>
                <c:pt idx="42">
                  <c:v>109.6522354273815</c:v>
                </c:pt>
                <c:pt idx="43">
                  <c:v>110.38515888066543</c:v>
                </c:pt>
                <c:pt idx="44">
                  <c:v>111.10800914387886</c:v>
                </c:pt>
                <c:pt idx="45">
                  <c:v>111.82096322794683</c:v>
                </c:pt>
                <c:pt idx="46">
                  <c:v>112.52419345128206</c:v>
                </c:pt>
                <c:pt idx="47">
                  <c:v>113.21786757131088</c:v>
                </c:pt>
                <c:pt idx="48">
                  <c:v>113.90214891318422</c:v>
                </c:pt>
                <c:pt idx="49">
                  <c:v>113.90982057599943</c:v>
                </c:pt>
                <c:pt idx="50">
                  <c:v>113.90395240016187</c:v>
                </c:pt>
                <c:pt idx="51">
                  <c:v>113.88479880201162</c:v>
                </c:pt>
                <c:pt idx="52">
                  <c:v>113.85261056559561</c:v>
                </c:pt>
                <c:pt idx="53">
                  <c:v>113.80763763260828</c:v>
                </c:pt>
                <c:pt idx="54">
                  <c:v>113.75013203491604</c:v>
                </c:pt>
                <c:pt idx="55">
                  <c:v>113.68035092004169</c:v>
                </c:pt>
                <c:pt idx="56">
                  <c:v>113.59855960897778</c:v>
                </c:pt>
                <c:pt idx="57">
                  <c:v>113.5050346153924</c:v>
                </c:pt>
                <c:pt idx="58">
                  <c:v>113.40006654646105</c:v>
                </c:pt>
                <c:pt idx="59">
                  <c:v>113.28396279893882</c:v>
                </c:pt>
                <c:pt idx="60">
                  <c:v>113.1570499604853</c:v>
                </c:pt>
                <c:pt idx="61">
                  <c:v>113.01967582635295</c:v>
                </c:pt>
                <c:pt idx="62">
                  <c:v>112.87221094594602</c:v>
                </c:pt>
                <c:pt idx="63">
                  <c:v>112.71504962276708</c:v>
                </c:pt>
                <c:pt idx="64">
                  <c:v>112.54861030494283</c:v>
                </c:pt>
                <c:pt idx="65">
                  <c:v>112.37333532160375</c:v>
                </c:pt>
                <c:pt idx="66">
                  <c:v>112.18968994215506</c:v>
                </c:pt>
                <c:pt idx="67">
                  <c:v>111.99816075999063</c:v>
                </c:pt>
                <c:pt idx="68">
                  <c:v>111.79925342806463</c:v>
                </c:pt>
                <c:pt idx="69">
                  <c:v>112.3105385229248</c:v>
                </c:pt>
                <c:pt idx="70">
                  <c:v>112.81480340435938</c:v>
                </c:pt>
                <c:pt idx="71">
                  <c:v>113.31213343186133</c:v>
                </c:pt>
                <c:pt idx="72">
                  <c:v>113.8026130348282</c:v>
                </c:pt>
                <c:pt idx="73">
                  <c:v>114.28632572891777</c:v>
                </c:pt>
                <c:pt idx="74">
                  <c:v>114.76335413162695</c:v>
                </c:pt>
                <c:pt idx="75">
                  <c:v>115.23377997710426</c:v>
                </c:pt>
                <c:pt idx="76">
                  <c:v>115.69768413020797</c:v>
                </c:pt>
                <c:pt idx="77">
                  <c:v>116.15514659982264</c:v>
                </c:pt>
                <c:pt idx="78">
                  <c:v>116.60624655144747</c:v>
                </c:pt>
                <c:pt idx="79">
                  <c:v>117.0510623190753</c:v>
                </c:pt>
                <c:pt idx="80">
                  <c:v>117.489671416377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E$2:$E$82</c:f>
              <c:numCache>
                <c:formatCode>General</c:formatCode>
                <c:ptCount val="81"/>
                <c:pt idx="0">
                  <c:v>0.26153846153846155</c:v>
                </c:pt>
                <c:pt idx="1">
                  <c:v>0.2671755725190838</c:v>
                </c:pt>
                <c:pt idx="2">
                  <c:v>0.27272727272727265</c:v>
                </c:pt>
                <c:pt idx="3">
                  <c:v>0.2781954887218045</c:v>
                </c:pt>
                <c:pt idx="4">
                  <c:v>0.2835820895522386</c:v>
                </c:pt>
                <c:pt idx="5">
                  <c:v>0.28888888888888886</c:v>
                </c:pt>
                <c:pt idx="6">
                  <c:v>0.29411764705882343</c:v>
                </c:pt>
                <c:pt idx="7">
                  <c:v>0.29927007299270075</c:v>
                </c:pt>
                <c:pt idx="8">
                  <c:v>0.3043478260869565</c:v>
                </c:pt>
                <c:pt idx="9">
                  <c:v>0.30935251798561136</c:v>
                </c:pt>
                <c:pt idx="10">
                  <c:v>0.3142857142857142</c:v>
                </c:pt>
                <c:pt idx="11">
                  <c:v>0.31914893617021267</c:v>
                </c:pt>
                <c:pt idx="12">
                  <c:v>0.32394366197183094</c:v>
                </c:pt>
                <c:pt idx="13">
                  <c:v>0.32867132867132853</c:v>
                </c:pt>
                <c:pt idx="14">
                  <c:v>0.3333333333333332</c:v>
                </c:pt>
                <c:pt idx="15">
                  <c:v>0.3379310344827586</c:v>
                </c:pt>
                <c:pt idx="16">
                  <c:v>0.34246575342465757</c:v>
                </c:pt>
                <c:pt idx="17">
                  <c:v>0.34693877551020397</c:v>
                </c:pt>
                <c:pt idx="18">
                  <c:v>0.35135135135135126</c:v>
                </c:pt>
                <c:pt idx="19">
                  <c:v>0.3557046979865771</c:v>
                </c:pt>
                <c:pt idx="20">
                  <c:v>0.36000000000000004</c:v>
                </c:pt>
                <c:pt idx="21">
                  <c:v>0.36423841059602635</c:v>
                </c:pt>
                <c:pt idx="22">
                  <c:v>0.3684210526315789</c:v>
                </c:pt>
                <c:pt idx="23">
                  <c:v>0.372549019607843</c:v>
                </c:pt>
                <c:pt idx="24">
                  <c:v>0.3766233766233765</c:v>
                </c:pt>
                <c:pt idx="25">
                  <c:v>0.38064516129032255</c:v>
                </c:pt>
                <c:pt idx="26">
                  <c:v>0.3846153846153845</c:v>
                </c:pt>
                <c:pt idx="27">
                  <c:v>0.3885350318471337</c:v>
                </c:pt>
                <c:pt idx="28">
                  <c:v>0.3924050632911392</c:v>
                </c:pt>
                <c:pt idx="29">
                  <c:v>0.3962264150943396</c:v>
                </c:pt>
                <c:pt idx="30">
                  <c:v>0.4</c:v>
                </c:pt>
                <c:pt idx="31">
                  <c:v>0.4037267080745341</c:v>
                </c:pt>
                <c:pt idx="32">
                  <c:v>0.4074074074074074</c:v>
                </c:pt>
                <c:pt idx="33">
                  <c:v>0.41104294478527603</c:v>
                </c:pt>
                <c:pt idx="34">
                  <c:v>0.41463414634146334</c:v>
                </c:pt>
                <c:pt idx="35">
                  <c:v>0.4181818181818181</c:v>
                </c:pt>
                <c:pt idx="36">
                  <c:v>0.4216867469879517</c:v>
                </c:pt>
                <c:pt idx="37">
                  <c:v>0.4251497005988024</c:v>
                </c:pt>
                <c:pt idx="38">
                  <c:v>0.4285714285714285</c:v>
                </c:pt>
                <c:pt idx="39">
                  <c:v>0.43195266272189337</c:v>
                </c:pt>
                <c:pt idx="40">
                  <c:v>0.4352941176470588</c:v>
                </c:pt>
                <c:pt idx="41">
                  <c:v>0.43859649122807015</c:v>
                </c:pt>
                <c:pt idx="42">
                  <c:v>0.441860465116279</c:v>
                </c:pt>
                <c:pt idx="43">
                  <c:v>0.445086705202312</c:v>
                </c:pt>
                <c:pt idx="44">
                  <c:v>0.44827586206896547</c:v>
                </c:pt>
                <c:pt idx="45">
                  <c:v>0.45142857142857146</c:v>
                </c:pt>
                <c:pt idx="46">
                  <c:v>0.45454545454545453</c:v>
                </c:pt>
                <c:pt idx="47">
                  <c:v>0.45762711864406774</c:v>
                </c:pt>
                <c:pt idx="48">
                  <c:v>0.4606741573033707</c:v>
                </c:pt>
                <c:pt idx="49">
                  <c:v>0.4636871508379888</c:v>
                </c:pt>
                <c:pt idx="50">
                  <c:v>0.4666666666666666</c:v>
                </c:pt>
                <c:pt idx="51">
                  <c:v>0.46961325966850814</c:v>
                </c:pt>
                <c:pt idx="52">
                  <c:v>0.47252747252747246</c:v>
                </c:pt>
                <c:pt idx="53">
                  <c:v>0.4754098360655738</c:v>
                </c:pt>
                <c:pt idx="54">
                  <c:v>0.4782608695652174</c:v>
                </c:pt>
                <c:pt idx="55">
                  <c:v>0.4810810810810811</c:v>
                </c:pt>
                <c:pt idx="56">
                  <c:v>0.48387096774193533</c:v>
                </c:pt>
                <c:pt idx="57">
                  <c:v>0.4866310160427807</c:v>
                </c:pt>
                <c:pt idx="58">
                  <c:v>0.48936170212765956</c:v>
                </c:pt>
                <c:pt idx="59">
                  <c:v>0.492063492063492</c:v>
                </c:pt>
                <c:pt idx="60">
                  <c:v>0.49473684210526314</c:v>
                </c:pt>
                <c:pt idx="61">
                  <c:v>0.4973821989528795</c:v>
                </c:pt>
                <c:pt idx="62">
                  <c:v>0.4999999999999999</c:v>
                </c:pt>
                <c:pt idx="63">
                  <c:v>0.5025906735751295</c:v>
                </c:pt>
                <c:pt idx="64">
                  <c:v>0.5051546391752576</c:v>
                </c:pt>
                <c:pt idx="65">
                  <c:v>0.5076923076923077</c:v>
                </c:pt>
                <c:pt idx="66">
                  <c:v>0.510204081632653</c:v>
                </c:pt>
                <c:pt idx="67">
                  <c:v>0.5126903553299491</c:v>
                </c:pt>
                <c:pt idx="68">
                  <c:v>0.515151515151515</c:v>
                </c:pt>
                <c:pt idx="69">
                  <c:v>0.5175879396984924</c:v>
                </c:pt>
                <c:pt idx="70">
                  <c:v>0.52</c:v>
                </c:pt>
                <c:pt idx="71">
                  <c:v>0.5223880597014926</c:v>
                </c:pt>
                <c:pt idx="72">
                  <c:v>0.5247524752475248</c:v>
                </c:pt>
                <c:pt idx="73">
                  <c:v>0.5270935960591132</c:v>
                </c:pt>
                <c:pt idx="74">
                  <c:v>0.5294117647058822</c:v>
                </c:pt>
                <c:pt idx="75">
                  <c:v>0.5317073170731706</c:v>
                </c:pt>
                <c:pt idx="76">
                  <c:v>0.5339805825242717</c:v>
                </c:pt>
                <c:pt idx="77">
                  <c:v>0.536231884057971</c:v>
                </c:pt>
                <c:pt idx="78">
                  <c:v>0.5384615384615385</c:v>
                </c:pt>
                <c:pt idx="79">
                  <c:v>0.5406698564593301</c:v>
                </c:pt>
                <c:pt idx="80">
                  <c:v>0.542857142857142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B$2:$B$31</c:f>
              <c:numCache>
                <c:formatCode>General</c:formatCode>
                <c:ptCount val="30"/>
                <c:pt idx="0">
                  <c:v>207.78412880419847</c:v>
                </c:pt>
                <c:pt idx="1">
                  <c:v>193.76583536255703</c:v>
                </c:pt>
                <c:pt idx="2">
                  <c:v>181.22820183568956</c:v>
                </c:pt>
                <c:pt idx="3">
                  <c:v>169.9728271942895</c:v>
                </c:pt>
                <c:pt idx="4">
                  <c:v>159.8295753127433</c:v>
                </c:pt>
                <c:pt idx="5">
                  <c:v>150.65299155067186</c:v>
                </c:pt>
                <c:pt idx="6">
                  <c:v>142.31892827014755</c:v>
                </c:pt>
                <c:pt idx="7">
                  <c:v>134.72148464066285</c:v>
                </c:pt>
                <c:pt idx="8">
                  <c:v>127.77029910332611</c:v>
                </c:pt>
                <c:pt idx="9">
                  <c:v>121.38819360769179</c:v>
                </c:pt>
                <c:pt idx="10">
                  <c:v>115.7088836619286</c:v>
                </c:pt>
                <c:pt idx="11">
                  <c:v>112.16746788191334</c:v>
                </c:pt>
                <c:pt idx="12">
                  <c:v>108.846532318912</c:v>
                </c:pt>
                <c:pt idx="13">
                  <c:v>105.72405284788454</c:v>
                </c:pt>
                <c:pt idx="14">
                  <c:v>102.78081086754054</c:v>
                </c:pt>
                <c:pt idx="15">
                  <c:v>100.0</c:v>
                </c:pt>
                <c:pt idx="16">
                  <c:v>97.36688853904582</c:v>
                </c:pt>
                <c:pt idx="17">
                  <c:v>94.86853038321557</c:v>
                </c:pt>
                <c:pt idx="18">
                  <c:v>92.4935178405837</c:v>
                </c:pt>
                <c:pt idx="19">
                  <c:v>90.23177040631992</c:v>
                </c:pt>
                <c:pt idx="20">
                  <c:v>87.7406014896667</c:v>
                </c:pt>
                <c:pt idx="21">
                  <c:v>82.55673480872368</c:v>
                </c:pt>
                <c:pt idx="22">
                  <c:v>77.81938994211049</c:v>
                </c:pt>
                <c:pt idx="23">
                  <c:v>73.48012765144885</c:v>
                </c:pt>
                <c:pt idx="24">
                  <c:v>69.49697761650245</c:v>
                </c:pt>
                <c:pt idx="25">
                  <c:v>65.8334084392388</c:v>
                </c:pt>
                <c:pt idx="26">
                  <c:v>62.457480648555745</c:v>
                </c:pt>
                <c:pt idx="27">
                  <c:v>59.34114942231441</c:v>
                </c:pt>
                <c:pt idx="28">
                  <c:v>56.45968934282679</c:v>
                </c:pt>
                <c:pt idx="29">
                  <c:v>53.791218361413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C$2:$C$31</c:f>
              <c:numCache>
                <c:formatCode>General</c:formatCode>
                <c:ptCount val="30"/>
                <c:pt idx="0">
                  <c:v>166.33226776158236</c:v>
                </c:pt>
                <c:pt idx="1">
                  <c:v>157.6859112628712</c:v>
                </c:pt>
                <c:pt idx="2">
                  <c:v>149.89199605172738</c:v>
                </c:pt>
                <c:pt idx="3">
                  <c:v>142.84269051216708</c:v>
                </c:pt>
                <c:pt idx="4">
                  <c:v>136.44378531040962</c:v>
                </c:pt>
                <c:pt idx="5">
                  <c:v>130.61345265202112</c:v>
                </c:pt>
                <c:pt idx="6">
                  <c:v>125.28090739296726</c:v>
                </c:pt>
                <c:pt idx="7">
                  <c:v>120.38508249774249</c:v>
                </c:pt>
                <c:pt idx="8">
                  <c:v>115.87338210528824</c:v>
                </c:pt>
                <c:pt idx="9">
                  <c:v>111.70054364602271</c:v>
                </c:pt>
                <c:pt idx="10">
                  <c:v>108.01398609967976</c:v>
                </c:pt>
                <c:pt idx="11">
                  <c:v>106.19980421364438</c:v>
                </c:pt>
                <c:pt idx="12">
                  <c:v>104.50319073519003</c:v>
                </c:pt>
                <c:pt idx="13">
                  <c:v>102.9114907629705</c:v>
                </c:pt>
                <c:pt idx="14">
                  <c:v>101.41364850701717</c:v>
                </c:pt>
                <c:pt idx="15">
                  <c:v>100.0</c:v>
                </c:pt>
                <c:pt idx="16">
                  <c:v>98.66209103968573</c:v>
                </c:pt>
                <c:pt idx="17">
                  <c:v>97.39251806621895</c:v>
                </c:pt>
                <c:pt idx="18">
                  <c:v>96.18478958859447</c:v>
                </c:pt>
                <c:pt idx="19">
                  <c:v>95.0332058286438</c:v>
                </c:pt>
                <c:pt idx="20">
                  <c:v>93.57700081487724</c:v>
                </c:pt>
                <c:pt idx="21">
                  <c:v>89.148588139207</c:v>
                </c:pt>
                <c:pt idx="22">
                  <c:v>85.07017055121229</c:v>
                </c:pt>
                <c:pt idx="23">
                  <c:v>81.305991440654</c:v>
                </c:pt>
                <c:pt idx="24">
                  <c:v>77.82495829971474</c:v>
                </c:pt>
                <c:pt idx="25">
                  <c:v>74.59990619610359</c:v>
                </c:pt>
                <c:pt idx="26">
                  <c:v>71.60698879028034</c:v>
                </c:pt>
                <c:pt idx="27">
                  <c:v>68.82517533936094</c:v>
                </c:pt>
                <c:pt idx="28">
                  <c:v>66.23583515956287</c:v>
                </c:pt>
                <c:pt idx="29">
                  <c:v>63.822393838885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D$2:$D$31</c:f>
              <c:numCache>
                <c:formatCode>General</c:formatCode>
                <c:ptCount val="30"/>
                <c:pt idx="0">
                  <c:v>114.10162139778244</c:v>
                </c:pt>
                <c:pt idx="1">
                  <c:v>112.22782385255607</c:v>
                </c:pt>
                <c:pt idx="2">
                  <c:v>110.4134057427087</c:v>
                </c:pt>
                <c:pt idx="3">
                  <c:v>108.6650430659889</c:v>
                </c:pt>
                <c:pt idx="4">
                  <c:v>106.98447751793474</c:v>
                </c:pt>
                <c:pt idx="5">
                  <c:v>105.37025804589362</c:v>
                </c:pt>
                <c:pt idx="6">
                  <c:v>103.81898856309162</c:v>
                </c:pt>
                <c:pt idx="7">
                  <c:v>102.32620580254275</c:v>
                </c:pt>
                <c:pt idx="8">
                  <c:v>100.88698373601746</c:v>
                </c:pt>
                <c:pt idx="9">
                  <c:v>99.49633803210017</c:v>
                </c:pt>
                <c:pt idx="10">
                  <c:v>98.31920394476164</c:v>
                </c:pt>
                <c:pt idx="11">
                  <c:v>98.68151050736205</c:v>
                </c:pt>
                <c:pt idx="12">
                  <c:v>99.0315227425664</c:v>
                </c:pt>
                <c:pt idx="13">
                  <c:v>99.3684218565868</c:v>
                </c:pt>
                <c:pt idx="14">
                  <c:v>99.69146227909613</c:v>
                </c:pt>
                <c:pt idx="15">
                  <c:v>100.0</c:v>
                </c:pt>
                <c:pt idx="16">
                  <c:v>100.29350740039122</c:v>
                </c:pt>
                <c:pt idx="17">
                  <c:v>100.57157860697181</c:v>
                </c:pt>
                <c:pt idx="18">
                  <c:v>100.83392836184275</c:v>
                </c:pt>
                <c:pt idx="19">
                  <c:v>101.08038660946896</c:v>
                </c:pt>
                <c:pt idx="20">
                  <c:v>100.92697845407363</c:v>
                </c:pt>
                <c:pt idx="21">
                  <c:v>97.44549838210692</c:v>
                </c:pt>
                <c:pt idx="22">
                  <c:v>94.19286027275062</c:v>
                </c:pt>
                <c:pt idx="23">
                  <c:v>91.14924130973817</c:v>
                </c:pt>
                <c:pt idx="24">
                  <c:v>88.29721368193381</c:v>
                </c:pt>
                <c:pt idx="25">
                  <c:v>85.62137719698218</c:v>
                </c:pt>
                <c:pt idx="26">
                  <c:v>83.1080496463896</c:v>
                </c:pt>
                <c:pt idx="27">
                  <c:v>80.745008137625</c:v>
                </c:pt>
                <c:pt idx="28">
                  <c:v>78.52127439298516</c:v>
                </c:pt>
                <c:pt idx="29">
                  <c:v>76.42693726244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E$2:$E$31</c:f>
              <c:numCache>
                <c:formatCode>General</c:formatCode>
                <c:ptCount val="30"/>
                <c:pt idx="0">
                  <c:v>0.30449019928230464</c:v>
                </c:pt>
                <c:pt idx="1">
                  <c:v>0.31589199929407014</c:v>
                </c:pt>
                <c:pt idx="2">
                  <c:v>0.3269259993054562</c:v>
                </c:pt>
                <c:pt idx="3">
                  <c:v>0.33760971360219494</c:v>
                </c:pt>
                <c:pt idx="4">
                  <c:v>0.3479595618271606</c:v>
                </c:pt>
                <c:pt idx="5">
                  <c:v>0.3579909531836658</c:v>
                </c:pt>
                <c:pt idx="6">
                  <c:v>0.3677183629839132</c:v>
                </c:pt>
                <c:pt idx="7">
                  <c:v>0.37715540234236233</c:v>
                </c:pt>
                <c:pt idx="8">
                  <c:v>0.3863148817196806</c:v>
                </c:pt>
                <c:pt idx="9">
                  <c:v>0.3952088689411344</c:v>
                </c:pt>
                <c:pt idx="10">
                  <c:v>0.40384874224197553</c:v>
                </c:pt>
                <c:pt idx="11">
                  <c:v>0.41224523883011643</c:v>
                </c:pt>
                <c:pt idx="12">
                  <c:v>0.42040849940192043</c:v>
                </c:pt>
                <c:pt idx="13">
                  <c:v>0.4283481089991545</c:v>
                </c:pt>
                <c:pt idx="14">
                  <c:v>0.43607313455321994</c:v>
                </c:pt>
                <c:pt idx="15">
                  <c:v>0.4435921594258437</c:v>
                </c:pt>
                <c:pt idx="16">
                  <c:v>0.45091331522287215</c:v>
                </c:pt>
                <c:pt idx="17">
                  <c:v>0.4580443111290685</c:v>
                </c:pt>
                <c:pt idx="18">
                  <c:v>0.4649924609863882</c:v>
                </c:pt>
                <c:pt idx="19">
                  <c:v>0.4717647083156744</c:v>
                </c:pt>
                <c:pt idx="20">
                  <c:v>0.4783676494617285</c:v>
                </c:pt>
                <c:pt idx="21">
                  <c:v>0.48480755502392936</c:v>
                </c:pt>
                <c:pt idx="22">
                  <c:v>0.4910903897187595</c:v>
                </c:pt>
                <c:pt idx="23">
                  <c:v>0.49722183080648535</c:v>
                </c:pt>
                <c:pt idx="24">
                  <c:v>0.5032072852016461</c:v>
                </c:pt>
                <c:pt idx="25">
                  <c:v>0.5090519053757444</c:v>
                </c:pt>
                <c:pt idx="26">
                  <c:v>0.5147606041504451</c:v>
                </c:pt>
                <c:pt idx="27">
                  <c:v>0.5203380684705549</c:v>
                </c:pt>
                <c:pt idx="28">
                  <c:v>0.525788772237935</c:v>
                </c:pt>
                <c:pt idx="29">
                  <c:v>0.53111698828020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B$2:$B$41</c:f>
              <c:numCache>
                <c:formatCode>General</c:formatCode>
                <c:ptCount val="40"/>
                <c:pt idx="0">
                  <c:v>154.0640468524006</c:v>
                </c:pt>
                <c:pt idx="1">
                  <c:v>150.67329895694533</c:v>
                </c:pt>
                <c:pt idx="2">
                  <c:v>147.40174747303354</c:v>
                </c:pt>
                <c:pt idx="3">
                  <c:v>144.24392213093225</c:v>
                </c:pt>
                <c:pt idx="4">
                  <c:v>141.19465226730284</c:v>
                </c:pt>
                <c:pt idx="5">
                  <c:v>138.2490491749635</c:v>
                </c:pt>
                <c:pt idx="6">
                  <c:v>135.40248936747545</c:v>
                </c:pt>
                <c:pt idx="7">
                  <c:v>132.65059874691738</c:v>
                </c:pt>
                <c:pt idx="8">
                  <c:v>129.9892376550183</c:v>
                </c:pt>
                <c:pt idx="9">
                  <c:v>127.41448678177751</c:v>
                </c:pt>
                <c:pt idx="10">
                  <c:v>124.92263390142513</c:v>
                </c:pt>
                <c:pt idx="11">
                  <c:v>122.51016140257485</c:v>
                </c:pt>
                <c:pt idx="12">
                  <c:v>120.17373457754317</c:v>
                </c:pt>
                <c:pt idx="13">
                  <c:v>117.91019063470789</c:v>
                </c:pt>
                <c:pt idx="14">
                  <c:v>115.71652839735182</c:v>
                </c:pt>
                <c:pt idx="15">
                  <c:v>113.58989865248732</c:v>
                </c:pt>
                <c:pt idx="16">
                  <c:v>111.52759511363533</c:v>
                </c:pt>
                <c:pt idx="17">
                  <c:v>109.52704596226957</c:v>
                </c:pt>
                <c:pt idx="18">
                  <c:v>107.58580593364837</c:v>
                </c:pt>
                <c:pt idx="19">
                  <c:v>105.70154891390662</c:v>
                </c:pt>
                <c:pt idx="20">
                  <c:v>102.89753736977407</c:v>
                </c:pt>
                <c:pt idx="21">
                  <c:v>100.0</c:v>
                </c:pt>
                <c:pt idx="22">
                  <c:v>97.25323463409691</c:v>
                </c:pt>
                <c:pt idx="23">
                  <c:v>94.64720018918774</c:v>
                </c:pt>
                <c:pt idx="24">
                  <c:v>92.17254644732475</c:v>
                </c:pt>
                <c:pt idx="25">
                  <c:v>89.82057314693998</c:v>
                </c:pt>
                <c:pt idx="26">
                  <c:v>87.58319126075008</c:v>
                </c:pt>
                <c:pt idx="27">
                  <c:v>85.4528858303642</c:v>
                </c:pt>
                <c:pt idx="28">
                  <c:v>83.42268004866833</c:v>
                </c:pt>
                <c:pt idx="29">
                  <c:v>81.48610049087054</c:v>
                </c:pt>
                <c:pt idx="30">
                  <c:v>79.6371435197656</c:v>
                </c:pt>
                <c:pt idx="31">
                  <c:v>77.87024295370367</c:v>
                </c:pt>
                <c:pt idx="32">
                  <c:v>76.75606669302817</c:v>
                </c:pt>
                <c:pt idx="33">
                  <c:v>75.80946161370699</c:v>
                </c:pt>
                <c:pt idx="34">
                  <c:v>74.88035027356604</c:v>
                </c:pt>
                <c:pt idx="35">
                  <c:v>73.9682955712856</c:v>
                </c:pt>
                <c:pt idx="36">
                  <c:v>73.07287368815305</c:v>
                </c:pt>
                <c:pt idx="37">
                  <c:v>72.19367364511989</c:v>
                </c:pt>
                <c:pt idx="38">
                  <c:v>71.33029687300294</c:v>
                </c:pt>
                <c:pt idx="39">
                  <c:v>70.482356795747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C$2:$C$41</c:f>
              <c:numCache>
                <c:formatCode>General</c:formatCode>
                <c:ptCount val="40"/>
                <c:pt idx="0">
                  <c:v>131.20139017372173</c:v>
                </c:pt>
                <c:pt idx="1">
                  <c:v>129.3750181838553</c:v>
                </c:pt>
                <c:pt idx="2">
                  <c:v>127.60449302743233</c:v>
                </c:pt>
                <c:pt idx="3">
                  <c:v>125.88751308619295</c:v>
                </c:pt>
                <c:pt idx="4">
                  <c:v>124.22189071183315</c:v>
                </c:pt>
                <c:pt idx="5">
                  <c:v>122.60554667877115</c:v>
                </c:pt>
                <c:pt idx="6">
                  <c:v>121.03650475429649</c:v>
                </c:pt>
                <c:pt idx="7">
                  <c:v>119.5128864160343</c:v>
                </c:pt>
                <c:pt idx="8">
                  <c:v>118.03290573902476</c:v>
                </c:pt>
                <c:pt idx="9">
                  <c:v>116.59486446848754</c:v>
                </c:pt>
                <c:pt idx="10">
                  <c:v>115.19714728932638</c:v>
                </c:pt>
                <c:pt idx="11">
                  <c:v>113.83821729930136</c:v>
                </c:pt>
                <c:pt idx="12">
                  <c:v>112.51661168947788</c:v>
                </c:pt>
                <c:pt idx="13">
                  <c:v>111.23093763284726</c:v>
                </c:pt>
                <c:pt idx="14">
                  <c:v>109.97986837982705</c:v>
                </c:pt>
                <c:pt idx="15">
                  <c:v>108.76213955757392</c:v>
                </c:pt>
                <c:pt idx="16">
                  <c:v>107.57654566865229</c:v>
                </c:pt>
                <c:pt idx="17">
                  <c:v>106.42193678347896</c:v>
                </c:pt>
                <c:pt idx="18">
                  <c:v>105.29721542013056</c:v>
                </c:pt>
                <c:pt idx="19">
                  <c:v>104.20133360445594</c:v>
                </c:pt>
                <c:pt idx="20">
                  <c:v>102.16709253785172</c:v>
                </c:pt>
                <c:pt idx="21">
                  <c:v>100.0</c:v>
                </c:pt>
                <c:pt idx="22">
                  <c:v>97.94372060421786</c:v>
                </c:pt>
                <c:pt idx="23">
                  <c:v>95.99126679932563</c:v>
                </c:pt>
                <c:pt idx="24">
                  <c:v>94.1360734148337</c:v>
                </c:pt>
                <c:pt idx="25">
                  <c:v>92.37197987160182</c:v>
                </c:pt>
                <c:pt idx="26">
                  <c:v>90.69321293904197</c:v>
                </c:pt>
                <c:pt idx="27">
                  <c:v>89.09436949017426</c:v>
                </c:pt>
                <c:pt idx="28">
                  <c:v>87.57039900626768</c:v>
                </c:pt>
                <c:pt idx="29">
                  <c:v>86.11658578660551</c:v>
                </c:pt>
                <c:pt idx="30">
                  <c:v>84.72853094572278</c:v>
                </c:pt>
                <c:pt idx="31">
                  <c:v>83.40213434923677</c:v>
                </c:pt>
                <c:pt idx="32">
                  <c:v>82.75378028994538</c:v>
                </c:pt>
                <c:pt idx="33">
                  <c:v>82.27134455187256</c:v>
                </c:pt>
                <c:pt idx="34">
                  <c:v>81.79461556262765</c:v>
                </c:pt>
                <c:pt idx="35">
                  <c:v>81.3234833477546</c:v>
                </c:pt>
                <c:pt idx="36">
                  <c:v>80.85784031391353</c:v>
                </c:pt>
                <c:pt idx="37">
                  <c:v>80.39758122220435</c:v>
                </c:pt>
                <c:pt idx="38">
                  <c:v>79.94260315761939</c:v>
                </c:pt>
                <c:pt idx="39">
                  <c:v>79.492805495164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D$2:$D$41</c:f>
              <c:numCache>
                <c:formatCode>General</c:formatCode>
                <c:ptCount val="40"/>
                <c:pt idx="0">
                  <c:v>96.20737689709992</c:v>
                </c:pt>
                <c:pt idx="1">
                  <c:v>96.78442236290194</c:v>
                </c:pt>
                <c:pt idx="2">
                  <c:v>97.31889336023602</c:v>
                </c:pt>
                <c:pt idx="3">
                  <c:v>97.81347509307848</c:v>
                </c:pt>
                <c:pt idx="4">
                  <c:v>98.27066999720007</c:v>
                </c:pt>
                <c:pt idx="5">
                  <c:v>98.69281192890814</c:v>
                </c:pt>
                <c:pt idx="6">
                  <c:v>99.08207912941876</c:v>
                </c:pt>
                <c:pt idx="7">
                  <c:v>99.44050607065061</c:v>
                </c:pt>
                <c:pt idx="8">
                  <c:v>99.76999428028228</c:v>
                </c:pt>
                <c:pt idx="9">
                  <c:v>100.07232223633176</c:v>
                </c:pt>
                <c:pt idx="10">
                  <c:v>100.34915441437802</c:v>
                </c:pt>
                <c:pt idx="11">
                  <c:v>100.60204956377395</c:v>
                </c:pt>
                <c:pt idx="12">
                  <c:v>100.83246828287417</c:v>
                </c:pt>
                <c:pt idx="13">
                  <c:v>101.04177995735341</c:v>
                </c:pt>
                <c:pt idx="14">
                  <c:v>101.23126912014398</c:v>
                </c:pt>
                <c:pt idx="15">
                  <c:v>101.40214128634067</c:v>
                </c:pt>
                <c:pt idx="16">
                  <c:v>101.55552831162929</c:v>
                </c:pt>
                <c:pt idx="17">
                  <c:v>101.69249331833048</c:v>
                </c:pt>
                <c:pt idx="18">
                  <c:v>101.81403522905353</c:v>
                </c:pt>
                <c:pt idx="19">
                  <c:v>101.9210929441675</c:v>
                </c:pt>
                <c:pt idx="20">
                  <c:v>101.05745265286103</c:v>
                </c:pt>
                <c:pt idx="21">
                  <c:v>100.0</c:v>
                </c:pt>
                <c:pt idx="22">
                  <c:v>98.9923840374248</c:v>
                </c:pt>
                <c:pt idx="23">
                  <c:v>98.03229318593985</c:v>
                </c:pt>
                <c:pt idx="24">
                  <c:v>97.11742554857607</c:v>
                </c:pt>
                <c:pt idx="25">
                  <c:v>96.24550684843783</c:v>
                </c:pt>
                <c:pt idx="26">
                  <c:v>95.41430635917195</c:v>
                </c:pt>
                <c:pt idx="27">
                  <c:v>94.62165040443766</c:v>
                </c:pt>
                <c:pt idx="28">
                  <c:v>93.8654332736447</c:v>
                </c:pt>
                <c:pt idx="29">
                  <c:v>93.14362559686047</c:v>
                </c:pt>
                <c:pt idx="30">
                  <c:v>92.45428035234595</c:v>
                </c:pt>
                <c:pt idx="31">
                  <c:v>91.795536758014</c:v>
                </c:pt>
                <c:pt idx="32">
                  <c:v>91.8547207277798</c:v>
                </c:pt>
                <c:pt idx="33">
                  <c:v>92.07758642351538</c:v>
                </c:pt>
                <c:pt idx="34">
                  <c:v>92.28815702528921</c:v>
                </c:pt>
                <c:pt idx="35">
                  <c:v>92.4868245054414</c:v>
                </c:pt>
                <c:pt idx="36">
                  <c:v>92.673966415662</c:v>
                </c:pt>
                <c:pt idx="37">
                  <c:v>92.84994650495393</c:v>
                </c:pt>
                <c:pt idx="38">
                  <c:v>93.0151153072134</c:v>
                </c:pt>
                <c:pt idx="39">
                  <c:v>93.1698106999580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E$2:$E$41</c:f>
              <c:numCache>
                <c:formatCode>General</c:formatCode>
                <c:ptCount val="40"/>
                <c:pt idx="0">
                  <c:v>0.2939393939393939</c:v>
                </c:pt>
                <c:pt idx="1">
                  <c:v>0.29983305509181984</c:v>
                </c:pt>
                <c:pt idx="2">
                  <c:v>0.3056291390728477</c:v>
                </c:pt>
                <c:pt idx="3">
                  <c:v>0.3113300492610837</c:v>
                </c:pt>
                <c:pt idx="4">
                  <c:v>0.31693811074918576</c:v>
                </c:pt>
                <c:pt idx="5">
                  <c:v>0.3224555735056544</c:v>
                </c:pt>
                <c:pt idx="6">
                  <c:v>0.32788461538461544</c:v>
                </c:pt>
                <c:pt idx="7">
                  <c:v>0.333227344992051</c:v>
                </c:pt>
                <c:pt idx="8">
                  <c:v>0.33848580441640375</c:v>
                </c:pt>
                <c:pt idx="9">
                  <c:v>0.34366197183098585</c:v>
                </c:pt>
                <c:pt idx="10">
                  <c:v>0.34875776397515523</c:v>
                </c:pt>
                <c:pt idx="11">
                  <c:v>0.35377503852080133</c:v>
                </c:pt>
                <c:pt idx="12">
                  <c:v>0.35871559633027517</c:v>
                </c:pt>
                <c:pt idx="13">
                  <c:v>0.3635811836115327</c:v>
                </c:pt>
                <c:pt idx="14">
                  <c:v>0.36837349397590363</c:v>
                </c:pt>
                <c:pt idx="15">
                  <c:v>0.3730941704035875</c:v>
                </c:pt>
                <c:pt idx="16">
                  <c:v>0.3777448071216618</c:v>
                </c:pt>
                <c:pt idx="17">
                  <c:v>0.3823269513991165</c:v>
                </c:pt>
                <c:pt idx="18">
                  <c:v>0.386842105263158</c:v>
                </c:pt>
                <c:pt idx="19">
                  <c:v>0.39129172714078386</c:v>
                </c:pt>
                <c:pt idx="20">
                  <c:v>0.3956772334293948</c:v>
                </c:pt>
                <c:pt idx="21">
                  <c:v>0.39999999999999997</c:v>
                </c:pt>
                <c:pt idx="22">
                  <c:v>0.4042613636363635</c:v>
                </c:pt>
                <c:pt idx="23">
                  <c:v>0.4084626234132581</c:v>
                </c:pt>
                <c:pt idx="24">
                  <c:v>0.41260504201680664</c:v>
                </c:pt>
                <c:pt idx="25">
                  <c:v>0.4166898470097357</c:v>
                </c:pt>
                <c:pt idx="26">
                  <c:v>0.42071823204419884</c:v>
                </c:pt>
                <c:pt idx="27">
                  <c:v>0.42469135802469143</c:v>
                </c:pt>
                <c:pt idx="28">
                  <c:v>0.4286103542234333</c:v>
                </c:pt>
                <c:pt idx="29">
                  <c:v>0.43247631935047354</c:v>
                </c:pt>
                <c:pt idx="30">
                  <c:v>0.43629032258064526</c:v>
                </c:pt>
                <c:pt idx="31">
                  <c:v>0.44005340453938574</c:v>
                </c:pt>
                <c:pt idx="32">
                  <c:v>0.4437665782493369</c:v>
                </c:pt>
                <c:pt idx="33">
                  <c:v>0.4474308300395257</c:v>
                </c:pt>
                <c:pt idx="34">
                  <c:v>0.45104712041884826</c:v>
                </c:pt>
                <c:pt idx="35">
                  <c:v>0.45461638491547474</c:v>
                </c:pt>
                <c:pt idx="36">
                  <c:v>0.45813953488372106</c:v>
                </c:pt>
                <c:pt idx="37">
                  <c:v>0.46161745827984607</c:v>
                </c:pt>
                <c:pt idx="38">
                  <c:v>0.46505102040816326</c:v>
                </c:pt>
                <c:pt idx="39">
                  <c:v>0.468441064638783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27.6260628777313</c:v>
                </c:pt>
                <c:pt idx="1">
                  <c:v>213.43722292538155</c:v>
                </c:pt>
                <c:pt idx="2">
                  <c:v>200.4077742250261</c:v>
                </c:pt>
                <c:pt idx="3">
                  <c:v>188.43428547019224</c:v>
                </c:pt>
                <c:pt idx="4">
                  <c:v>177.22154608394658</c:v>
                </c:pt>
                <c:pt idx="5">
                  <c:v>165.3826056574341</c:v>
                </c:pt>
                <c:pt idx="6">
                  <c:v>154.8094588271628</c:v>
                </c:pt>
                <c:pt idx="7">
                  <c:v>145.34154862158923</c:v>
                </c:pt>
                <c:pt idx="8">
                  <c:v>136.8350596010694</c:v>
                </c:pt>
                <c:pt idx="9">
                  <c:v>129.16359603460194</c:v>
                </c:pt>
                <c:pt idx="10">
                  <c:v>122.21756468790115</c:v>
                </c:pt>
                <c:pt idx="11">
                  <c:v>115.90280130822588</c:v>
                </c:pt>
                <c:pt idx="12">
                  <c:v>110.13885111935477</c:v>
                </c:pt>
                <c:pt idx="13">
                  <c:v>104.85717421275136</c:v>
                </c:pt>
                <c:pt idx="14">
                  <c:v>100.0</c:v>
                </c:pt>
                <c:pt idx="15">
                  <c:v>95.55168059886817</c:v>
                </c:pt>
                <c:pt idx="16">
                  <c:v>91.48222379679247</c:v>
                </c:pt>
                <c:pt idx="17">
                  <c:v>87.74654469021971</c:v>
                </c:pt>
                <c:pt idx="18">
                  <c:v>84.30564682662268</c:v>
                </c:pt>
                <c:pt idx="19">
                  <c:v>81.1258148891953</c:v>
                </c:pt>
                <c:pt idx="20">
                  <c:v>78.17788705265296</c:v>
                </c:pt>
                <c:pt idx="21">
                  <c:v>75.436612454404</c:v>
                </c:pt>
                <c:pt idx="22">
                  <c:v>72.88009172538844</c:v>
                </c:pt>
                <c:pt idx="23">
                  <c:v>70.48929449793282</c:v>
                </c:pt>
                <c:pt idx="24">
                  <c:v>67.97351061291684</c:v>
                </c:pt>
                <c:pt idx="25">
                  <c:v>63.33747513804203</c:v>
                </c:pt>
                <c:pt idx="26">
                  <c:v>59.169836059537026</c:v>
                </c:pt>
                <c:pt idx="27">
                  <c:v>55.4100978879134</c:v>
                </c:pt>
                <c:pt idx="28">
                  <c:v>52.007025008937134</c:v>
                </c:pt>
                <c:pt idx="29">
                  <c:v>48.917069630773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82.63720159044655</c:v>
                </c:pt>
                <c:pt idx="1">
                  <c:v>174.24236078376921</c:v>
                </c:pt>
                <c:pt idx="2">
                  <c:v>166.41662163473947</c:v>
                </c:pt>
                <c:pt idx="3">
                  <c:v>159.12035106884238</c:v>
                </c:pt>
                <c:pt idx="4">
                  <c:v>152.14439205868035</c:v>
                </c:pt>
                <c:pt idx="5">
                  <c:v>144.3148160186721</c:v>
                </c:pt>
                <c:pt idx="6">
                  <c:v>137.27527905296432</c:v>
                </c:pt>
                <c:pt idx="7">
                  <c:v>130.93413121619173</c:v>
                </c:pt>
                <c:pt idx="8">
                  <c:v>125.20616621297556</c:v>
                </c:pt>
                <c:pt idx="9">
                  <c:v>120.01437603181489</c:v>
                </c:pt>
                <c:pt idx="10">
                  <c:v>115.29055660411494</c:v>
                </c:pt>
                <c:pt idx="11">
                  <c:v>110.97514930940432</c:v>
                </c:pt>
                <c:pt idx="12">
                  <c:v>107.01663910377886</c:v>
                </c:pt>
                <c:pt idx="13">
                  <c:v>103.37073949776547</c:v>
                </c:pt>
                <c:pt idx="14">
                  <c:v>100.0</c:v>
                </c:pt>
                <c:pt idx="15">
                  <c:v>96.90597204827365</c:v>
                </c:pt>
                <c:pt idx="16">
                  <c:v>94.07587012197138</c:v>
                </c:pt>
                <c:pt idx="17">
                  <c:v>91.47869891728507</c:v>
                </c:pt>
                <c:pt idx="18">
                  <c:v>89.08736611568983</c:v>
                </c:pt>
                <c:pt idx="19">
                  <c:v>86.87824277343563</c:v>
                </c:pt>
                <c:pt idx="20">
                  <c:v>84.83074324515287</c:v>
                </c:pt>
                <c:pt idx="21">
                  <c:v>82.92693805915243</c:v>
                </c:pt>
                <c:pt idx="22">
                  <c:v>81.15120555642306</c:v>
                </c:pt>
                <c:pt idx="23">
                  <c:v>79.48992342571887</c:v>
                </c:pt>
                <c:pt idx="24">
                  <c:v>77.61881421128335</c:v>
                </c:pt>
                <c:pt idx="25">
                  <c:v>73.23044162446256</c:v>
                </c:pt>
                <c:pt idx="26">
                  <c:v>69.2577453773229</c:v>
                </c:pt>
                <c:pt idx="27">
                  <c:v>65.6491446822966</c:v>
                </c:pt>
                <c:pt idx="28">
                  <c:v>62.36070224813632</c:v>
                </c:pt>
                <c:pt idx="29">
                  <c:v>59.354878444517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37.9697106262209</c:v>
                </c:pt>
                <c:pt idx="1">
                  <c:v>135.37434527566052</c:v>
                </c:pt>
                <c:pt idx="2">
                  <c:v>132.7485749750269</c:v>
                </c:pt>
                <c:pt idx="3">
                  <c:v>130.11883252678552</c:v>
                </c:pt>
                <c:pt idx="4">
                  <c:v>127.3620868544897</c:v>
                </c:pt>
                <c:pt idx="5">
                  <c:v>123.5067800616061</c:v>
                </c:pt>
                <c:pt idx="6">
                  <c:v>119.96621963289016</c:v>
                </c:pt>
                <c:pt idx="7">
                  <c:v>116.71830373640945</c:v>
                </c:pt>
                <c:pt idx="8">
                  <c:v>113.73677761641225</c:v>
                </c:pt>
                <c:pt idx="9">
                  <c:v>110.99417139995067</c:v>
                </c:pt>
                <c:pt idx="10">
                  <c:v>108.4637027713744</c:v>
                </c:pt>
                <c:pt idx="11">
                  <c:v>106.12038298928744</c:v>
                </c:pt>
                <c:pt idx="12">
                  <c:v>103.94156452716632</c:v>
                </c:pt>
                <c:pt idx="13">
                  <c:v>101.9071254641075</c:v>
                </c:pt>
                <c:pt idx="14">
                  <c:v>100.0</c:v>
                </c:pt>
                <c:pt idx="15">
                  <c:v>98.23992885558329</c:v>
                </c:pt>
                <c:pt idx="16">
                  <c:v>96.62974034701554</c:v>
                </c:pt>
                <c:pt idx="17">
                  <c:v>95.15252104724011</c:v>
                </c:pt>
                <c:pt idx="18">
                  <c:v>93.79305747989358</c:v>
                </c:pt>
                <c:pt idx="19">
                  <c:v>92.53777170061</c:v>
                </c:pt>
                <c:pt idx="20">
                  <c:v>91.37461372030239</c:v>
                </c:pt>
                <c:pt idx="21">
                  <c:v>90.2929329771238</c:v>
                </c:pt>
                <c:pt idx="22">
                  <c:v>89.28334310115434</c:v>
                </c:pt>
                <c:pt idx="23">
                  <c:v>88.33758870659103</c:v>
                </c:pt>
                <c:pt idx="24">
                  <c:v>87.09715870185968</c:v>
                </c:pt>
                <c:pt idx="25">
                  <c:v>82.93875704780856</c:v>
                </c:pt>
                <c:pt idx="26">
                  <c:v>79.14602582075264</c:v>
                </c:pt>
                <c:pt idx="27">
                  <c:v>75.675877364886</c:v>
                </c:pt>
                <c:pt idx="28">
                  <c:v>72.49132322508187</c:v>
                </c:pt>
                <c:pt idx="29">
                  <c:v>69.560541258016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384718168767279</c:v>
                </c:pt>
                <c:pt idx="1">
                  <c:v>0.39551258685908103</c:v>
                </c:pt>
                <c:pt idx="2">
                  <c:v>0.40593478363737284</c:v>
                </c:pt>
                <c:pt idx="3">
                  <c:v>0.41600368560962064</c:v>
                </c:pt>
                <c:pt idx="4">
                  <c:v>0.425736957516127</c:v>
                </c:pt>
                <c:pt idx="5">
                  <c:v>0.4351511057535676</c:v>
                </c:pt>
                <c:pt idx="6">
                  <c:v>0.4442615717898003</c:v>
                </c:pt>
                <c:pt idx="7">
                  <c:v>0.4530828166820257</c:v>
                </c:pt>
                <c:pt idx="8">
                  <c:v>0.461628397671369</c:v>
                </c:pt>
                <c:pt idx="9">
                  <c:v>0.4699110377071942</c:v>
                </c:pt>
                <c:pt idx="10">
                  <c:v>0.4779426886510245</c:v>
                </c:pt>
                <c:pt idx="11">
                  <c:v>0.48573458882041237</c:v>
                </c:pt>
                <c:pt idx="12">
                  <c:v>0.4932973154554062</c:v>
                </c:pt>
                <c:pt idx="13">
                  <c:v>0.5006408326227192</c:v>
                </c:pt>
                <c:pt idx="14">
                  <c:v>0.5077745350138233</c:v>
                </c:pt>
                <c:pt idx="15">
                  <c:v>0.5147072880417976</c:v>
                </c:pt>
                <c:pt idx="16">
                  <c:v>0.5214474645967726</c:v>
                </c:pt>
                <c:pt idx="17">
                  <c:v>0.5280029787803784</c:v>
                </c:pt>
                <c:pt idx="18">
                  <c:v>0.5343813169049678</c:v>
                </c:pt>
                <c:pt idx="19">
                  <c:v>0.5405895660129015</c:v>
                </c:pt>
                <c:pt idx="20">
                  <c:v>0.5466344401443107</c:v>
                </c:pt>
                <c:pt idx="21">
                  <c:v>0.552522304558021</c:v>
                </c:pt>
                <c:pt idx="22">
                  <c:v>0.5582591980893284</c:v>
                </c:pt>
                <c:pt idx="23">
                  <c:v>0.5638508538097168</c:v>
                </c:pt>
                <c:pt idx="24">
                  <c:v>0.5693027181370953</c:v>
                </c:pt>
                <c:pt idx="25">
                  <c:v>0.5746199685304645</c:v>
                </c:pt>
                <c:pt idx="26">
                  <c:v>0.579807529889849</c:v>
                </c:pt>
                <c:pt idx="27">
                  <c:v>0.5848700897706941</c:v>
                </c:pt>
                <c:pt idx="28">
                  <c:v>0.5898121125115193</c:v>
                </c:pt>
                <c:pt idx="29">
                  <c:v>0.594637852364324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B$2:$B$29</c:f>
              <c:numCache>
                <c:formatCode>General</c:formatCode>
                <c:ptCount val="28"/>
                <c:pt idx="0">
                  <c:v>255.7847880266681</c:v>
                </c:pt>
                <c:pt idx="1">
                  <c:v>242.5167392958476</c:v>
                </c:pt>
                <c:pt idx="2">
                  <c:v>230.10481638422405</c:v>
                </c:pt>
                <c:pt idx="3">
                  <c:v>218.48931383794192</c:v>
                </c:pt>
                <c:pt idx="4">
                  <c:v>207.61360765688264</c:v>
                </c:pt>
                <c:pt idx="5">
                  <c:v>197.42511724106268</c:v>
                </c:pt>
                <c:pt idx="6">
                  <c:v>187.87552684629296</c:v>
                </c:pt>
                <c:pt idx="7">
                  <c:v>178.92052687659802</c:v>
                </c:pt>
                <c:pt idx="8">
                  <c:v>164.55292511641028</c:v>
                </c:pt>
                <c:pt idx="9">
                  <c:v>148.97406061791088</c:v>
                </c:pt>
                <c:pt idx="10">
                  <c:v>134.81906687876474</c:v>
                </c:pt>
                <c:pt idx="11">
                  <c:v>122.00275283692702</c:v>
                </c:pt>
                <c:pt idx="12">
                  <c:v>110.42962378611563</c:v>
                </c:pt>
                <c:pt idx="13">
                  <c:v>100.0</c:v>
                </c:pt>
                <c:pt idx="14">
                  <c:v>90.61558895652941</c:v>
                </c:pt>
                <c:pt idx="15">
                  <c:v>82.18295159553179</c:v>
                </c:pt>
                <c:pt idx="16">
                  <c:v>74.61475173528831</c:v>
                </c:pt>
                <c:pt idx="17">
                  <c:v>67.82964632331687</c:v>
                </c:pt>
                <c:pt idx="18">
                  <c:v>61.41148053625316</c:v>
                </c:pt>
                <c:pt idx="19">
                  <c:v>55.46935392676905</c:v>
                </c:pt>
                <c:pt idx="20">
                  <c:v>50.104334778609285</c:v>
                </c:pt>
                <c:pt idx="21">
                  <c:v>45.280815023400514</c:v>
                </c:pt>
                <c:pt idx="22">
                  <c:v>40.9644864203246</c:v>
                </c:pt>
                <c:pt idx="23">
                  <c:v>37.12034605526058</c:v>
                </c:pt>
                <c:pt idx="24">
                  <c:v>33.71180166946245</c:v>
                </c:pt>
                <c:pt idx="25">
                  <c:v>30.700810688299384</c:v>
                </c:pt>
                <c:pt idx="26">
                  <c:v>28.04871019279306</c:v>
                </c:pt>
                <c:pt idx="27">
                  <c:v>25.7173167402849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C$2:$C$29</c:f>
              <c:numCache>
                <c:formatCode>General</c:formatCode>
                <c:ptCount val="28"/>
                <c:pt idx="0">
                  <c:v>205.29839003054173</c:v>
                </c:pt>
                <c:pt idx="1">
                  <c:v>198.31952048039827</c:v>
                </c:pt>
                <c:pt idx="2">
                  <c:v>191.6537404274388</c:v>
                </c:pt>
                <c:pt idx="3">
                  <c:v>185.2889263476219</c:v>
                </c:pt>
                <c:pt idx="4">
                  <c:v>179.21206074438751</c:v>
                </c:pt>
                <c:pt idx="5">
                  <c:v>173.41030056233154</c:v>
                </c:pt>
                <c:pt idx="6">
                  <c:v>167.8714731497062</c:v>
                </c:pt>
                <c:pt idx="7">
                  <c:v>162.5841576904574</c:v>
                </c:pt>
                <c:pt idx="8">
                  <c:v>152.02848912046272</c:v>
                </c:pt>
                <c:pt idx="9">
                  <c:v>139.9011674045559</c:v>
                </c:pt>
                <c:pt idx="10">
                  <c:v>128.6597821841538</c:v>
                </c:pt>
                <c:pt idx="11">
                  <c:v>118.2862815600739</c:v>
                </c:pt>
                <c:pt idx="12">
                  <c:v>108.74740672876212</c:v>
                </c:pt>
                <c:pt idx="13">
                  <c:v>100.0</c:v>
                </c:pt>
                <c:pt idx="14">
                  <c:v>91.99631917300933</c:v>
                </c:pt>
                <c:pt idx="15">
                  <c:v>84.6876949734246</c:v>
                </c:pt>
                <c:pt idx="16">
                  <c:v>78.02619170935006</c:v>
                </c:pt>
                <c:pt idx="17">
                  <c:v>71.96494408071295</c:v>
                </c:pt>
                <c:pt idx="18">
                  <c:v>66.09163282343405</c:v>
                </c:pt>
                <c:pt idx="19">
                  <c:v>60.54234377374693</c:v>
                </c:pt>
                <c:pt idx="20">
                  <c:v>55.4507166608184</c:v>
                </c:pt>
                <c:pt idx="21">
                  <c:v>50.803118125127476</c:v>
                </c:pt>
                <c:pt idx="22">
                  <c:v>46.58524464503031</c:v>
                </c:pt>
                <c:pt idx="23">
                  <c:v>42.77991887090932</c:v>
                </c:pt>
                <c:pt idx="24">
                  <c:v>39.365987913664895</c:v>
                </c:pt>
                <c:pt idx="25">
                  <c:v>36.31836276970151</c:v>
                </c:pt>
                <c:pt idx="26">
                  <c:v>33.608898739248424</c:v>
                </c:pt>
                <c:pt idx="27">
                  <c:v>31.2076798243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D$2:$D$29</c:f>
              <c:numCache>
                <c:formatCode>General</c:formatCode>
                <c:ptCount val="28"/>
                <c:pt idx="0">
                  <c:v>142.10869512014855</c:v>
                </c:pt>
                <c:pt idx="1">
                  <c:v>143.02797430015067</c:v>
                </c:pt>
                <c:pt idx="2">
                  <c:v>143.57426569966896</c:v>
                </c:pt>
                <c:pt idx="3">
                  <c:v>143.79607801702304</c:v>
                </c:pt>
                <c:pt idx="4">
                  <c:v>143.7358889000539</c:v>
                </c:pt>
                <c:pt idx="5">
                  <c:v>143.43137052630323</c:v>
                </c:pt>
                <c:pt idx="6">
                  <c:v>142.91624920636826</c:v>
                </c:pt>
                <c:pt idx="7">
                  <c:v>142.22082873820048</c:v>
                </c:pt>
                <c:pt idx="8">
                  <c:v>136.42571325226734</c:v>
                </c:pt>
                <c:pt idx="9">
                  <c:v>128.60262103494458</c:v>
                </c:pt>
                <c:pt idx="10">
                  <c:v>120.99220434900133</c:v>
                </c:pt>
                <c:pt idx="11">
                  <c:v>113.66112712683938</c:v>
                </c:pt>
                <c:pt idx="12">
                  <c:v>106.65445245797021</c:v>
                </c:pt>
                <c:pt idx="13">
                  <c:v>100.0</c:v>
                </c:pt>
                <c:pt idx="14">
                  <c:v>93.71339334617643</c:v>
                </c:pt>
                <c:pt idx="15">
                  <c:v>87.8020003958198</c:v>
                </c:pt>
                <c:pt idx="16">
                  <c:v>82.26714051694331</c:v>
                </c:pt>
                <c:pt idx="17">
                  <c:v>77.10500296109718</c:v>
                </c:pt>
                <c:pt idx="18">
                  <c:v>71.90861222025032</c:v>
                </c:pt>
                <c:pt idx="19">
                  <c:v>66.84707888981023</c:v>
                </c:pt>
                <c:pt idx="20">
                  <c:v>62.09447919011743</c:v>
                </c:pt>
                <c:pt idx="21">
                  <c:v>57.664653977519386</c:v>
                </c:pt>
                <c:pt idx="22">
                  <c:v>53.56827464069984</c:v>
                </c:pt>
                <c:pt idx="23">
                  <c:v>49.810388936333574</c:v>
                </c:pt>
                <c:pt idx="24">
                  <c:v>46.389071136765494</c:v>
                </c:pt>
                <c:pt idx="25">
                  <c:v>43.29534642473586</c:v>
                </c:pt>
                <c:pt idx="26">
                  <c:v>40.514141817489815</c:v>
                </c:pt>
                <c:pt idx="27">
                  <c:v>38.02580633325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E$2:$E$29</c:f>
              <c:numCache>
                <c:formatCode>General</c:formatCode>
                <c:ptCount val="28"/>
                <c:pt idx="0">
                  <c:v>0.3089648839010258</c:v>
                </c:pt>
                <c:pt idx="1">
                  <c:v>0.32185733009690226</c:v>
                </c:pt>
                <c:pt idx="2">
                  <c:v>0.33427752551637296</c:v>
                </c:pt>
                <c:pt idx="3">
                  <c:v>0.3462509513164383</c:v>
                </c:pt>
                <c:pt idx="4">
                  <c:v>0.35780128786561793</c:v>
                </c:pt>
                <c:pt idx="5">
                  <c:v>0.36895057106239526</c:v>
                </c:pt>
                <c:pt idx="6">
                  <c:v>0.3797193326483612</c:v>
                </c:pt>
                <c:pt idx="7">
                  <c:v>0.3901267263958719</c:v>
                </c:pt>
                <c:pt idx="8">
                  <c:v>0.40019064180188063</c:v>
                </c:pt>
                <c:pt idx="9">
                  <c:v>0.40992780670769424</c:v>
                </c:pt>
                <c:pt idx="10">
                  <c:v>0.41935388008297064</c:v>
                </c:pt>
                <c:pt idx="11">
                  <c:v>0.4284835360565088</c:v>
                </c:pt>
                <c:pt idx="12">
                  <c:v>0.4373305401423214</c:v>
                </c:pt>
                <c:pt idx="13">
                  <c:v>0.4459078184938104</c:v>
                </c:pt>
                <c:pt idx="14">
                  <c:v>0.4542275209188283</c:v>
                </c:pt>
                <c:pt idx="15">
                  <c:v>0.46230107830168593</c:v>
                </c:pt>
                <c:pt idx="16">
                  <c:v>0.4701392550028276</c:v>
                </c:pt>
                <c:pt idx="17">
                  <c:v>0.4777521967412927</c:v>
                </c:pt>
                <c:pt idx="18">
                  <c:v>0.4851494744078466</c:v>
                </c:pt>
                <c:pt idx="19">
                  <c:v>0.4923401242066196</c:v>
                </c:pt>
                <c:pt idx="20">
                  <c:v>0.4993326844792558</c:v>
                </c:pt>
                <c:pt idx="21">
                  <c:v>0.506135229527092</c:v>
                </c:pt>
                <c:pt idx="22">
                  <c:v>0.5127554007130558</c:v>
                </c:pt>
                <c:pt idx="23">
                  <c:v>0.5192004350951582</c:v>
                </c:pt>
                <c:pt idx="24">
                  <c:v>0.5254771918171536</c:v>
                </c:pt>
                <c:pt idx="25">
                  <c:v>0.5315921764586852</c:v>
                </c:pt>
                <c:pt idx="26">
                  <c:v>0.5375515635266408</c:v>
                </c:pt>
                <c:pt idx="27">
                  <c:v>0.54336121725118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3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151.97313890952026</c:v>
                </c:pt>
                <c:pt idx="1">
                  <c:v>146.10868246458458</c:v>
                </c:pt>
                <c:pt idx="2">
                  <c:v>140.58248931998526</c:v>
                </c:pt>
                <c:pt idx="3">
                  <c:v>135.36635445762758</c:v>
                </c:pt>
                <c:pt idx="4">
                  <c:v>130.47731022583974</c:v>
                </c:pt>
                <c:pt idx="5">
                  <c:v>126.24060049771366</c:v>
                </c:pt>
                <c:pt idx="6">
                  <c:v>122.26233174413899</c:v>
                </c:pt>
                <c:pt idx="7">
                  <c:v>118.51893851947057</c:v>
                </c:pt>
                <c:pt idx="8">
                  <c:v>114.98991084247541</c:v>
                </c:pt>
                <c:pt idx="9">
                  <c:v>111.65728893537903</c:v>
                </c:pt>
                <c:pt idx="10">
                  <c:v>108.50525362776366</c:v>
                </c:pt>
                <c:pt idx="11">
                  <c:v>105.5197930589295</c:v>
                </c:pt>
                <c:pt idx="12">
                  <c:v>102.6884303361151</c:v>
                </c:pt>
                <c:pt idx="13">
                  <c:v>100.0</c:v>
                </c:pt>
                <c:pt idx="14">
                  <c:v>97.30118118692555</c:v>
                </c:pt>
                <c:pt idx="15">
                  <c:v>93.54972430269251</c:v>
                </c:pt>
                <c:pt idx="16">
                  <c:v>90.10647192536207</c:v>
                </c:pt>
                <c:pt idx="17">
                  <c:v>86.9449932057847</c:v>
                </c:pt>
                <c:pt idx="18">
                  <c:v>84.03965028154879</c:v>
                </c:pt>
                <c:pt idx="19">
                  <c:v>81.3661168629113</c:v>
                </c:pt>
                <c:pt idx="20">
                  <c:v>78.90170021405623</c:v>
                </c:pt>
                <c:pt idx="21">
                  <c:v>76.6254989106274</c:v>
                </c:pt>
                <c:pt idx="22">
                  <c:v>74.5184390866252</c:v>
                </c:pt>
                <c:pt idx="23">
                  <c:v>72.56323039189438</c:v>
                </c:pt>
                <c:pt idx="24">
                  <c:v>70.55600552158366</c:v>
                </c:pt>
                <c:pt idx="25">
                  <c:v>67.11425528965003</c:v>
                </c:pt>
                <c:pt idx="26">
                  <c:v>64.00636582901538</c:v>
                </c:pt>
                <c:pt idx="27">
                  <c:v>61.18845740641446</c:v>
                </c:pt>
                <c:pt idx="28">
                  <c:v>58.62308669069674</c:v>
                </c:pt>
                <c:pt idx="29">
                  <c:v>56.278300714656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23.35488651625145</c:v>
                </c:pt>
                <c:pt idx="1">
                  <c:v>120.71079519693524</c:v>
                </c:pt>
                <c:pt idx="2">
                  <c:v>118.18135257074192</c:v>
                </c:pt>
                <c:pt idx="3">
                  <c:v>115.75711911125441</c:v>
                </c:pt>
                <c:pt idx="4">
                  <c:v>113.46636183705756</c:v>
                </c:pt>
                <c:pt idx="5">
                  <c:v>111.61074690285815</c:v>
                </c:pt>
                <c:pt idx="6">
                  <c:v>109.8646109225901</c:v>
                </c:pt>
                <c:pt idx="7">
                  <c:v>108.21767386828482</c:v>
                </c:pt>
                <c:pt idx="8">
                  <c:v>106.6611223939355</c:v>
                </c:pt>
                <c:pt idx="9">
                  <c:v>105.18735566290454</c:v>
                </c:pt>
                <c:pt idx="10">
                  <c:v>103.789778653063</c:v>
                </c:pt>
                <c:pt idx="11">
                  <c:v>102.46263385996004</c:v>
                </c:pt>
                <c:pt idx="12">
                  <c:v>101.2008640340782</c:v>
                </c:pt>
                <c:pt idx="13">
                  <c:v>100.0</c:v>
                </c:pt>
                <c:pt idx="14">
                  <c:v>98.71103309637247</c:v>
                </c:pt>
                <c:pt idx="15">
                  <c:v>96.26338580417264</c:v>
                </c:pt>
                <c:pt idx="16">
                  <c:v>94.02821547886208</c:v>
                </c:pt>
                <c:pt idx="17">
                  <c:v>91.99100260036947</c:v>
                </c:pt>
                <c:pt idx="18">
                  <c:v>90.13654430483294</c:v>
                </c:pt>
                <c:pt idx="19">
                  <c:v>88.44957427421076</c:v>
                </c:pt>
                <c:pt idx="20">
                  <c:v>86.91521175220893</c:v>
                </c:pt>
                <c:pt idx="21">
                  <c:v>85.51925573174402</c:v>
                </c:pt>
                <c:pt idx="22">
                  <c:v>84.24835579538062</c:v>
                </c:pt>
                <c:pt idx="23">
                  <c:v>83.09009435697602</c:v>
                </c:pt>
                <c:pt idx="24">
                  <c:v>81.81512415036268</c:v>
                </c:pt>
                <c:pt idx="25">
                  <c:v>78.80105073713689</c:v>
                </c:pt>
                <c:pt idx="26">
                  <c:v>76.08329709603296</c:v>
                </c:pt>
                <c:pt idx="27">
                  <c:v>73.62372931638994</c:v>
                </c:pt>
                <c:pt idx="28">
                  <c:v>71.38947748433687</c:v>
                </c:pt>
                <c:pt idx="29">
                  <c:v>69.352242769971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82.07378005416143</c:v>
                </c:pt>
                <c:pt idx="1">
                  <c:v>84.07604067968784</c:v>
                </c:pt>
                <c:pt idx="2">
                  <c:v>85.86994383942888</c:v>
                </c:pt>
                <c:pt idx="3">
                  <c:v>87.47316726440717</c:v>
                </c:pt>
                <c:pt idx="4">
                  <c:v>88.93022977636905</c:v>
                </c:pt>
                <c:pt idx="5">
                  <c:v>90.50903493847962</c:v>
                </c:pt>
                <c:pt idx="6">
                  <c:v>91.98248166577858</c:v>
                </c:pt>
                <c:pt idx="7">
                  <c:v>93.35943829713919</c:v>
                </c:pt>
                <c:pt idx="8">
                  <c:v>94.64795309612019</c:v>
                </c:pt>
                <c:pt idx="9">
                  <c:v>95.85536101349349</c:v>
                </c:pt>
                <c:pt idx="10">
                  <c:v>96.9883687025609</c:v>
                </c:pt>
                <c:pt idx="11">
                  <c:v>98.05312348389394</c:v>
                </c:pt>
                <c:pt idx="12">
                  <c:v>99.05527035602191</c:v>
                </c:pt>
                <c:pt idx="13">
                  <c:v>100.0</c:v>
                </c:pt>
                <c:pt idx="14">
                  <c:v>100.74373801973553</c:v>
                </c:pt>
                <c:pt idx="15">
                  <c:v>100.16938171439513</c:v>
                </c:pt>
                <c:pt idx="16">
                  <c:v>99.67048687841194</c:v>
                </c:pt>
                <c:pt idx="17">
                  <c:v>99.24959534064199</c:v>
                </c:pt>
                <c:pt idx="18">
                  <c:v>98.9064416593386</c:v>
                </c:pt>
                <c:pt idx="19">
                  <c:v>98.63872207584394</c:v>
                </c:pt>
                <c:pt idx="20">
                  <c:v>98.44272825864772</c:v>
                </c:pt>
                <c:pt idx="21">
                  <c:v>98.3138386922786</c:v>
                </c:pt>
                <c:pt idx="22">
                  <c:v>98.2468833528518</c:v>
                </c:pt>
                <c:pt idx="23">
                  <c:v>98.23640738205707</c:v>
                </c:pt>
                <c:pt idx="24">
                  <c:v>98.01531912243662</c:v>
                </c:pt>
                <c:pt idx="25">
                  <c:v>95.60862322738103</c:v>
                </c:pt>
                <c:pt idx="26">
                  <c:v>93.44580470757535</c:v>
                </c:pt>
                <c:pt idx="27">
                  <c:v>91.49668546589103</c:v>
                </c:pt>
                <c:pt idx="28">
                  <c:v>89.73472971275322</c:v>
                </c:pt>
                <c:pt idx="29">
                  <c:v>88.136701001408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7257534418467383</c:v>
                </c:pt>
                <c:pt idx="1">
                  <c:v>0.2853371802516093</c:v>
                </c:pt>
                <c:pt idx="2">
                  <c:v>0.29765895300589185</c:v>
                </c:pt>
                <c:pt idx="3">
                  <c:v>0.3095630385481649</c:v>
                </c:pt>
                <c:pt idx="4">
                  <c:v>0.32107032123902896</c:v>
                </c:pt>
                <c:pt idx="5">
                  <c:v>0.33220031597281524</c:v>
                </c:pt>
                <c:pt idx="6">
                  <c:v>0.3429712786184151</c:v>
                </c:pt>
                <c:pt idx="7">
                  <c:v>0.3534003059419322</c:v>
                </c:pt>
                <c:pt idx="8">
                  <c:v>0.36350342616158937</c:v>
                </c:pt>
                <c:pt idx="9">
                  <c:v>0.37329568114371897</c:v>
                </c:pt>
                <c:pt idx="10">
                  <c:v>0.38279120112638976</c:v>
                </c:pt>
                <c:pt idx="11">
                  <c:v>0.39200327275136904</c:v>
                </c:pt>
                <c:pt idx="12">
                  <c:v>0.4009444010932606</c:v>
                </c:pt>
                <c:pt idx="13">
                  <c:v>0.40962636629480764</c:v>
                </c:pt>
                <c:pt idx="14">
                  <c:v>0.41806027534773893</c:v>
                </c:pt>
                <c:pt idx="15">
                  <c:v>0.4262566094977708</c:v>
                </c:pt>
                <c:pt idx="16">
                  <c:v>0.43422526769919056</c:v>
                </c:pt>
                <c:pt idx="17">
                  <c:v>0.44197560649783196</c:v>
                </c:pt>
                <c:pt idx="18">
                  <c:v>0.4495164766802937</c:v>
                </c:pt>
                <c:pt idx="19">
                  <c:v>0.456856256991223</c:v>
                </c:pt>
                <c:pt idx="20">
                  <c:v>0.4640028851887071</c:v>
                </c:pt>
                <c:pt idx="21">
                  <c:v>0.4709638866797628</c:v>
                </c:pt>
                <c:pt idx="22">
                  <c:v>0.47774640095309906</c:v>
                </c:pt>
                <c:pt idx="23">
                  <c:v>0.4843572060043258</c:v>
                </c:pt>
                <c:pt idx="24">
                  <c:v>0.49080274092927173</c:v>
                </c:pt>
                <c:pt idx="25">
                  <c:v>0.4970891268437251</c:v>
                </c:pt>
                <c:pt idx="26">
                  <c:v>0.5032221862724601</c:v>
                </c:pt>
                <c:pt idx="27">
                  <c:v>0.5092074611366475</c:v>
                </c:pt>
                <c:pt idx="28">
                  <c:v>0.5150502294564491</c:v>
                </c:pt>
                <c:pt idx="29">
                  <c:v>0.52075552087460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Veuve du Vern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French Bloom</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Lyr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4</c:f>
              <c:numCache>
                <c:formatCode>General</c:formatCode>
                <c:ptCount val="3"/>
                <c:pt idx="0">
                  <c:v>-2.0775439660407957</c:v>
                </c:pt>
                <c:pt idx="1">
                  <c:v>-1.8410551404993287</c:v>
                </c:pt>
                <c:pt idx="2">
                  <c:v>-0.8841923448966379</c:v>
                </c:pt>
              </c:numCache>
            </c:numRef>
          </c:xVal>
          <c:yVal>
            <c:numRef>
              <c:f>Sheet1!$B$2:$B$4</c:f>
              <c:numCache>
                <c:formatCode>General</c:formatCode>
                <c:ptCount val="3"/>
                <c:pt idx="0">
                  <c:v>-1.289477640585609</c:v>
                </c:pt>
                <c:pt idx="1">
                  <c:v>-1.194669335207226</c:v>
                </c:pt>
                <c:pt idx="2">
                  <c:v>-0.818301178699670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3.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2.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utz (4.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Taittinger (2.2%)</c:v>
                </c:pt>
                <c:pt idx="2">
                  <c:v>Ayala (1.7%)</c:v>
                </c:pt>
                <c:pt idx="3">
                  <c:v>Laurent Perrier (3.9%)</c:v>
                </c:pt>
                <c:pt idx="4">
                  <c:v>Nicolas (14.4%)</c:v>
                </c:pt>
                <c:pt idx="5">
                  <c:v>Malard (6.0%)</c:v>
                </c:pt>
                <c:pt idx="6">
                  <c:v>Veuve Clicquot (1.7%)</c:v>
                </c:pt>
                <c:pt idx="7">
                  <c:v>Perrier-Jouët (0.9%)</c:v>
                </c:pt>
                <c:pt idx="8">
                  <c:v>Demoiselle (3.5%)</c:v>
                </c:pt>
                <c:pt idx="9">
                  <c:v>Nicolas Feuillatte (4.5%)</c:v>
                </c:pt>
              </c:strCache>
            </c:strRef>
          </c:cat>
          <c:val>
            <c:numRef>
              <c:f>Sheet1!$B$2:$B$11</c:f>
              <c:numCache>
                <c:formatCode>General</c:formatCode>
                <c:ptCount val="10"/>
                <c:pt idx="0">
                  <c:v>0.14651641001863325</c:v>
                </c:pt>
                <c:pt idx="1">
                  <c:v>0.11410363108214452</c:v>
                </c:pt>
                <c:pt idx="2">
                  <c:v>0.09549991548798499</c:v>
                </c:pt>
                <c:pt idx="3">
                  <c:v>0.06475367420720334</c:v>
                </c:pt>
                <c:pt idx="4">
                  <c:v>0.05315481701839176</c:v>
                </c:pt>
                <c:pt idx="5">
                  <c:v>0.044733967895013</c:v>
                </c:pt>
                <c:pt idx="6">
                  <c:v>0.04365471128697045</c:v>
                </c:pt>
                <c:pt idx="7">
                  <c:v>0.03774385437910974</c:v>
                </c:pt>
                <c:pt idx="8">
                  <c:v>0.03752683170850013</c:v>
                </c:pt>
                <c:pt idx="9">
                  <c:v>0.03375476509108761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B$2:$B$42</c:f>
              <c:numCache>
                <c:formatCode>General</c:formatCode>
                <c:ptCount val="41"/>
                <c:pt idx="0">
                  <c:v>137.58429392227262</c:v>
                </c:pt>
                <c:pt idx="1">
                  <c:v>135.98136824822987</c:v>
                </c:pt>
                <c:pt idx="2">
                  <c:v>134.43791236485336</c:v>
                </c:pt>
                <c:pt idx="3">
                  <c:v>132.95048045473803</c:v>
                </c:pt>
                <c:pt idx="4">
                  <c:v>131.51588372115515</c:v>
                </c:pt>
                <c:pt idx="5">
                  <c:v>130.13116714867087</c:v>
                </c:pt>
                <c:pt idx="6">
                  <c:v>128.79358911860103</c:v>
                </c:pt>
                <c:pt idx="7">
                  <c:v>127.50060340753701</c:v>
                </c:pt>
                <c:pt idx="8">
                  <c:v>126.24984313082186</c:v>
                </c:pt>
                <c:pt idx="9">
                  <c:v>125.03910626573997</c:v>
                </c:pt>
                <c:pt idx="10">
                  <c:v>123.72560057117458</c:v>
                </c:pt>
                <c:pt idx="11">
                  <c:v>121.2141845477969</c:v>
                </c:pt>
                <c:pt idx="12">
                  <c:v>118.79388241457501</c:v>
                </c:pt>
                <c:pt idx="13">
                  <c:v>116.46016240156771</c:v>
                </c:pt>
                <c:pt idx="14">
                  <c:v>114.20980156464984</c:v>
                </c:pt>
                <c:pt idx="15">
                  <c:v>112.04076185631348</c:v>
                </c:pt>
                <c:pt idx="16">
                  <c:v>109.95185490655214</c:v>
                </c:pt>
                <c:pt idx="17">
                  <c:v>107.94226150303865</c:v>
                </c:pt>
                <c:pt idx="18">
                  <c:v>106.01102959585982</c:v>
                </c:pt>
                <c:pt idx="19">
                  <c:v>104.1566826029726</c:v>
                </c:pt>
                <c:pt idx="20">
                  <c:v>102.42868097413952</c:v>
                </c:pt>
                <c:pt idx="21">
                  <c:v>101.20679464755816</c:v>
                </c:pt>
                <c:pt idx="22">
                  <c:v>100.0</c:v>
                </c:pt>
                <c:pt idx="23">
                  <c:v>98.80815406377017</c:v>
                </c:pt>
                <c:pt idx="24">
                  <c:v>97.6311051242492</c:v>
                </c:pt>
                <c:pt idx="25">
                  <c:v>96.46871996973906</c:v>
                </c:pt>
                <c:pt idx="26">
                  <c:v>95.32090492150529</c:v>
                </c:pt>
                <c:pt idx="27">
                  <c:v>94.18761953898657</c:v>
                </c:pt>
                <c:pt idx="28">
                  <c:v>93.06888281048913</c:v>
                </c:pt>
                <c:pt idx="29">
                  <c:v>91.38429133027822</c:v>
                </c:pt>
                <c:pt idx="30">
                  <c:v>89.73427325894635</c:v>
                </c:pt>
                <c:pt idx="31">
                  <c:v>88.11813107806806</c:v>
                </c:pt>
                <c:pt idx="32">
                  <c:v>86.53521394103028</c:v>
                </c:pt>
                <c:pt idx="33">
                  <c:v>84.98491772475818</c:v>
                </c:pt>
                <c:pt idx="34">
                  <c:v>83.46668265576567</c:v>
                </c:pt>
                <c:pt idx="35">
                  <c:v>81.97998897541864</c:v>
                </c:pt>
                <c:pt idx="36">
                  <c:v>80.5243511562481</c:v>
                </c:pt>
                <c:pt idx="37">
                  <c:v>79.09931118844749</c:v>
                </c:pt>
                <c:pt idx="38">
                  <c:v>77.7044314287946</c:v>
                </c:pt>
                <c:pt idx="39">
                  <c:v>76.33928745021554</c:v>
                </c:pt>
                <c:pt idx="40">
                  <c:v>75.003461257190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C$2:$C$42</c:f>
              <c:numCache>
                <c:formatCode>General</c:formatCode>
                <c:ptCount val="41"/>
                <c:pt idx="0">
                  <c:v>112.84619432135095</c:v>
                </c:pt>
                <c:pt idx="1">
                  <c:v>112.63797038392521</c:v>
                </c:pt>
                <c:pt idx="2">
                  <c:v>112.45271854668555</c:v>
                </c:pt>
                <c:pt idx="3">
                  <c:v>112.28898227764492</c:v>
                </c:pt>
                <c:pt idx="4">
                  <c:v>112.14541315086875</c:v>
                </c:pt>
                <c:pt idx="5">
                  <c:v>112.02076116673254</c:v>
                </c:pt>
                <c:pt idx="6">
                  <c:v>111.91386640492205</c:v>
                </c:pt>
                <c:pt idx="7">
                  <c:v>111.82365176716192</c:v>
                </c:pt>
                <c:pt idx="8">
                  <c:v>111.7491165668081</c:v>
                </c:pt>
                <c:pt idx="9">
                  <c:v>111.68933075776042</c:v>
                </c:pt>
                <c:pt idx="10">
                  <c:v>111.51794710379639</c:v>
                </c:pt>
                <c:pt idx="11">
                  <c:v>110.24846630906806</c:v>
                </c:pt>
                <c:pt idx="12">
                  <c:v>109.02285052948473</c:v>
                </c:pt>
                <c:pt idx="13">
                  <c:v>107.83899489690538</c:v>
                </c:pt>
                <c:pt idx="14">
                  <c:v>106.69586396691938</c:v>
                </c:pt>
                <c:pt idx="15">
                  <c:v>105.5934244080283</c:v>
                </c:pt>
                <c:pt idx="16">
                  <c:v>104.53237593530733</c:v>
                </c:pt>
                <c:pt idx="17">
                  <c:v>103.51373151136967</c:v>
                </c:pt>
                <c:pt idx="18">
                  <c:v>102.53835630741723</c:v>
                </c:pt>
                <c:pt idx="19">
                  <c:v>101.60658971682395</c:v>
                </c:pt>
                <c:pt idx="20">
                  <c:v>100.76706857315938</c:v>
                </c:pt>
                <c:pt idx="21">
                  <c:v>100.38562728611129</c:v>
                </c:pt>
                <c:pt idx="22">
                  <c:v>100.0</c:v>
                </c:pt>
                <c:pt idx="23">
                  <c:v>99.61039044559718</c:v>
                </c:pt>
                <c:pt idx="24">
                  <c:v>99.21699124517332</c:v>
                </c:pt>
                <c:pt idx="25">
                  <c:v>98.82001088510934</c:v>
                </c:pt>
                <c:pt idx="26">
                  <c:v>98.4196955363111</c:v>
                </c:pt>
                <c:pt idx="27">
                  <c:v>98.01634429828482</c:v>
                </c:pt>
                <c:pt idx="28">
                  <c:v>97.61031731170965</c:v>
                </c:pt>
                <c:pt idx="29">
                  <c:v>96.60146684427741</c:v>
                </c:pt>
                <c:pt idx="30">
                  <c:v>95.60276689216572</c:v>
                </c:pt>
                <c:pt idx="31">
                  <c:v>94.6142424044344</c:v>
                </c:pt>
                <c:pt idx="32">
                  <c:v>93.63594921545231</c:v>
                </c:pt>
                <c:pt idx="33">
                  <c:v>92.66797570134221</c:v>
                </c:pt>
                <c:pt idx="34">
                  <c:v>91.7104418618421</c:v>
                </c:pt>
                <c:pt idx="35">
                  <c:v>90.76349619804559</c:v>
                </c:pt>
                <c:pt idx="36">
                  <c:v>89.82731083441408</c:v>
                </c:pt>
                <c:pt idx="37">
                  <c:v>88.90207537187956</c:v>
                </c:pt>
                <c:pt idx="38">
                  <c:v>87.9879899607041</c:v>
                </c:pt>
                <c:pt idx="39">
                  <c:v>87.08525805214066</c:v>
                </c:pt>
                <c:pt idx="40">
                  <c:v>86.194079233718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D$2:$D$42</c:f>
              <c:numCache>
                <c:formatCode>General</c:formatCode>
                <c:ptCount val="41"/>
                <c:pt idx="0">
                  <c:v>70.50446745312374</c:v>
                </c:pt>
                <c:pt idx="1">
                  <c:v>72.69661491071999</c:v>
                </c:pt>
                <c:pt idx="2">
                  <c:v>74.85082661135543</c:v>
                </c:pt>
                <c:pt idx="3">
                  <c:v>76.96906149749509</c:v>
                </c:pt>
                <c:pt idx="4">
                  <c:v>79.05312754584082</c:v>
                </c:pt>
                <c:pt idx="5">
                  <c:v>81.10469576320662</c:v>
                </c:pt>
                <c:pt idx="6">
                  <c:v>83.12531293482297</c:v>
                </c:pt>
                <c:pt idx="7">
                  <c:v>85.11641325300145</c:v>
                </c:pt>
                <c:pt idx="8">
                  <c:v>87.07932889366332</c:v>
                </c:pt>
                <c:pt idx="9">
                  <c:v>89.01529958243705</c:v>
                </c:pt>
                <c:pt idx="10">
                  <c:v>90.82216801356657</c:v>
                </c:pt>
                <c:pt idx="11">
                  <c:v>91.66493065672712</c:v>
                </c:pt>
                <c:pt idx="12">
                  <c:v>92.46730111800763</c:v>
                </c:pt>
                <c:pt idx="13">
                  <c:v>93.2317091861172</c:v>
                </c:pt>
                <c:pt idx="14">
                  <c:v>93.96125970614968</c:v>
                </c:pt>
                <c:pt idx="15">
                  <c:v>94.65977290376807</c:v>
                </c:pt>
                <c:pt idx="16">
                  <c:v>95.33162503577266</c:v>
                </c:pt>
                <c:pt idx="17">
                  <c:v>95.98141526653905</c:v>
                </c:pt>
                <c:pt idx="18">
                  <c:v>96.61354907830815</c:v>
                </c:pt>
                <c:pt idx="19">
                  <c:v>97.2318578988896</c:v>
                </c:pt>
                <c:pt idx="20">
                  <c:v>97.88872160593723</c:v>
                </c:pt>
                <c:pt idx="21">
                  <c:v>98.96389387447341</c:v>
                </c:pt>
                <c:pt idx="22">
                  <c:v>100.0</c:v>
                </c:pt>
                <c:pt idx="23">
                  <c:v>100.99789721202879</c:v>
                </c:pt>
                <c:pt idx="24">
                  <c:v>101.95842093190544</c:v>
                </c:pt>
                <c:pt idx="25">
                  <c:v>102.88241286512552</c:v>
                </c:pt>
                <c:pt idx="26">
                  <c:v>103.77074594587931</c:v>
                </c:pt>
                <c:pt idx="27">
                  <c:v>104.62434394146744</c:v>
                </c:pt>
                <c:pt idx="28">
                  <c:v>105.44419436537306</c:v>
                </c:pt>
                <c:pt idx="29">
                  <c:v>105.56082254741438</c:v>
                </c:pt>
                <c:pt idx="30">
                  <c:v>105.64348738359686</c:v>
                </c:pt>
                <c:pt idx="31">
                  <c:v>105.693650834962</c:v>
                </c:pt>
                <c:pt idx="32">
                  <c:v>105.71277004517245</c:v>
                </c:pt>
                <c:pt idx="33">
                  <c:v>105.7023025764487</c:v>
                </c:pt>
                <c:pt idx="34">
                  <c:v>105.66370858162799</c:v>
                </c:pt>
                <c:pt idx="35">
                  <c:v>105.5984501348691</c:v>
                </c:pt>
                <c:pt idx="36">
                  <c:v>105.50798808746671</c:v>
                </c:pt>
                <c:pt idx="37">
                  <c:v>105.39377691570336</c:v>
                </c:pt>
                <c:pt idx="38">
                  <c:v>105.25725808327842</c:v>
                </c:pt>
                <c:pt idx="39">
                  <c:v>105.09985245374666</c:v>
                </c:pt>
                <c:pt idx="40">
                  <c:v>104.9229522639460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E$2:$E$42</c:f>
              <c:numCache>
                <c:formatCode>General</c:formatCode>
                <c:ptCount val="41"/>
                <c:pt idx="0">
                  <c:v>0.25692411988210284</c:v>
                </c:pt>
                <c:pt idx="1">
                  <c:v>0.2650897888943875</c:v>
                </c:pt>
                <c:pt idx="2">
                  <c:v>0.2730779433629267</c:v>
                </c:pt>
                <c:pt idx="3">
                  <c:v>0.2808943095633253</c:v>
                </c:pt>
                <c:pt idx="4">
                  <c:v>0.2885443700998857</c:v>
                </c:pt>
                <c:pt idx="5">
                  <c:v>0.29603337673041313</c:v>
                </c:pt>
                <c:pt idx="6">
                  <c:v>0.3033663623894715</c:v>
                </c:pt>
                <c:pt idx="7">
                  <c:v>0.3105481524679305</c:v>
                </c:pt>
                <c:pt idx="8">
                  <c:v>0.3175833754019312</c:v>
                </c:pt>
                <c:pt idx="9">
                  <c:v>0.32447647262009344</c:v>
                </c:pt>
                <c:pt idx="10">
                  <c:v>0.3312317078938926</c:v>
                </c:pt>
                <c:pt idx="11">
                  <c:v>0.33785317613256693</c:v>
                </c:pt>
                <c:pt idx="12">
                  <c:v>0.34434481166067904</c:v>
                </c:pt>
                <c:pt idx="13">
                  <c:v>0.35071039601348797</c:v>
                </c:pt>
                <c:pt idx="14">
                  <c:v>0.35695356528258904</c:v>
                </c:pt>
                <c:pt idx="15">
                  <c:v>0.36307781704180253</c:v>
                </c:pt>
                <c:pt idx="16">
                  <c:v>0.36908651688103067</c:v>
                </c:pt>
                <c:pt idx="17">
                  <c:v>0.3749829045737314</c:v>
                </c:pt>
                <c:pt idx="18">
                  <c:v>0.3807700999017523</c:v>
                </c:pt>
                <c:pt idx="19">
                  <c:v>0.38645110815953454</c:v>
                </c:pt>
                <c:pt idx="20">
                  <c:v>0.3920288253580842</c:v>
                </c:pt>
                <c:pt idx="21">
                  <c:v>0.397506043147651</c:v>
                </c:pt>
                <c:pt idx="22">
                  <c:v>0.40288545347668986</c:v>
                </c:pt>
                <c:pt idx="23">
                  <c:v>0.40816965300344477</c:v>
                </c:pt>
                <c:pt idx="24">
                  <c:v>0.4133611472753444</c:v>
                </c:pt>
                <c:pt idx="25">
                  <c:v>0.4184623546903414</c:v>
                </c:pt>
                <c:pt idx="26">
                  <c:v>0.42347561025335567</c:v>
                </c:pt>
                <c:pt idx="27">
                  <c:v>0.4284031691400792</c:v>
                </c:pt>
                <c:pt idx="28">
                  <c:v>0.43324721007956996</c:v>
                </c:pt>
                <c:pt idx="29">
                  <c:v>0.43800983856629633</c:v>
                </c:pt>
                <c:pt idx="30">
                  <c:v>0.4426930899115772</c:v>
                </c:pt>
                <c:pt idx="31">
                  <c:v>0.44729893214371297</c:v>
                </c:pt>
                <c:pt idx="32">
                  <c:v>0.45182926876548574</c:v>
                </c:pt>
                <c:pt idx="33">
                  <c:v>0.45628594137714845</c:v>
                </c:pt>
                <c:pt idx="34">
                  <c:v>0.46067073217249405</c:v>
                </c:pt>
                <c:pt idx="35">
                  <c:v>0.46498536631511417</c:v>
                </c:pt>
                <c:pt idx="36">
                  <c:v>0.4692315142015021</c:v>
                </c:pt>
                <c:pt idx="37">
                  <c:v>0.4734107936172382</c:v>
                </c:pt>
                <c:pt idx="38">
                  <c:v>0.4775247717921035</c:v>
                </c:pt>
                <c:pt idx="39">
                  <c:v>0.4815749673596067</c:v>
                </c:pt>
                <c:pt idx="40">
                  <c:v>0.485562852226071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67.3495157050101</c:v>
                </c:pt>
                <c:pt idx="1">
                  <c:v>165.5023239575812</c:v>
                </c:pt>
                <c:pt idx="2">
                  <c:v>163.70843345110006</c:v>
                </c:pt>
                <c:pt idx="3">
                  <c:v>161.96538583923186</c:v>
                </c:pt>
                <c:pt idx="4">
                  <c:v>159.94800069964293</c:v>
                </c:pt>
                <c:pt idx="5">
                  <c:v>155.1940715275775</c:v>
                </c:pt>
                <c:pt idx="6">
                  <c:v>150.7048217227993</c:v>
                </c:pt>
                <c:pt idx="7">
                  <c:v>146.47113677215776</c:v>
                </c:pt>
                <c:pt idx="8">
                  <c:v>142.48103354592695</c:v>
                </c:pt>
                <c:pt idx="9">
                  <c:v>138.72021874560338</c:v>
                </c:pt>
                <c:pt idx="10">
                  <c:v>135.17297880989653</c:v>
                </c:pt>
                <c:pt idx="11">
                  <c:v>131.82310524623955</c:v>
                </c:pt>
                <c:pt idx="12">
                  <c:v>128.65466296762864</c:v>
                </c:pt>
                <c:pt idx="13">
                  <c:v>125.65252583804367</c:v>
                </c:pt>
                <c:pt idx="14">
                  <c:v>122.83387629088335</c:v>
                </c:pt>
                <c:pt idx="15">
                  <c:v>120.40789955753229</c:v>
                </c:pt>
                <c:pt idx="16">
                  <c:v>118.06506699700708</c:v>
                </c:pt>
                <c:pt idx="17">
                  <c:v>115.80166367366027</c:v>
                </c:pt>
                <c:pt idx="18">
                  <c:v>113.61403336910058</c:v>
                </c:pt>
                <c:pt idx="19">
                  <c:v>111.49861241340422</c:v>
                </c:pt>
                <c:pt idx="20">
                  <c:v>109.45195496510998</c:v>
                </c:pt>
                <c:pt idx="21">
                  <c:v>107.47075096964656</c:v>
                </c:pt>
                <c:pt idx="22">
                  <c:v>105.55183798043426</c:v>
                </c:pt>
                <c:pt idx="23">
                  <c:v>102.71778671510307</c:v>
                </c:pt>
                <c:pt idx="24">
                  <c:v>100.0</c:v>
                </c:pt>
                <c:pt idx="25">
                  <c:v>97.39348611075113</c:v>
                </c:pt>
                <c:pt idx="26">
                  <c:v>94.89335550839105</c:v>
                </c:pt>
                <c:pt idx="27">
                  <c:v>92.49483232203562</c:v>
                </c:pt>
                <c:pt idx="28">
                  <c:v>90.19326464234534</c:v>
                </c:pt>
                <c:pt idx="29">
                  <c:v>87.98413367190491</c:v>
                </c:pt>
                <c:pt idx="30">
                  <c:v>85.86306172957676</c:v>
                </c:pt>
                <c:pt idx="31">
                  <c:v>83.82581907448761</c:v>
                </c:pt>
                <c:pt idx="32">
                  <c:v>81.86832950302112</c:v>
                </c:pt>
                <c:pt idx="33">
                  <c:v>79.9866746771351</c:v>
                </c:pt>
                <c:pt idx="34">
                  <c:v>78.1770971606012</c:v>
                </c:pt>
                <c:pt idx="35">
                  <c:v>76.43600216651834</c:v>
                </c:pt>
                <c:pt idx="36">
                  <c:v>74.75995804985432</c:v>
                </c:pt>
                <c:pt idx="37">
                  <c:v>73.14569560866776</c:v>
                </c:pt>
                <c:pt idx="38">
                  <c:v>71.59010628396757</c:v>
                </c:pt>
                <c:pt idx="39">
                  <c:v>70.09023936888623</c:v>
                </c:pt>
                <c:pt idx="40">
                  <c:v>68.64329835208906</c:v>
                </c:pt>
                <c:pt idx="41">
                  <c:v>67.24663652800695</c:v>
                </c:pt>
                <c:pt idx="42">
                  <c:v>65.89775200815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34.4551868066448</c:v>
                </c:pt>
                <c:pt idx="1">
                  <c:v>134.32294873188704</c:v>
                </c:pt>
                <c:pt idx="2">
                  <c:v>134.20411711368112</c:v>
                </c:pt>
                <c:pt idx="3">
                  <c:v>134.0979637710882</c:v>
                </c:pt>
                <c:pt idx="4">
                  <c:v>133.73383254873633</c:v>
                </c:pt>
                <c:pt idx="5">
                  <c:v>131.0267051667122</c:v>
                </c:pt>
                <c:pt idx="6">
                  <c:v>128.46843947597594</c:v>
                </c:pt>
                <c:pt idx="7">
                  <c:v>126.05751554158482</c:v>
                </c:pt>
                <c:pt idx="8">
                  <c:v>123.78964610483456</c:v>
                </c:pt>
                <c:pt idx="9">
                  <c:v>121.65814913806648</c:v>
                </c:pt>
                <c:pt idx="10">
                  <c:v>119.65463954131998</c:v>
                </c:pt>
                <c:pt idx="11">
                  <c:v>117.7697950424027</c:v>
                </c:pt>
                <c:pt idx="12">
                  <c:v>115.99402551513522</c:v>
                </c:pt>
                <c:pt idx="13">
                  <c:v>114.31796829464429</c:v>
                </c:pt>
                <c:pt idx="14">
                  <c:v>112.76112478211806</c:v>
                </c:pt>
                <c:pt idx="15">
                  <c:v>111.51935658880423</c:v>
                </c:pt>
                <c:pt idx="16">
                  <c:v>110.31595290350502</c:v>
                </c:pt>
                <c:pt idx="17">
                  <c:v>109.1494139248658</c:v>
                </c:pt>
                <c:pt idx="18">
                  <c:v>108.01817807937238</c:v>
                </c:pt>
                <c:pt idx="19">
                  <c:v>106.92065651906526</c:v>
                </c:pt>
                <c:pt idx="20">
                  <c:v>105.85526101296776</c:v>
                </c:pt>
                <c:pt idx="21">
                  <c:v>104.820425950899</c:v>
                </c:pt>
                <c:pt idx="22">
                  <c:v>103.81462521133413</c:v>
                </c:pt>
                <c:pt idx="23">
                  <c:v>101.87227746060323</c:v>
                </c:pt>
                <c:pt idx="24">
                  <c:v>100.0</c:v>
                </c:pt>
                <c:pt idx="25">
                  <c:v>98.19556920017608</c:v>
                </c:pt>
                <c:pt idx="26">
                  <c:v>96.45670787003375</c:v>
                </c:pt>
                <c:pt idx="27">
                  <c:v>94.78110058954987</c:v>
                </c:pt>
                <c:pt idx="28">
                  <c:v>93.1664084193334</c:v>
                </c:pt>
                <c:pt idx="29">
                  <c:v>91.61028296698233</c:v>
                </c:pt>
                <c:pt idx="30">
                  <c:v>90.11037974141938</c:v>
                </c:pt>
                <c:pt idx="31">
                  <c:v>88.66437069263927</c:v>
                </c:pt>
                <c:pt idx="32">
                  <c:v>87.2699558186252</c:v>
                </c:pt>
                <c:pt idx="33">
                  <c:v>85.92487372314778</c:v>
                </c:pt>
                <c:pt idx="34">
                  <c:v>84.62691102491242</c:v>
                </c:pt>
                <c:pt idx="35">
                  <c:v>83.37391054589676</c:v>
                </c:pt>
                <c:pt idx="36">
                  <c:v>82.16377824010512</c:v>
                </c:pt>
                <c:pt idx="37">
                  <c:v>80.99448885908409</c:v>
                </c:pt>
                <c:pt idx="38">
                  <c:v>79.86409038390802</c:v>
                </c:pt>
                <c:pt idx="39">
                  <c:v>78.77070728243837</c:v>
                </c:pt>
                <c:pt idx="40">
                  <c:v>77.71254267400116</c:v>
                </c:pt>
                <c:pt idx="41">
                  <c:v>76.6878795005867</c:v>
                </c:pt>
                <c:pt idx="42">
                  <c:v>75.695080814348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83.29493325116063</c:v>
                </c:pt>
                <c:pt idx="1">
                  <c:v>85.83914627468575</c:v>
                </c:pt>
                <c:pt idx="2">
                  <c:v>88.33480421406273</c:v>
                </c:pt>
                <c:pt idx="3">
                  <c:v>90.78387558105806</c:v>
                </c:pt>
                <c:pt idx="4">
                  <c:v>93.00047893908243</c:v>
                </c:pt>
                <c:pt idx="5">
                  <c:v>93.4842313701982</c:v>
                </c:pt>
                <c:pt idx="6">
                  <c:v>93.9339783310825</c:v>
                </c:pt>
                <c:pt idx="7">
                  <c:v>94.36046557003587</c:v>
                </c:pt>
                <c:pt idx="8">
                  <c:v>94.7717677742572</c:v>
                </c:pt>
                <c:pt idx="9">
                  <c:v>95.17337153989587</c:v>
                </c:pt>
                <c:pt idx="10">
                  <c:v>95.56856280899756</c:v>
                </c:pt>
                <c:pt idx="11">
                  <c:v>95.95895183719956</c:v>
                </c:pt>
                <c:pt idx="12">
                  <c:v>96.3449967850662</c:v>
                </c:pt>
                <c:pt idx="13">
                  <c:v>96.72644458627072</c:v>
                </c:pt>
                <c:pt idx="14">
                  <c:v>97.12732300498084</c:v>
                </c:pt>
                <c:pt idx="15">
                  <c:v>97.72893703077428</c:v>
                </c:pt>
                <c:pt idx="16">
                  <c:v>98.29823375777971</c:v>
                </c:pt>
                <c:pt idx="17">
                  <c:v>98.83726257032353</c:v>
                </c:pt>
                <c:pt idx="18">
                  <c:v>99.34781321377754</c:v>
                </c:pt>
                <c:pt idx="19">
                  <c:v>99.83145222983316</c:v>
                </c:pt>
                <c:pt idx="20">
                  <c:v>100.28955580449457</c:v>
                </c:pt>
                <c:pt idx="21">
                  <c:v>100.72333892852158</c:v>
                </c:pt>
                <c:pt idx="22">
                  <c:v>101.13388093242341</c:v>
                </c:pt>
                <c:pt idx="23">
                  <c:v>100.56811893831747</c:v>
                </c:pt>
                <c:pt idx="24">
                  <c:v>100.0</c:v>
                </c:pt>
                <c:pt idx="25">
                  <c:v>99.43172744612743</c:v>
                </c:pt>
                <c:pt idx="26">
                  <c:v>98.86519320254287</c:v>
                </c:pt>
                <c:pt idx="27">
                  <c:v>98.30200068850408</c:v>
                </c:pt>
                <c:pt idx="28">
                  <c:v>97.74348786600186</c:v>
                </c:pt>
                <c:pt idx="29">
                  <c:v>97.19075031890661</c:v>
                </c:pt>
                <c:pt idx="30">
                  <c:v>96.64466419117358</c:v>
                </c:pt>
                <c:pt idx="31">
                  <c:v>96.10590877684996</c:v>
                </c:pt>
                <c:pt idx="32">
                  <c:v>95.57498853453097</c:v>
                </c:pt>
                <c:pt idx="33">
                  <c:v>95.05225429698366</c:v>
                </c:pt>
                <c:pt idx="34">
                  <c:v>94.53792346178452</c:v>
                </c:pt>
                <c:pt idx="35">
                  <c:v>94.03209897780889</c:v>
                </c:pt>
                <c:pt idx="36">
                  <c:v>93.53478698101344</c:v>
                </c:pt>
                <c:pt idx="37">
                  <c:v>93.04591297663212</c:v>
                </c:pt>
                <c:pt idx="38">
                  <c:v>92.5653365095757</c:v>
                </c:pt>
                <c:pt idx="39">
                  <c:v>92.09286430711352</c:v>
                </c:pt>
                <c:pt idx="40">
                  <c:v>91.62826191545493</c:v>
                </c:pt>
                <c:pt idx="41">
                  <c:v>91.1712638831603</c:v>
                </c:pt>
                <c:pt idx="42">
                  <c:v>90.721582568810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24774060741094645</c:v>
                </c:pt>
                <c:pt idx="1">
                  <c:v>0.2554958588809365</c:v>
                </c:pt>
                <c:pt idx="2">
                  <c:v>0.26309283991276383</c:v>
                </c:pt>
                <c:pt idx="3">
                  <c:v>0.2705363465803117</c:v>
                </c:pt>
                <c:pt idx="4">
                  <c:v>0.27783098311450855</c:v>
                </c:pt>
                <c:pt idx="5">
                  <c:v>0.2849811714005035</c:v>
                </c:pt>
                <c:pt idx="6">
                  <c:v>0.29199115991618496</c:v>
                </c:pt>
                <c:pt idx="7">
                  <c:v>0.29886503215000837</c:v>
                </c:pt>
                <c:pt idx="8">
                  <c:v>0.30560671453318117</c:v>
                </c:pt>
                <c:pt idx="9">
                  <c:v>0.3122199839185796</c:v>
                </c:pt>
                <c:pt idx="10">
                  <c:v>0.31870847463632884</c:v>
                </c:pt>
                <c:pt idx="11">
                  <c:v>0.3250756851537464</c:v>
                </c:pt>
                <c:pt idx="12">
                  <c:v>0.3313249843652858</c:v>
                </c:pt>
                <c:pt idx="13">
                  <c:v>0.33745961753624637</c:v>
                </c:pt>
                <c:pt idx="14">
                  <c:v>0.34348271192228064</c:v>
                </c:pt>
                <c:pt idx="15">
                  <c:v>0.3493972820851429</c:v>
                </c:pt>
                <c:pt idx="16">
                  <c:v>0.3552062349236683</c:v>
                </c:pt>
                <c:pt idx="17">
                  <c:v>0.36091237443761803</c:v>
                </c:pt>
                <c:pt idx="18">
                  <c:v>0.36651840624079696</c:v>
                </c:pt>
                <c:pt idx="19">
                  <c:v>0.37202694183870305</c:v>
                </c:pt>
                <c:pt idx="20">
                  <c:v>0.377440502684921</c:v>
                </c:pt>
                <c:pt idx="21">
                  <c:v>0.3827615240294944</c:v>
                </c:pt>
                <c:pt idx="22">
                  <c:v>0.38799235857161735</c:v>
                </c:pt>
                <c:pt idx="23">
                  <c:v>0.39313527992815844</c:v>
                </c:pt>
                <c:pt idx="24">
                  <c:v>0.39819248592875706</c:v>
                </c:pt>
                <c:pt idx="25">
                  <c:v>0.40316610174752765</c:v>
                </c:pt>
                <c:pt idx="26">
                  <c:v>0.4080581828807447</c:v>
                </c:pt>
                <c:pt idx="27">
                  <c:v>0.41287071797927527</c:v>
                </c:pt>
                <c:pt idx="28">
                  <c:v>0.41760563154395847</c:v>
                </c:pt>
                <c:pt idx="29">
                  <c:v>0.42226478649160676</c:v>
                </c:pt>
                <c:pt idx="30">
                  <c:v>0.4268499865988164</c:v>
                </c:pt>
                <c:pt idx="31">
                  <c:v>0.4313629788303217</c:v>
                </c:pt>
                <c:pt idx="32">
                  <c:v>0.43580545555820976</c:v>
                </c:pt>
                <c:pt idx="33">
                  <c:v>0.4401790566779136</c:v>
                </c:pt>
                <c:pt idx="34">
                  <c:v>0.44448537162654506</c:v>
                </c:pt>
                <c:pt idx="35">
                  <c:v>0.4487259413087851</c:v>
                </c:pt>
                <c:pt idx="36">
                  <c:v>0.4529022599352337</c:v>
                </c:pt>
                <c:pt idx="37">
                  <c:v>0.4570157767778259</c:v>
                </c:pt>
                <c:pt idx="38">
                  <c:v>0.46106789784664826</c:v>
                </c:pt>
                <c:pt idx="39">
                  <c:v>0.4650599874922286</c:v>
                </c:pt>
                <c:pt idx="40">
                  <c:v>0.4689933699371387</c:v>
                </c:pt>
                <c:pt idx="41">
                  <c:v>0.47286933074051724</c:v>
                </c:pt>
                <c:pt idx="42">
                  <c:v>0.476689118198919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B$2:$B$122</c:f>
              <c:numCache>
                <c:formatCode>General</c:formatCode>
                <c:ptCount val="121"/>
                <c:pt idx="0">
                  <c:v>159.138484627475</c:v>
                </c:pt>
                <c:pt idx="1">
                  <c:v>158.294829047304</c:v>
                </c:pt>
                <c:pt idx="2">
                  <c:v>157.46038511308004</c:v>
                </c:pt>
                <c:pt idx="3">
                  <c:v>156.63500076100468</c:v>
                </c:pt>
                <c:pt idx="4">
                  <c:v>155.81852707290983</c:v>
                </c:pt>
                <c:pt idx="5">
                  <c:v>155.01081820256027</c:v>
                </c:pt>
                <c:pt idx="6">
                  <c:v>154.21173130371253</c:v>
                </c:pt>
                <c:pt idx="7">
                  <c:v>153.42112645988934</c:v>
                </c:pt>
                <c:pt idx="8">
                  <c:v>152.6388666158445</c:v>
                </c:pt>
                <c:pt idx="9">
                  <c:v>151.86481751068487</c:v>
                </c:pt>
                <c:pt idx="10">
                  <c:v>151.098847612611</c:v>
                </c:pt>
                <c:pt idx="11">
                  <c:v>150.34082805524983</c:v>
                </c:pt>
                <c:pt idx="12">
                  <c:v>149.59063257554033</c:v>
                </c:pt>
                <c:pt idx="13">
                  <c:v>148.848137453148</c:v>
                </c:pt>
                <c:pt idx="14">
                  <c:v>148.11322145136327</c:v>
                </c:pt>
                <c:pt idx="15">
                  <c:v>147.38576575946257</c:v>
                </c:pt>
                <c:pt idx="16">
                  <c:v>146.66565393649134</c:v>
                </c:pt>
                <c:pt idx="17">
                  <c:v>145.9527718564404</c:v>
                </c:pt>
                <c:pt idx="18">
                  <c:v>145.24700765478622</c:v>
                </c:pt>
                <c:pt idx="19">
                  <c:v>144.54825167635522</c:v>
                </c:pt>
                <c:pt idx="20">
                  <c:v>143.85639642449226</c:v>
                </c:pt>
                <c:pt idx="21">
                  <c:v>142.25366809881456</c:v>
                </c:pt>
                <c:pt idx="22">
                  <c:v>140.67569903336073</c:v>
                </c:pt>
                <c:pt idx="23">
                  <c:v>139.12203816482693</c:v>
                </c:pt>
                <c:pt idx="24">
                  <c:v>137.59224214665775</c:v>
                </c:pt>
                <c:pt idx="25">
                  <c:v>136.08587530483666</c:v>
                </c:pt>
                <c:pt idx="26">
                  <c:v>134.60250958850193</c:v>
                </c:pt>
                <c:pt idx="27">
                  <c:v>133.14172451560097</c:v>
                </c:pt>
                <c:pt idx="28">
                  <c:v>131.70310711380097</c:v>
                </c:pt>
                <c:pt idx="29">
                  <c:v>130.28625185688833</c:v>
                </c:pt>
                <c:pt idx="30">
                  <c:v>128.89076059689762</c:v>
                </c:pt>
                <c:pt idx="31">
                  <c:v>127.51624249221558</c:v>
                </c:pt>
                <c:pt idx="32">
                  <c:v>126.16231393191768</c:v>
                </c:pt>
                <c:pt idx="33">
                  <c:v>124.82859845659029</c:v>
                </c:pt>
                <c:pt idx="34">
                  <c:v>123.51472667590106</c:v>
                </c:pt>
                <c:pt idx="35">
                  <c:v>122.22033618317528</c:v>
                </c:pt>
                <c:pt idx="36">
                  <c:v>120.94507146723794</c:v>
                </c:pt>
                <c:pt idx="37">
                  <c:v>119.68858382178078</c:v>
                </c:pt>
                <c:pt idx="38">
                  <c:v>118.45053125250351</c:v>
                </c:pt>
                <c:pt idx="39">
                  <c:v>117.23057838228057</c:v>
                </c:pt>
                <c:pt idx="40">
                  <c:v>116.02839635459128</c:v>
                </c:pt>
                <c:pt idx="41">
                  <c:v>115.43119970473256</c:v>
                </c:pt>
                <c:pt idx="42">
                  <c:v>114.8387656263371</c:v>
                </c:pt>
                <c:pt idx="43">
                  <c:v>114.25104650336057</c:v>
                </c:pt>
                <c:pt idx="44">
                  <c:v>113.66799525604105</c:v>
                </c:pt>
                <c:pt idx="45">
                  <c:v>113.08956533286192</c:v>
                </c:pt>
                <c:pt idx="46">
                  <c:v>112.51571070261919</c:v>
                </c:pt>
                <c:pt idx="47">
                  <c:v>111.94638584659809</c:v>
                </c:pt>
                <c:pt idx="48">
                  <c:v>111.38154575086685</c:v>
                </c:pt>
                <c:pt idx="49">
                  <c:v>110.82114589868723</c:v>
                </c:pt>
                <c:pt idx="50">
                  <c:v>110.26514226305486</c:v>
                </c:pt>
                <c:pt idx="51">
                  <c:v>109.71349129936098</c:v>
                </c:pt>
                <c:pt idx="52">
                  <c:v>109.16614993819158</c:v>
                </c:pt>
                <c:pt idx="53">
                  <c:v>108.62307557825814</c:v>
                </c:pt>
                <c:pt idx="54">
                  <c:v>108.0842260794663</c:v>
                </c:pt>
                <c:pt idx="55">
                  <c:v>107.5495597561257</c:v>
                </c:pt>
                <c:pt idx="56">
                  <c:v>107.01903537029933</c:v>
                </c:pt>
                <c:pt idx="57">
                  <c:v>106.49261212529795</c:v>
                </c:pt>
                <c:pt idx="58">
                  <c:v>105.9702496593178</c:v>
                </c:pt>
                <c:pt idx="59">
                  <c:v>105.45190803922307</c:v>
                </c:pt>
                <c:pt idx="60">
                  <c:v>104.9375477544753</c:v>
                </c:pt>
                <c:pt idx="61">
                  <c:v>104.51099325007024</c:v>
                </c:pt>
                <c:pt idx="62">
                  <c:v>104.08725712094378</c:v>
                </c:pt>
                <c:pt idx="63">
                  <c:v>103.66631660730104</c:v>
                </c:pt>
                <c:pt idx="64">
                  <c:v>103.2481491575695</c:v>
                </c:pt>
                <c:pt idx="65">
                  <c:v>102.83273242528838</c:v>
                </c:pt>
                <c:pt idx="66">
                  <c:v>102.42004426608591</c:v>
                </c:pt>
                <c:pt idx="67">
                  <c:v>102.0100627347387</c:v>
                </c:pt>
                <c:pt idx="68">
                  <c:v>101.60276608231473</c:v>
                </c:pt>
                <c:pt idx="69">
                  <c:v>101.19813275339393</c:v>
                </c:pt>
                <c:pt idx="70">
                  <c:v>100.79614138337188</c:v>
                </c:pt>
                <c:pt idx="71">
                  <c:v>100.39677079583242</c:v>
                </c:pt>
                <c:pt idx="72">
                  <c:v>100.0</c:v>
                </c:pt>
                <c:pt idx="73">
                  <c:v>99.6058081882613</c:v>
                </c:pt>
                <c:pt idx="74">
                  <c:v>99.21417473375696</c:v>
                </c:pt>
                <c:pt idx="75">
                  <c:v>98.82507918804171</c:v>
                </c:pt>
                <c:pt idx="76">
                  <c:v>98.43850127881046</c:v>
                </c:pt>
                <c:pt idx="77">
                  <c:v>98.0544209076895</c:v>
                </c:pt>
                <c:pt idx="78">
                  <c:v>97.67281814808672</c:v>
                </c:pt>
                <c:pt idx="79">
                  <c:v>97.29367324310682</c:v>
                </c:pt>
                <c:pt idx="80">
                  <c:v>96.9169666035194</c:v>
                </c:pt>
                <c:pt idx="81">
                  <c:v>96.5426788057896</c:v>
                </c:pt>
                <c:pt idx="82">
                  <c:v>96.1707905901585</c:v>
                </c:pt>
                <c:pt idx="83">
                  <c:v>95.80128285877785</c:v>
                </c:pt>
                <c:pt idx="84">
                  <c:v>95.43413667389878</c:v>
                </c:pt>
                <c:pt idx="85">
                  <c:v>95.06933325610575</c:v>
                </c:pt>
                <c:pt idx="86">
                  <c:v>94.70685398259971</c:v>
                </c:pt>
                <c:pt idx="87">
                  <c:v>94.34668038552982</c:v>
                </c:pt>
                <c:pt idx="88">
                  <c:v>93.988794150365</c:v>
                </c:pt>
                <c:pt idx="89">
                  <c:v>93.63317711431237</c:v>
                </c:pt>
                <c:pt idx="90">
                  <c:v>93.27981126477395</c:v>
                </c:pt>
                <c:pt idx="91">
                  <c:v>92.92867873784371</c:v>
                </c:pt>
                <c:pt idx="92">
                  <c:v>92.57976181684575</c:v>
                </c:pt>
                <c:pt idx="93">
                  <c:v>92.23304293090318</c:v>
                </c:pt>
                <c:pt idx="94">
                  <c:v>91.88850465354759</c:v>
                </c:pt>
                <c:pt idx="95">
                  <c:v>91.5461297013596</c:v>
                </c:pt>
                <c:pt idx="96">
                  <c:v>91.2059009326418</c:v>
                </c:pt>
                <c:pt idx="97">
                  <c:v>90.86780134612617</c:v>
                </c:pt>
                <c:pt idx="98">
                  <c:v>90.53181407970385</c:v>
                </c:pt>
                <c:pt idx="99">
                  <c:v>90.19792240919205</c:v>
                </c:pt>
                <c:pt idx="100">
                  <c:v>89.86610974712306</c:v>
                </c:pt>
                <c:pt idx="101">
                  <c:v>88.96400932184412</c:v>
                </c:pt>
                <c:pt idx="102">
                  <c:v>88.07769546477562</c:v>
                </c:pt>
                <c:pt idx="103">
                  <c:v>87.20678877211928</c:v>
                </c:pt>
                <c:pt idx="104">
                  <c:v>86.35091984620546</c:v>
                </c:pt>
                <c:pt idx="105">
                  <c:v>85.50972903193288</c:v>
                </c:pt>
                <c:pt idx="106">
                  <c:v>84.68286615707119</c:v>
                </c:pt>
                <c:pt idx="107">
                  <c:v>83.86999027735429</c:v>
                </c:pt>
                <c:pt idx="108">
                  <c:v>83.07076942709425</c:v>
                </c:pt>
                <c:pt idx="109">
                  <c:v>82.28488037586585</c:v>
                </c:pt>
                <c:pt idx="110">
                  <c:v>81.51200839165753</c:v>
                </c:pt>
                <c:pt idx="111">
                  <c:v>80.75184701073893</c:v>
                </c:pt>
                <c:pt idx="112">
                  <c:v>80.00409781438468</c:v>
                </c:pt>
                <c:pt idx="113">
                  <c:v>79.26847021248726</c:v>
                </c:pt>
                <c:pt idx="114">
                  <c:v>78.54468123400673</c:v>
                </c:pt>
                <c:pt idx="115">
                  <c:v>77.83245532413989</c:v>
                </c:pt>
                <c:pt idx="116">
                  <c:v>77.13152414803633</c:v>
                </c:pt>
                <c:pt idx="117">
                  <c:v>76.44162640084467</c:v>
                </c:pt>
                <c:pt idx="118">
                  <c:v>75.76250762384093</c:v>
                </c:pt>
                <c:pt idx="119">
                  <c:v>75.09392002637753</c:v>
                </c:pt>
                <c:pt idx="120">
                  <c:v>74.4356223133669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C$2:$C$122</c:f>
              <c:numCache>
                <c:formatCode>General</c:formatCode>
                <c:ptCount val="121"/>
                <c:pt idx="0">
                  <c:v>117.1017159689817</c:v>
                </c:pt>
                <c:pt idx="1">
                  <c:v>117.06056458304923</c:v>
                </c:pt>
                <c:pt idx="2">
                  <c:v>117.0200825788055</c:v>
                </c:pt>
                <c:pt idx="3">
                  <c:v>116.98025737186222</c:v>
                </c:pt>
                <c:pt idx="4">
                  <c:v>116.94107652125525</c:v>
                </c:pt>
                <c:pt idx="5">
                  <c:v>116.90252773109995</c:v>
                </c:pt>
                <c:pt idx="6">
                  <c:v>116.86459885196778</c:v>
                </c:pt>
                <c:pt idx="7">
                  <c:v>116.82727788200123</c:v>
                </c:pt>
                <c:pt idx="8">
                  <c:v>116.79055296778841</c:v>
                </c:pt>
                <c:pt idx="9">
                  <c:v>116.75441240501752</c:v>
                </c:pt>
                <c:pt idx="10">
                  <c:v>116.7188446389214</c:v>
                </c:pt>
                <c:pt idx="11">
                  <c:v>116.68383826453466</c:v>
                </c:pt>
                <c:pt idx="12">
                  <c:v>116.6493820267713</c:v>
                </c:pt>
                <c:pt idx="13">
                  <c:v>116.61546482034754</c:v>
                </c:pt>
                <c:pt idx="14">
                  <c:v>116.5820756895466</c:v>
                </c:pt>
                <c:pt idx="15">
                  <c:v>116.54920382785434</c:v>
                </c:pt>
                <c:pt idx="16">
                  <c:v>116.51683857746494</c:v>
                </c:pt>
                <c:pt idx="17">
                  <c:v>116.48496942867179</c:v>
                </c:pt>
                <c:pt idx="18">
                  <c:v>116.45358601915625</c:v>
                </c:pt>
                <c:pt idx="19">
                  <c:v>116.42267813317619</c:v>
                </c:pt>
                <c:pt idx="20">
                  <c:v>116.39223570067094</c:v>
                </c:pt>
                <c:pt idx="21">
                  <c:v>115.61757358690627</c:v>
                </c:pt>
                <c:pt idx="22">
                  <c:v>114.85143505783898</c:v>
                </c:pt>
                <c:pt idx="23">
                  <c:v>114.0937191552628</c:v>
                </c:pt>
                <c:pt idx="24">
                  <c:v>113.34432480442453</c:v>
                </c:pt>
                <c:pt idx="25">
                  <c:v>112.60315091357678</c:v>
                </c:pt>
                <c:pt idx="26">
                  <c:v>111.87009646842077</c:v>
                </c:pt>
                <c:pt idx="27">
                  <c:v>111.14506062148047</c:v>
                </c:pt>
                <c:pt idx="28">
                  <c:v>110.42794277646082</c:v>
                </c:pt>
                <c:pt idx="29">
                  <c:v>109.71864266766384</c:v>
                </c:pt>
                <c:pt idx="30">
                  <c:v>109.01706043454504</c:v>
                </c:pt>
                <c:pt idx="31">
                  <c:v>108.32309669150952</c:v>
                </c:pt>
                <c:pt idx="32">
                  <c:v>107.63665259305955</c:v>
                </c:pt>
                <c:pt idx="33">
                  <c:v>106.95762989441124</c:v>
                </c:pt>
                <c:pt idx="34">
                  <c:v>106.28593100771297</c:v>
                </c:pt>
                <c:pt idx="35">
                  <c:v>105.62145905400273</c:v>
                </c:pt>
                <c:pt idx="36">
                  <c:v>104.96411791104825</c:v>
                </c:pt>
                <c:pt idx="37">
                  <c:v>104.31381225722338</c:v>
                </c:pt>
                <c:pt idx="38">
                  <c:v>103.67044761157223</c:v>
                </c:pt>
                <c:pt idx="39">
                  <c:v>103.03393037022018</c:v>
                </c:pt>
                <c:pt idx="40">
                  <c:v>102.40416783928971</c:v>
                </c:pt>
                <c:pt idx="41">
                  <c:v>102.3005818882171</c:v>
                </c:pt>
                <c:pt idx="42">
                  <c:v>102.19686097373778</c:v>
                </c:pt>
                <c:pt idx="43">
                  <c:v>102.09301485575288</c:v>
                </c:pt>
                <c:pt idx="44">
                  <c:v>101.98905307647061</c:v>
                </c:pt>
                <c:pt idx="45">
                  <c:v>101.88498496306926</c:v>
                </c:pt>
                <c:pt idx="46">
                  <c:v>101.78081963027506</c:v>
                </c:pt>
                <c:pt idx="47">
                  <c:v>101.67656598286214</c:v>
                </c:pt>
                <c:pt idx="48">
                  <c:v>101.57223271808493</c:v>
                </c:pt>
                <c:pt idx="49">
                  <c:v>101.46782832804458</c:v>
                </c:pt>
                <c:pt idx="50">
                  <c:v>101.36336110200676</c:v>
                </c:pt>
                <c:pt idx="51">
                  <c:v>101.2588391286637</c:v>
                </c:pt>
                <c:pt idx="52">
                  <c:v>101.15427029836117</c:v>
                </c:pt>
                <c:pt idx="53">
                  <c:v>101.04966230528562</c:v>
                </c:pt>
                <c:pt idx="54">
                  <c:v>100.94502264962462</c:v>
                </c:pt>
                <c:pt idx="55">
                  <c:v>100.84035863970296</c:v>
                </c:pt>
                <c:pt idx="56">
                  <c:v>100.73567739410059</c:v>
                </c:pt>
                <c:pt idx="57">
                  <c:v>100.63098584375771</c:v>
                </c:pt>
                <c:pt idx="58">
                  <c:v>100.5262907340724</c:v>
                </c:pt>
                <c:pt idx="59">
                  <c:v>100.42159862699252</c:v>
                </c:pt>
                <c:pt idx="60">
                  <c:v>100.31691590311087</c:v>
                </c:pt>
                <c:pt idx="61">
                  <c:v>100.29262016830441</c:v>
                </c:pt>
                <c:pt idx="62">
                  <c:v>100.26791095505203</c:v>
                </c:pt>
                <c:pt idx="63">
                  <c:v>100.24279729970775</c:v>
                </c:pt>
                <c:pt idx="64">
                  <c:v>100.21728810489773</c:v>
                </c:pt>
                <c:pt idx="65">
                  <c:v>100.19139214037371</c:v>
                </c:pt>
                <c:pt idx="66">
                  <c:v>100.16511804388142</c:v>
                </c:pt>
                <c:pt idx="67">
                  <c:v>100.1384743220426</c:v>
                </c:pt>
                <c:pt idx="68">
                  <c:v>100.1114693512523</c:v>
                </c:pt>
                <c:pt idx="69">
                  <c:v>100.08411137858957</c:v>
                </c:pt>
                <c:pt idx="70">
                  <c:v>100.05640852274628</c:v>
                </c:pt>
                <c:pt idx="71">
                  <c:v>100.02836877496557</c:v>
                </c:pt>
                <c:pt idx="72">
                  <c:v>100.0</c:v>
                </c:pt>
                <c:pt idx="73">
                  <c:v>99.97130993708132</c:v>
                </c:pt>
                <c:pt idx="74">
                  <c:v>99.94230620090552</c:v>
                </c:pt>
                <c:pt idx="75">
                  <c:v>99.91299628263282</c:v>
                </c:pt>
                <c:pt idx="76">
                  <c:v>99.88338755090119</c:v>
                </c:pt>
                <c:pt idx="77">
                  <c:v>99.85348725285489</c:v>
                </c:pt>
                <c:pt idx="78">
                  <c:v>99.82330251518444</c:v>
                </c:pt>
                <c:pt idx="79">
                  <c:v>99.79284034518221</c:v>
                </c:pt>
                <c:pt idx="80">
                  <c:v>99.7621076318089</c:v>
                </c:pt>
                <c:pt idx="81">
                  <c:v>99.73111114677512</c:v>
                </c:pt>
                <c:pt idx="82">
                  <c:v>99.69985754563257</c:v>
                </c:pt>
                <c:pt idx="83">
                  <c:v>99.66835336887694</c:v>
                </c:pt>
                <c:pt idx="84">
                  <c:v>99.63660504306566</c:v>
                </c:pt>
                <c:pt idx="85">
                  <c:v>99.60461888194142</c:v>
                </c:pt>
                <c:pt idx="86">
                  <c:v>99.57240108756855</c:v>
                </c:pt>
                <c:pt idx="87">
                  <c:v>99.53995775147999</c:v>
                </c:pt>
                <c:pt idx="88">
                  <c:v>99.50729485583047</c:v>
                </c:pt>
                <c:pt idx="89">
                  <c:v>99.47441827456184</c:v>
                </c:pt>
                <c:pt idx="90">
                  <c:v>99.44133377457287</c:v>
                </c:pt>
                <c:pt idx="91">
                  <c:v>99.40804701689822</c:v>
                </c:pt>
                <c:pt idx="92">
                  <c:v>99.37456355789666</c:v>
                </c:pt>
                <c:pt idx="93">
                  <c:v>99.34088885043994</c:v>
                </c:pt>
                <c:pt idx="94">
                  <c:v>99.30702824511276</c:v>
                </c:pt>
                <c:pt idx="95">
                  <c:v>99.27298699141416</c:v>
                </c:pt>
                <c:pt idx="96">
                  <c:v>99.23877023896523</c:v>
                </c:pt>
                <c:pt idx="97">
                  <c:v>99.20438303872263</c:v>
                </c:pt>
                <c:pt idx="98">
                  <c:v>99.16983034418752</c:v>
                </c:pt>
                <c:pt idx="99">
                  <c:v>99.13511701262772</c:v>
                </c:pt>
                <c:pt idx="100">
                  <c:v>99.10024780629527</c:v>
                </c:pt>
                <c:pt idx="101">
                  <c:v>98.43433213962903</c:v>
                </c:pt>
                <c:pt idx="102">
                  <c:v>97.77927778595699</c:v>
                </c:pt>
                <c:pt idx="103">
                  <c:v>97.13483692717007</c:v>
                </c:pt>
                <c:pt idx="104">
                  <c:v>96.50076733953594</c:v>
                </c:pt>
                <c:pt idx="105">
                  <c:v>95.87683228151695</c:v>
                </c:pt>
                <c:pt idx="106">
                  <c:v>95.2628003802178</c:v>
                </c:pt>
                <c:pt idx="107">
                  <c:v>94.658445517598</c:v>
                </c:pt>
                <c:pt idx="108">
                  <c:v>94.06354671738677</c:v>
                </c:pt>
                <c:pt idx="109">
                  <c:v>93.47788803345684</c:v>
                </c:pt>
                <c:pt idx="110">
                  <c:v>92.90125844025653</c:v>
                </c:pt>
                <c:pt idx="111">
                  <c:v>92.33345172574357</c:v>
                </c:pt>
                <c:pt idx="112">
                  <c:v>91.77426638715002</c:v>
                </c:pt>
                <c:pt idx="113">
                  <c:v>91.22350552978321</c:v>
                </c:pt>
                <c:pt idx="114">
                  <c:v>90.68097676897794</c:v>
                </c:pt>
                <c:pt idx="115">
                  <c:v>90.14649213523471</c:v>
                </c:pt>
                <c:pt idx="116">
                  <c:v>89.61986798251344</c:v>
                </c:pt>
                <c:pt idx="117">
                  <c:v>89.10092489959469</c:v>
                </c:pt>
                <c:pt idx="118">
                  <c:v>88.58948762438155</c:v>
                </c:pt>
                <c:pt idx="119">
                  <c:v>88.08538496098568</c:v>
                </c:pt>
                <c:pt idx="120">
                  <c:v>87.588449699414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D$2:$D$122</c:f>
              <c:numCache>
                <c:formatCode>General</c:formatCode>
                <c:ptCount val="121"/>
                <c:pt idx="0">
                  <c:v>57.11428997502372</c:v>
                </c:pt>
                <c:pt idx="1">
                  <c:v>58.22099531835057</c:v>
                </c:pt>
                <c:pt idx="2">
                  <c:v>59.316146561435815</c:v>
                </c:pt>
                <c:pt idx="3">
                  <c:v>60.39993113437472</c:v>
                </c:pt>
                <c:pt idx="4">
                  <c:v>61.47253229222356</c:v>
                </c:pt>
                <c:pt idx="5">
                  <c:v>62.53412922531565</c:v>
                </c:pt>
                <c:pt idx="6">
                  <c:v>63.584897166364904</c:v>
                </c:pt>
                <c:pt idx="7">
                  <c:v>64.62500749444618</c:v>
                </c:pt>
                <c:pt idx="8">
                  <c:v>65.65462783595419</c:v>
                </c:pt>
                <c:pt idx="9">
                  <c:v>66.67392216262564</c:v>
                </c:pt>
                <c:pt idx="10">
                  <c:v>67.68305088671492</c:v>
                </c:pt>
                <c:pt idx="11">
                  <c:v>68.68217095341092</c:v>
                </c:pt>
                <c:pt idx="12">
                  <c:v>69.67143593057348</c:v>
                </c:pt>
                <c:pt idx="13">
                  <c:v>70.65099609588049</c:v>
                </c:pt>
                <c:pt idx="14">
                  <c:v>71.62099852145218</c:v>
                </c:pt>
                <c:pt idx="15">
                  <c:v>72.581587156041</c:v>
                </c:pt>
                <c:pt idx="16">
                  <c:v>73.5329029048533</c:v>
                </c:pt>
                <c:pt idx="17">
                  <c:v>74.47508370707948</c:v>
                </c:pt>
                <c:pt idx="18">
                  <c:v>75.40826461120268</c:v>
                </c:pt>
                <c:pt idx="19">
                  <c:v>76.33257784815126</c:v>
                </c:pt>
                <c:pt idx="20">
                  <c:v>77.24815290236539</c:v>
                </c:pt>
                <c:pt idx="21">
                  <c:v>77.65417495716625</c:v>
                </c:pt>
                <c:pt idx="22">
                  <c:v>78.04539112433008</c:v>
                </c:pt>
                <c:pt idx="23">
                  <c:v>78.42220852739858</c:v>
                </c:pt>
                <c:pt idx="24">
                  <c:v>78.78502264305558</c:v>
                </c:pt>
                <c:pt idx="25">
                  <c:v>79.13421761897565</c:v>
                </c:pt>
                <c:pt idx="26">
                  <c:v>79.4701665862583</c:v>
                </c:pt>
                <c:pt idx="27">
                  <c:v>79.79323196624783</c:v>
                </c:pt>
                <c:pt idx="28">
                  <c:v>80.10376577156666</c:v>
                </c:pt>
                <c:pt idx="29">
                  <c:v>80.40210990120623</c:v>
                </c:pt>
                <c:pt idx="30">
                  <c:v>80.6885964295474</c:v>
                </c:pt>
                <c:pt idx="31">
                  <c:v>80.96354788919936</c:v>
                </c:pt>
                <c:pt idx="32">
                  <c:v>81.22727754757122</c:v>
                </c:pt>
                <c:pt idx="33">
                  <c:v>81.48008967710825</c:v>
                </c:pt>
                <c:pt idx="34">
                  <c:v>81.72227981914533</c:v>
                </c:pt>
                <c:pt idx="35">
                  <c:v>81.95413504135009</c:v>
                </c:pt>
                <c:pt idx="36">
                  <c:v>82.17593418874415</c:v>
                </c:pt>
                <c:pt idx="37">
                  <c:v>82.3879481283097</c:v>
                </c:pt>
                <c:pt idx="38">
                  <c:v>82.59043998720388</c:v>
                </c:pt>
                <c:pt idx="39">
                  <c:v>82.78366538461643</c:v>
                </c:pt>
                <c:pt idx="40">
                  <c:v>82.96787265731997</c:v>
                </c:pt>
                <c:pt idx="41">
                  <c:v>83.56866189411122</c:v>
                </c:pt>
                <c:pt idx="42">
                  <c:v>84.16230636368284</c:v>
                </c:pt>
                <c:pt idx="43">
                  <c:v>84.74889796633587</c:v>
                </c:pt>
                <c:pt idx="44">
                  <c:v>85.32852730901558</c:v>
                </c:pt>
                <c:pt idx="45">
                  <c:v>85.90128372308232</c:v>
                </c:pt>
                <c:pt idx="46">
                  <c:v>86.46725528173366</c:v>
                </c:pt>
                <c:pt idx="47">
                  <c:v>87.02652881708754</c:v>
                </c:pt>
                <c:pt idx="48">
                  <c:v>87.57918993693899</c:v>
                </c:pt>
                <c:pt idx="49">
                  <c:v>88.12532304119856</c:v>
                </c:pt>
                <c:pt idx="50">
                  <c:v>88.66501133802984</c:v>
                </c:pt>
                <c:pt idx="51">
                  <c:v>89.19833685968645</c:v>
                </c:pt>
                <c:pt idx="52">
                  <c:v>89.72538047807053</c:v>
                </c:pt>
                <c:pt idx="53">
                  <c:v>90.24622192001561</c:v>
                </c:pt>
                <c:pt idx="54">
                  <c:v>90.76093978230747</c:v>
                </c:pt>
                <c:pt idx="55">
                  <c:v>91.26961154645505</c:v>
                </c:pt>
                <c:pt idx="56">
                  <c:v>91.77231359321733</c:v>
                </c:pt>
                <c:pt idx="57">
                  <c:v>92.26912121690147</c:v>
                </c:pt>
                <c:pt idx="58">
                  <c:v>92.76010863943856</c:v>
                </c:pt>
                <c:pt idx="59">
                  <c:v>93.24534902424683</c:v>
                </c:pt>
                <c:pt idx="60">
                  <c:v>93.724914489895</c:v>
                </c:pt>
                <c:pt idx="61">
                  <c:v>94.27452553699909</c:v>
                </c:pt>
                <c:pt idx="62">
                  <c:v>94.81910774235753</c:v>
                </c:pt>
                <c:pt idx="63">
                  <c:v>95.35871545632536</c:v>
                </c:pt>
                <c:pt idx="64">
                  <c:v>95.89340241201522</c:v>
                </c:pt>
                <c:pt idx="65">
                  <c:v>96.42322173165132</c:v>
                </c:pt>
                <c:pt idx="66">
                  <c:v>96.94822593283959</c:v>
                </c:pt>
                <c:pt idx="67">
                  <c:v>97.46846693475536</c:v>
                </c:pt>
                <c:pt idx="68">
                  <c:v>97.98399606425458</c:v>
                </c:pt>
                <c:pt idx="69">
                  <c:v>98.49486406190768</c:v>
                </c:pt>
                <c:pt idx="70">
                  <c:v>99.00112108796593</c:v>
                </c:pt>
                <c:pt idx="71">
                  <c:v>99.50281672825399</c:v>
                </c:pt>
                <c:pt idx="72">
                  <c:v>100.0</c:v>
                </c:pt>
                <c:pt idx="73">
                  <c:v>100.49271935759974</c:v>
                </c:pt>
                <c:pt idx="74">
                  <c:v>100.98102269832032</c:v>
                </c:pt>
                <c:pt idx="75">
                  <c:v>101.46495736794554</c:v>
                </c:pt>
                <c:pt idx="76">
                  <c:v>101.94457016636338</c:v>
                </c:pt>
                <c:pt idx="77">
                  <c:v>102.41990735310165</c:v>
                </c:pt>
                <c:pt idx="78">
                  <c:v>102.89101465280646</c:v>
                </c:pt>
                <c:pt idx="79">
                  <c:v>103.35793726067521</c:v>
                </c:pt>
                <c:pt idx="80">
                  <c:v>103.82071984783569</c:v>
                </c:pt>
                <c:pt idx="81">
                  <c:v>104.27940656668284</c:v>
                </c:pt>
                <c:pt idx="82">
                  <c:v>104.73404105616564</c:v>
                </c:pt>
                <c:pt idx="83">
                  <c:v>105.18466644703042</c:v>
                </c:pt>
                <c:pt idx="84">
                  <c:v>105.63132536702429</c:v>
                </c:pt>
                <c:pt idx="85">
                  <c:v>106.0740599460529</c:v>
                </c:pt>
                <c:pt idx="86">
                  <c:v>106.5129118212984</c:v>
                </c:pt>
                <c:pt idx="87">
                  <c:v>106.9479221423012</c:v>
                </c:pt>
                <c:pt idx="88">
                  <c:v>107.3791315759979</c:v>
                </c:pt>
                <c:pt idx="89">
                  <c:v>107.80658031172618</c:v>
                </c:pt>
                <c:pt idx="90">
                  <c:v>108.23030806619025</c:v>
                </c:pt>
                <c:pt idx="91">
                  <c:v>108.65035408838968</c:v>
                </c:pt>
                <c:pt idx="92">
                  <c:v>109.06675716451757</c:v>
                </c:pt>
                <c:pt idx="93">
                  <c:v>109.47955562281702</c:v>
                </c:pt>
                <c:pt idx="94">
                  <c:v>109.88878733840859</c:v>
                </c:pt>
                <c:pt idx="95">
                  <c:v>110.29448973808202</c:v>
                </c:pt>
                <c:pt idx="96">
                  <c:v>110.69669980505465</c:v>
                </c:pt>
                <c:pt idx="97">
                  <c:v>111.09545408369996</c:v>
                </c:pt>
                <c:pt idx="98">
                  <c:v>111.49078868423581</c:v>
                </c:pt>
                <c:pt idx="99">
                  <c:v>111.88273928739044</c:v>
                </c:pt>
                <c:pt idx="100">
                  <c:v>112.2713411490301</c:v>
                </c:pt>
                <c:pt idx="101">
                  <c:v>111.93648526660583</c:v>
                </c:pt>
                <c:pt idx="102">
                  <c:v>111.60556797487506</c:v>
                </c:pt>
                <c:pt idx="103">
                  <c:v>111.27852684382027</c:v>
                </c:pt>
                <c:pt idx="104">
                  <c:v>110.95529878747901</c:v>
                </c:pt>
                <c:pt idx="105">
                  <c:v>110.63582016842463</c:v>
                </c:pt>
                <c:pt idx="106">
                  <c:v>110.32002689319526</c:v>
                </c:pt>
                <c:pt idx="107">
                  <c:v>110.00785450013453</c:v>
                </c:pt>
                <c:pt idx="108">
                  <c:v>109.69923824090226</c:v>
                </c:pt>
                <c:pt idx="109">
                  <c:v>109.39411315673375</c:v>
                </c:pt>
                <c:pt idx="110">
                  <c:v>109.09241415035353</c:v>
                </c:pt>
                <c:pt idx="111">
                  <c:v>108.7940760542839</c:v>
                </c:pt>
                <c:pt idx="112">
                  <c:v>108.49903369615832</c:v>
                </c:pt>
                <c:pt idx="113">
                  <c:v>108.20722196150842</c:v>
                </c:pt>
                <c:pt idx="114">
                  <c:v>107.91857585438582</c:v>
                </c:pt>
                <c:pt idx="115">
                  <c:v>107.6330305560798</c:v>
                </c:pt>
                <c:pt idx="116">
                  <c:v>107.35052148211113</c:v>
                </c:pt>
                <c:pt idx="117">
                  <c:v>107.0709843376051</c:v>
                </c:pt>
                <c:pt idx="118">
                  <c:v>106.79435517109137</c:v>
                </c:pt>
                <c:pt idx="119">
                  <c:v>106.52057042673444</c:v>
                </c:pt>
                <c:pt idx="120">
                  <c:v>106.249566994954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E$2:$E$122</c:f>
              <c:numCache>
                <c:formatCode>General</c:formatCode>
                <c:ptCount val="121"/>
                <c:pt idx="0">
                  <c:v>0.20356772027400122</c:v>
                </c:pt>
                <c:pt idx="1">
                  <c:v>0.20756989253393082</c:v>
                </c:pt>
                <c:pt idx="2">
                  <c:v>0.21153204307126117</c:v>
                </c:pt>
                <c:pt idx="3">
                  <c:v>0.21545476922513557</c:v>
                </c:pt>
                <c:pt idx="4">
                  <c:v>0.21933865650619938</c:v>
                </c:pt>
                <c:pt idx="5">
                  <c:v>0.22318427888794187</c:v>
                </c:pt>
                <c:pt idx="6">
                  <c:v>0.22699219908947182</c:v>
                </c:pt>
                <c:pt idx="7">
                  <c:v>0.23076296885001082</c:v>
                </c:pt>
                <c:pt idx="8">
                  <c:v>0.23449712919539925</c:v>
                </c:pt>
                <c:pt idx="9">
                  <c:v>0.23819521069687086</c:v>
                </c:pt>
                <c:pt idx="10">
                  <c:v>0.24185773372236632</c:v>
                </c:pt>
                <c:pt idx="11">
                  <c:v>0.24548520868063275</c:v>
                </c:pt>
                <c:pt idx="12">
                  <c:v>0.249078136258344</c:v>
                </c:pt>
                <c:pt idx="13">
                  <c:v>0.25263700765048464</c:v>
                </c:pt>
                <c:pt idx="14">
                  <c:v>0.2561623047842087</c:v>
                </c:pt>
                <c:pt idx="15">
                  <c:v>0.25965450053639555</c:v>
                </c:pt>
                <c:pt idx="16">
                  <c:v>0.2631140589451039</c:v>
                </c:pt>
                <c:pt idx="17">
                  <c:v>0.2665414354151267</c:v>
                </c:pt>
                <c:pt idx="18">
                  <c:v>0.2699370769178344</c:v>
                </c:pt>
                <c:pt idx="19">
                  <c:v>0.2733014221854942</c:v>
                </c:pt>
                <c:pt idx="20">
                  <c:v>0.2766349019002396</c:v>
                </c:pt>
                <c:pt idx="21">
                  <c:v>0.27993793887786417</c:v>
                </c:pt>
                <c:pt idx="22">
                  <c:v>0.2832109482466012</c:v>
                </c:pt>
                <c:pt idx="23">
                  <c:v>0.28645433762105077</c:v>
                </c:pt>
                <c:pt idx="24">
                  <c:v>0.2896685072714065</c:v>
                </c:pt>
                <c:pt idx="25">
                  <c:v>0.29285385028812666</c:v>
                </c:pt>
                <c:pt idx="26">
                  <c:v>0.2960107527421975</c:v>
                </c:pt>
                <c:pt idx="27">
                  <c:v>0.29913959384112104</c:v>
                </c:pt>
                <c:pt idx="28">
                  <c:v>0.30224074608076207</c:v>
                </c:pt>
                <c:pt idx="29">
                  <c:v>0.30531457539318174</c:v>
                </c:pt>
                <c:pt idx="30">
                  <c:v>0.3083614412905799</c:v>
                </c:pt>
                <c:pt idx="31">
                  <c:v>0.31138169700546836</c:v>
                </c:pt>
                <c:pt idx="32">
                  <c:v>0.3143756896271837</c:v>
                </c:pt>
                <c:pt idx="33">
                  <c:v>0.3173437602348583</c:v>
                </c:pt>
                <c:pt idx="34">
                  <c:v>0.32028624402694944</c:v>
                </c:pt>
                <c:pt idx="35">
                  <c:v>0.3232034704474344</c:v>
                </c:pt>
                <c:pt idx="36">
                  <c:v>0.3260957633087703</c:v>
                </c:pt>
                <c:pt idx="37">
                  <c:v>0.32896344091171165</c:v>
                </c:pt>
                <c:pt idx="38">
                  <c:v>0.33180681616208574</c:v>
                </c:pt>
                <c:pt idx="39">
                  <c:v>0.33462619668460847</c:v>
                </c:pt>
                <c:pt idx="40">
                  <c:v>0.3374218849338329</c:v>
                </c:pt>
                <c:pt idx="41">
                  <c:v>0.3401941783023107</c:v>
                </c:pt>
                <c:pt idx="42">
                  <c:v>0.34294336922605095</c:v>
                </c:pt>
                <c:pt idx="43">
                  <c:v>0.34566974528735367</c:v>
                </c:pt>
                <c:pt idx="44">
                  <c:v>0.3483735893150919</c:v>
                </c:pt>
                <c:pt idx="45">
                  <c:v>0.35105517948251946</c:v>
                </c:pt>
                <c:pt idx="46">
                  <c:v>0.35371478940267315</c:v>
                </c:pt>
                <c:pt idx="47">
                  <c:v>0.3563526882214377</c:v>
                </c:pt>
                <c:pt idx="48">
                  <c:v>0.3589691407083424</c:v>
                </c:pt>
                <c:pt idx="49">
                  <c:v>0.3615644073451507</c:v>
                </c:pt>
                <c:pt idx="50">
                  <c:v>0.3641387444123073</c:v>
                </c:pt>
                <c:pt idx="51">
                  <c:v>0.3666924040733023</c:v>
                </c:pt>
                <c:pt idx="52">
                  <c:v>0.36922563445700884</c:v>
                </c:pt>
                <c:pt idx="53">
                  <c:v>0.3717386797380568</c:v>
                </c:pt>
                <c:pt idx="54">
                  <c:v>0.3742317802152867</c:v>
                </c:pt>
                <c:pt idx="55">
                  <c:v>0.3767051723883487</c:v>
                </c:pt>
                <c:pt idx="56">
                  <c:v>0.37915908903248924</c:v>
                </c:pt>
                <c:pt idx="57">
                  <c:v>0.3815937592715774</c:v>
                </c:pt>
                <c:pt idx="58">
                  <c:v>0.38400940864942285</c:v>
                </c:pt>
                <c:pt idx="59">
                  <c:v>0.38640625919942495</c:v>
                </c:pt>
                <c:pt idx="60">
                  <c:v>0.38878452951260556</c:v>
                </c:pt>
                <c:pt idx="61">
                  <c:v>0.3911444348040627</c:v>
                </c:pt>
                <c:pt idx="62">
                  <c:v>0.3934861869778933</c:v>
                </c:pt>
                <c:pt idx="63">
                  <c:v>0.39580999469062167</c:v>
                </c:pt>
                <c:pt idx="64">
                  <c:v>0.3981160634131764</c:v>
                </c:pt>
                <c:pt idx="65">
                  <c:v>0.4004045954914534</c:v>
                </c:pt>
                <c:pt idx="66">
                  <c:v>0.4026757902055008</c:v>
                </c:pt>
                <c:pt idx="67">
                  <c:v>0.4049298438273668</c:v>
                </c:pt>
                <c:pt idx="68">
                  <c:v>0.40716694967763994</c:v>
                </c:pt>
                <c:pt idx="69">
                  <c:v>0.40938729818072006</c:v>
                </c:pt>
                <c:pt idx="70">
                  <c:v>0.4115910769188517</c:v>
                </c:pt>
                <c:pt idx="71">
                  <c:v>0.4137784706849525</c:v>
                </c:pt>
                <c:pt idx="72">
                  <c:v>0.41594966153426755</c:v>
                </c:pt>
                <c:pt idx="73">
                  <c:v>0.4181048288348791</c:v>
                </c:pt>
                <c:pt idx="74">
                  <c:v>0.4202441493171038</c:v>
                </c:pt>
                <c:pt idx="75">
                  <c:v>0.42236779712180306</c:v>
                </c:pt>
                <c:pt idx="76">
                  <c:v>0.42447594384763576</c:v>
                </c:pt>
                <c:pt idx="77">
                  <c:v>0.42656875859728083</c:v>
                </c:pt>
                <c:pt idx="78">
                  <c:v>0.428646408022653</c:v>
                </c:pt>
                <c:pt idx="79">
                  <c:v>0.4307090563691416</c:v>
                </c:pt>
                <c:pt idx="80">
                  <c:v>0.43275686551889303</c:v>
                </c:pt>
                <c:pt idx="81">
                  <c:v>0.4347899950331622</c:v>
                </c:pt>
                <c:pt idx="82">
                  <c:v>0.436808602193758</c:v>
                </c:pt>
                <c:pt idx="83">
                  <c:v>0.4388128420436023</c:v>
                </c:pt>
                <c:pt idx="84">
                  <c:v>0.4408028674264264</c:v>
                </c:pt>
                <c:pt idx="85">
                  <c:v>0.4427788290256263</c:v>
                </c:pt>
                <c:pt idx="86">
                  <c:v>0.44474087540229656</c:v>
                </c:pt>
                <c:pt idx="87">
                  <c:v>0.44668915303246387</c:v>
                </c:pt>
                <c:pt idx="88">
                  <c:v>0.4486238063435394</c:v>
                </c:pt>
                <c:pt idx="89">
                  <c:v>0.4505449777500078</c:v>
                </c:pt>
                <c:pt idx="90">
                  <c:v>0.45245280768837587</c:v>
                </c:pt>
                <c:pt idx="91">
                  <c:v>0.4543474346513919</c:v>
                </c:pt>
                <c:pt idx="92">
                  <c:v>0.45622899522155924</c:v>
                </c:pt>
                <c:pt idx="93">
                  <c:v>0.4580976241039596</c:v>
                </c:pt>
                <c:pt idx="94">
                  <c:v>0.45995345415839806</c:v>
                </c:pt>
                <c:pt idx="95">
                  <c:v>0.4617966164308949</c:v>
                </c:pt>
                <c:pt idx="96">
                  <c:v>0.46362724018453144</c:v>
                </c:pt>
                <c:pt idx="97">
                  <c:v>0.46544545292966866</c:v>
                </c:pt>
                <c:pt idx="98">
                  <c:v>0.4672513804535549</c:v>
                </c:pt>
                <c:pt idx="99">
                  <c:v>0.46904514684933424</c:v>
                </c:pt>
                <c:pt idx="100">
                  <c:v>0.4708268745444706</c:v>
                </c:pt>
                <c:pt idx="101">
                  <c:v>0.47259668432860286</c:v>
                </c:pt>
                <c:pt idx="102">
                  <c:v>0.4743546953808408</c:v>
                </c:pt>
                <c:pt idx="103">
                  <c:v>0.47610102529651904</c:v>
                </c:pt>
                <c:pt idx="104">
                  <c:v>0.477835790113418</c:v>
                </c:pt>
                <c:pt idx="105">
                  <c:v>0.4795591043374661</c:v>
                </c:pt>
                <c:pt idx="106">
                  <c:v>0.48127108096793497</c:v>
                </c:pt>
                <c:pt idx="107">
                  <c:v>0.4829718315221385</c:v>
                </c:pt>
                <c:pt idx="108">
                  <c:v>0.4846614660596478</c:v>
                </c:pt>
                <c:pt idx="109">
                  <c:v>0.48634009320603333</c:v>
                </c:pt>
                <c:pt idx="110">
                  <c:v>0.4880078201761435</c:v>
                </c:pt>
                <c:pt idx="111">
                  <c:v>0.4896647527969327</c:v>
                </c:pt>
                <c:pt idx="112">
                  <c:v>0.4913109955298459</c:v>
                </c:pt>
                <c:pt idx="113">
                  <c:v>0.4929466514927725</c:v>
                </c:pt>
                <c:pt idx="114">
                  <c:v>0.49457182248157755</c:v>
                </c:pt>
                <c:pt idx="115">
                  <c:v>0.4961866089912212</c:v>
                </c:pt>
                <c:pt idx="116">
                  <c:v>0.4977911102364721</c:v>
                </c:pt>
                <c:pt idx="117">
                  <c:v>0.4993854241722294</c:v>
                </c:pt>
                <c:pt idx="118">
                  <c:v>0.5009696475134564</c:v>
                </c:pt>
                <c:pt idx="119">
                  <c:v>0.5025438757547389</c:v>
                </c:pt>
                <c:pt idx="120">
                  <c:v>0.50410820318947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B$2:$B$150</c:f>
              <c:numCache>
                <c:formatCode>General</c:formatCode>
                <c:ptCount val="149"/>
                <c:pt idx="0">
                  <c:v>126.29495072660487</c:v>
                </c:pt>
                <c:pt idx="1">
                  <c:v>125.74069218196166</c:v>
                </c:pt>
                <c:pt idx="2">
                  <c:v>125.18994219158866</c:v>
                </c:pt>
                <c:pt idx="3">
                  <c:v>124.6426732634198</c:v>
                </c:pt>
                <c:pt idx="4">
                  <c:v>124.09885812680228</c:v>
                </c:pt>
                <c:pt idx="5">
                  <c:v>123.55846973152505</c:v>
                </c:pt>
                <c:pt idx="6">
                  <c:v>123.02148124685661</c:v>
                </c:pt>
                <c:pt idx="7">
                  <c:v>122.487866060587</c:v>
                </c:pt>
                <c:pt idx="8">
                  <c:v>121.95759777807302</c:v>
                </c:pt>
                <c:pt idx="9">
                  <c:v>121.43065022128236</c:v>
                </c:pt>
                <c:pt idx="10">
                  <c:v>120.9069974278363</c:v>
                </c:pt>
                <c:pt idx="11">
                  <c:v>120.38661365004731</c:v>
                </c:pt>
                <c:pt idx="12">
                  <c:v>119.86947335394808</c:v>
                </c:pt>
                <c:pt idx="13">
                  <c:v>119.35555121831702</c:v>
                </c:pt>
                <c:pt idx="14">
                  <c:v>118.84482213368904</c:v>
                </c:pt>
                <c:pt idx="15">
                  <c:v>118.33726120135557</c:v>
                </c:pt>
                <c:pt idx="16">
                  <c:v>117.83284373235503</c:v>
                </c:pt>
                <c:pt idx="17">
                  <c:v>117.39736225053699</c:v>
                </c:pt>
                <c:pt idx="18">
                  <c:v>116.96401815579233</c:v>
                </c:pt>
                <c:pt idx="19">
                  <c:v>116.53280156631503</c:v>
                </c:pt>
                <c:pt idx="20">
                  <c:v>116.10370263504399</c:v>
                </c:pt>
                <c:pt idx="21">
                  <c:v>115.67671154849923</c:v>
                </c:pt>
                <c:pt idx="22">
                  <c:v>115.25181852562855</c:v>
                </c:pt>
                <c:pt idx="23">
                  <c:v>114.82901381666832</c:v>
                </c:pt>
                <c:pt idx="24">
                  <c:v>114.4082877020221</c:v>
                </c:pt>
                <c:pt idx="25">
                  <c:v>113.9896304911622</c:v>
                </c:pt>
                <c:pt idx="26">
                  <c:v>113.57303252155371</c:v>
                </c:pt>
                <c:pt idx="27">
                  <c:v>113.15848415760318</c:v>
                </c:pt>
                <c:pt idx="28">
                  <c:v>112.745975789642</c:v>
                </c:pt>
                <c:pt idx="29">
                  <c:v>112.33549783293559</c:v>
                </c:pt>
                <c:pt idx="30">
                  <c:v>111.92704072673077</c:v>
                </c:pt>
                <c:pt idx="31">
                  <c:v>111.52059493333685</c:v>
                </c:pt>
                <c:pt idx="32">
                  <c:v>111.11615093724613</c:v>
                </c:pt>
                <c:pt idx="33">
                  <c:v>110.71369924429435</c:v>
                </c:pt>
                <c:pt idx="34">
                  <c:v>110.31323038086103</c:v>
                </c:pt>
                <c:pt idx="35">
                  <c:v>109.91473489311379</c:v>
                </c:pt>
                <c:pt idx="36">
                  <c:v>109.51820334629845</c:v>
                </c:pt>
                <c:pt idx="37">
                  <c:v>109.12362632407071</c:v>
                </c:pt>
                <c:pt idx="38">
                  <c:v>108.73099442787715</c:v>
                </c:pt>
                <c:pt idx="39">
                  <c:v>108.34029827638112</c:v>
                </c:pt>
                <c:pt idx="40">
                  <c:v>107.95152850493719</c:v>
                </c:pt>
                <c:pt idx="41">
                  <c:v>107.56467576511287</c:v>
                </c:pt>
                <c:pt idx="42">
                  <c:v>107.17973072425862</c:v>
                </c:pt>
                <c:pt idx="43">
                  <c:v>106.79668406512552</c:v>
                </c:pt>
                <c:pt idx="44">
                  <c:v>106.41552648553213</c:v>
                </c:pt>
                <c:pt idx="45">
                  <c:v>106.03624869807757</c:v>
                </c:pt>
                <c:pt idx="46">
                  <c:v>105.65884142990318</c:v>
                </c:pt>
                <c:pt idx="47">
                  <c:v>105.28329542250235</c:v>
                </c:pt>
                <c:pt idx="48">
                  <c:v>104.90960143157318</c:v>
                </c:pt>
                <c:pt idx="49">
                  <c:v>104.53775022692096</c:v>
                </c:pt>
                <c:pt idx="50">
                  <c:v>104.1677325924036</c:v>
                </c:pt>
                <c:pt idx="51">
                  <c:v>103.7995393259209</c:v>
                </c:pt>
                <c:pt idx="52">
                  <c:v>103.43316123944592</c:v>
                </c:pt>
                <c:pt idx="53">
                  <c:v>103.06858915910104</c:v>
                </c:pt>
                <c:pt idx="54">
                  <c:v>102.7058139252718</c:v>
                </c:pt>
                <c:pt idx="55">
                  <c:v>102.34482639276077</c:v>
                </c:pt>
                <c:pt idx="56">
                  <c:v>101.98561743098065</c:v>
                </c:pt>
                <c:pt idx="57">
                  <c:v>100.98636747898391</c:v>
                </c:pt>
                <c:pt idx="58">
                  <c:v>100.0</c:v>
                </c:pt>
                <c:pt idx="59">
                  <c:v>99.02645503087093</c:v>
                </c:pt>
                <c:pt idx="60">
                  <c:v>98.06566136344816</c:v>
                </c:pt>
                <c:pt idx="61">
                  <c:v>97.11753710267425</c:v>
                </c:pt>
                <c:pt idx="62">
                  <c:v>96.1819902622006</c:v>
                </c:pt>
                <c:pt idx="63">
                  <c:v>95.25891939028037</c:v>
                </c:pt>
                <c:pt idx="64">
                  <c:v>94.34821421889217</c:v>
                </c:pt>
                <c:pt idx="65">
                  <c:v>93.44975632931268</c:v>
                </c:pt>
                <c:pt idx="66">
                  <c:v>92.56341982767886</c:v>
                </c:pt>
                <c:pt idx="67">
                  <c:v>91.68907202442048</c:v>
                </c:pt>
                <c:pt idx="68">
                  <c:v>90.82657411182097</c:v>
                </c:pt>
                <c:pt idx="69">
                  <c:v>89.97578183436764</c:v>
                </c:pt>
                <c:pt idx="70">
                  <c:v>89.13654614695878</c:v>
                </c:pt>
                <c:pt idx="71">
                  <c:v>88.30871385649097</c:v>
                </c:pt>
                <c:pt idx="72">
                  <c:v>87.49212824277467</c:v>
                </c:pt>
                <c:pt idx="73">
                  <c:v>86.68662965520745</c:v>
                </c:pt>
                <c:pt idx="74">
                  <c:v>85.89205608210042</c:v>
                </c:pt>
                <c:pt idx="75">
                  <c:v>85.10824369002286</c:v>
                </c:pt>
                <c:pt idx="76">
                  <c:v>84.33502733102549</c:v>
                </c:pt>
                <c:pt idx="77">
                  <c:v>83.86297627675472</c:v>
                </c:pt>
                <c:pt idx="78">
                  <c:v>83.39275920321998</c:v>
                </c:pt>
                <c:pt idx="79">
                  <c:v>82.92437382813324</c:v>
                </c:pt>
                <c:pt idx="80">
                  <c:v>82.45781784122228</c:v>
                </c:pt>
                <c:pt idx="81">
                  <c:v>81.99308890543765</c:v>
                </c:pt>
                <c:pt idx="82">
                  <c:v>81.5301846581614</c:v>
                </c:pt>
                <c:pt idx="83">
                  <c:v>81.069102712418</c:v>
                </c:pt>
                <c:pt idx="84">
                  <c:v>80.6098406580821</c:v>
                </c:pt>
                <c:pt idx="85">
                  <c:v>80.15239606308471</c:v>
                </c:pt>
                <c:pt idx="86">
                  <c:v>79.69676647461644</c:v>
                </c:pt>
                <c:pt idx="87">
                  <c:v>79.24294942032085</c:v>
                </c:pt>
                <c:pt idx="88">
                  <c:v>78.79094240948649</c:v>
                </c:pt>
                <c:pt idx="89">
                  <c:v>78.3407429342232</c:v>
                </c:pt>
                <c:pt idx="90">
                  <c:v>77.89234847063345</c:v>
                </c:pt>
                <c:pt idx="91">
                  <c:v>77.44575647996801</c:v>
                </c:pt>
                <c:pt idx="92">
                  <c:v>77.00096440976981</c:v>
                </c:pt>
                <c:pt idx="93">
                  <c:v>76.55796969500231</c:v>
                </c:pt>
                <c:pt idx="94">
                  <c:v>76.1167697591603</c:v>
                </c:pt>
                <c:pt idx="95">
                  <c:v>75.67736201536476</c:v>
                </c:pt>
                <c:pt idx="96">
                  <c:v>75.23974386743643</c:v>
                </c:pt>
                <c:pt idx="97">
                  <c:v>74.80391271094923</c:v>
                </c:pt>
                <c:pt idx="98">
                  <c:v>74.36986593426167</c:v>
                </c:pt>
                <c:pt idx="99">
                  <c:v>73.93760091952566</c:v>
                </c:pt>
                <c:pt idx="100">
                  <c:v>73.5071150436672</c:v>
                </c:pt>
                <c:pt idx="101">
                  <c:v>73.07840567934582</c:v>
                </c:pt>
                <c:pt idx="102">
                  <c:v>72.65147019588277</c:v>
                </c:pt>
                <c:pt idx="103">
                  <c:v>72.22630596016292</c:v>
                </c:pt>
                <c:pt idx="104">
                  <c:v>71.80291033750672</c:v>
                </c:pt>
                <c:pt idx="105">
                  <c:v>71.38128069250999</c:v>
                </c:pt>
                <c:pt idx="106">
                  <c:v>70.9614143898538</c:v>
                </c:pt>
                <c:pt idx="107">
                  <c:v>70.54330879508132</c:v>
                </c:pt>
                <c:pt idx="108">
                  <c:v>70.1269612753386</c:v>
                </c:pt>
                <c:pt idx="109">
                  <c:v>69.71236920008424</c:v>
                </c:pt>
                <c:pt idx="110">
                  <c:v>69.29952994175899</c:v>
                </c:pt>
                <c:pt idx="111">
                  <c:v>68.8884408764239</c:v>
                </c:pt>
                <c:pt idx="112">
                  <c:v>68.47909938435566</c:v>
                </c:pt>
                <c:pt idx="113">
                  <c:v>68.07150285060844</c:v>
                </c:pt>
                <c:pt idx="114">
                  <c:v>67.66564866553328</c:v>
                </c:pt>
                <c:pt idx="115">
                  <c:v>67.26153422526117</c:v>
                </c:pt>
                <c:pt idx="116">
                  <c:v>66.85915693214292</c:v>
                </c:pt>
                <c:pt idx="117">
                  <c:v>66.45851419515121</c:v>
                </c:pt>
                <c:pt idx="118">
                  <c:v>66.05960343023828</c:v>
                </c:pt>
                <c:pt idx="119">
                  <c:v>65.66242206065478</c:v>
                </c:pt>
                <c:pt idx="120">
                  <c:v>65.26696751722555</c:v>
                </c:pt>
                <c:pt idx="121">
                  <c:v>64.8732372385817</c:v>
                </c:pt>
                <c:pt idx="122">
                  <c:v>64.48122867135162</c:v>
                </c:pt>
                <c:pt idx="123">
                  <c:v>64.09093927030875</c:v>
                </c:pt>
                <c:pt idx="124">
                  <c:v>63.70236649847533</c:v>
                </c:pt>
                <c:pt idx="125">
                  <c:v>63.315507827184305</c:v>
                </c:pt>
                <c:pt idx="126">
                  <c:v>62.9303607360958</c:v>
                </c:pt>
                <c:pt idx="127">
                  <c:v>62.5469227131737</c:v>
                </c:pt>
                <c:pt idx="128">
                  <c:v>62.16519125461528</c:v>
                </c:pt>
                <c:pt idx="129">
                  <c:v>61.785163864740525</c:v>
                </c:pt>
                <c:pt idx="130">
                  <c:v>61.406838055837284</c:v>
                </c:pt>
                <c:pt idx="131">
                  <c:v>61.030211347964794</c:v>
                </c:pt>
                <c:pt idx="132">
                  <c:v>60.655281268713956</c:v>
                </c:pt>
                <c:pt idx="133">
                  <c:v>60.28204535292733</c:v>
                </c:pt>
                <c:pt idx="134">
                  <c:v>59.91050114237535</c:v>
                </c:pt>
                <c:pt idx="135">
                  <c:v>59.54064618539545</c:v>
                </c:pt>
                <c:pt idx="136">
                  <c:v>59.17247803648616</c:v>
                </c:pt>
                <c:pt idx="137">
                  <c:v>58.80599425586711</c:v>
                </c:pt>
                <c:pt idx="138">
                  <c:v>58.44119240899599</c:v>
                </c:pt>
                <c:pt idx="139">
                  <c:v>58.078070066049506</c:v>
                </c:pt>
                <c:pt idx="140">
                  <c:v>57.716624801367445</c:v>
                </c:pt>
                <c:pt idx="141">
                  <c:v>57.35685419285951</c:v>
                </c:pt>
                <c:pt idx="142">
                  <c:v>56.99875582137801</c:v>
                </c:pt>
                <c:pt idx="143">
                  <c:v>56.642327270055674</c:v>
                </c:pt>
                <c:pt idx="144">
                  <c:v>56.2875661236116</c:v>
                </c:pt>
                <c:pt idx="145">
                  <c:v>55.93446996762348</c:v>
                </c:pt>
                <c:pt idx="146">
                  <c:v>55.58303638777195</c:v>
                </c:pt>
                <c:pt idx="147">
                  <c:v>55.23326296905292</c:v>
                </c:pt>
                <c:pt idx="148">
                  <c:v>54.885147294963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C$2:$C$150</c:f>
              <c:numCache>
                <c:formatCode>General</c:formatCode>
                <c:ptCount val="149"/>
                <c:pt idx="0">
                  <c:v>102.86873113361679</c:v>
                </c:pt>
                <c:pt idx="1">
                  <c:v>102.81893784998066</c:v>
                </c:pt>
                <c:pt idx="2">
                  <c:v>102.76848376594295</c:v>
                </c:pt>
                <c:pt idx="3">
                  <c:v>102.71738030607986</c:v>
                </c:pt>
                <c:pt idx="4">
                  <c:v>102.66563871011505</c:v>
                </c:pt>
                <c:pt idx="5">
                  <c:v>102.61327003613981</c:v>
                </c:pt>
                <c:pt idx="6">
                  <c:v>102.56028516380813</c:v>
                </c:pt>
                <c:pt idx="7">
                  <c:v>102.50669479750498</c:v>
                </c:pt>
                <c:pt idx="8">
                  <c:v>102.45250946948656</c:v>
                </c:pt>
                <c:pt idx="9">
                  <c:v>102.39773954298845</c:v>
                </c:pt>
                <c:pt idx="10">
                  <c:v>102.34239521530355</c:v>
                </c:pt>
                <c:pt idx="11">
                  <c:v>102.28648652082491</c:v>
                </c:pt>
                <c:pt idx="12">
                  <c:v>102.23002333405209</c:v>
                </c:pt>
                <c:pt idx="13">
                  <c:v>102.1730153725633</c:v>
                </c:pt>
                <c:pt idx="14">
                  <c:v>102.11547219994752</c:v>
                </c:pt>
                <c:pt idx="15">
                  <c:v>102.05740322869619</c:v>
                </c:pt>
                <c:pt idx="16">
                  <c:v>101.99881772305706</c:v>
                </c:pt>
                <c:pt idx="17">
                  <c:v>101.99761267398635</c:v>
                </c:pt>
                <c:pt idx="18">
                  <c:v>101.995472202018</c:v>
                </c:pt>
                <c:pt idx="19">
                  <c:v>101.99240881811389</c:v>
                </c:pt>
                <c:pt idx="20">
                  <c:v>101.98843492037865</c:v>
                </c:pt>
                <c:pt idx="21">
                  <c:v>101.98356279392374</c:v>
                </c:pt>
                <c:pt idx="22">
                  <c:v>101.97780461071196</c:v>
                </c:pt>
                <c:pt idx="23">
                  <c:v>101.97117242939062</c:v>
                </c:pt>
                <c:pt idx="24">
                  <c:v>101.96367819511347</c:v>
                </c:pt>
                <c:pt idx="25">
                  <c:v>101.95533373935788</c:v>
                </c:pt>
                <c:pt idx="26">
                  <c:v>101.94615077973617</c:v>
                </c:pt>
                <c:pt idx="27">
                  <c:v>101.93614091980636</c:v>
                </c:pt>
                <c:pt idx="28">
                  <c:v>101.92531564888779</c:v>
                </c:pt>
                <c:pt idx="29">
                  <c:v>101.91368634187847</c:v>
                </c:pt>
                <c:pt idx="30">
                  <c:v>101.90126425908348</c:v>
                </c:pt>
                <c:pt idx="31">
                  <c:v>101.88806054605173</c:v>
                </c:pt>
                <c:pt idx="32">
                  <c:v>101.87408623342753</c:v>
                </c:pt>
                <c:pt idx="33">
                  <c:v>101.85935223681801</c:v>
                </c:pt>
                <c:pt idx="34">
                  <c:v>101.84386935667722</c:v>
                </c:pt>
                <c:pt idx="35">
                  <c:v>101.827648278212</c:v>
                </c:pt>
                <c:pt idx="36">
                  <c:v>101.81069957131064</c:v>
                </c:pt>
                <c:pt idx="37">
                  <c:v>101.79303369049543</c:v>
                </c:pt>
                <c:pt idx="38">
                  <c:v>101.77466097490114</c:v>
                </c:pt>
                <c:pt idx="39">
                  <c:v>101.75559164828243</c:v>
                </c:pt>
                <c:pt idx="40">
                  <c:v>101.73583581905115</c:v>
                </c:pt>
                <c:pt idx="41">
                  <c:v>101.71540348034367</c:v>
                </c:pt>
                <c:pt idx="42">
                  <c:v>101.69430451012175</c:v>
                </c:pt>
                <c:pt idx="43">
                  <c:v>101.67254867130637</c:v>
                </c:pt>
                <c:pt idx="44">
                  <c:v>101.65014561194661</c:v>
                </c:pt>
                <c:pt idx="45">
                  <c:v>101.62710486542295</c:v>
                </c:pt>
                <c:pt idx="46">
                  <c:v>101.60343585068803</c:v>
                </c:pt>
                <c:pt idx="47">
                  <c:v>101.57914787254434</c:v>
                </c:pt>
                <c:pt idx="48">
                  <c:v>101.55425012195683</c:v>
                </c:pt>
                <c:pt idx="49">
                  <c:v>101.52875167640667</c:v>
                </c:pt>
                <c:pt idx="50">
                  <c:v>101.50266150028031</c:v>
                </c:pt>
                <c:pt idx="51">
                  <c:v>101.47598844529743</c:v>
                </c:pt>
                <c:pt idx="52">
                  <c:v>101.44874125097552</c:v>
                </c:pt>
                <c:pt idx="53">
                  <c:v>101.42092854513504</c:v>
                </c:pt>
                <c:pt idx="54">
                  <c:v>101.39255884443958</c:v>
                </c:pt>
                <c:pt idx="55">
                  <c:v>101.36364055497337</c:v>
                </c:pt>
                <c:pt idx="56">
                  <c:v>101.33418197285782</c:v>
                </c:pt>
                <c:pt idx="57">
                  <c:v>100.66376313225827</c:v>
                </c:pt>
                <c:pt idx="58">
                  <c:v>100.0</c:v>
                </c:pt>
                <c:pt idx="59">
                  <c:v>99.34294887157759</c:v>
                </c:pt>
                <c:pt idx="60">
                  <c:v>98.69265415398746</c:v>
                </c:pt>
                <c:pt idx="61">
                  <c:v>98.04914875482577</c:v>
                </c:pt>
                <c:pt idx="62">
                  <c:v>97.41245451892635</c:v>
                </c:pt>
                <c:pt idx="63">
                  <c:v>96.78258270603224</c:v>
                </c:pt>
                <c:pt idx="64">
                  <c:v>96.15953450304156</c:v>
                </c:pt>
                <c:pt idx="65">
                  <c:v>95.54330156446417</c:v>
                </c:pt>
                <c:pt idx="66">
                  <c:v>94.93386657489452</c:v>
                </c:pt>
                <c:pt idx="67">
                  <c:v>94.33120382749344</c:v>
                </c:pt>
                <c:pt idx="68">
                  <c:v>93.7352798127121</c:v>
                </c:pt>
                <c:pt idx="69">
                  <c:v>93.14605381176526</c:v>
                </c:pt>
                <c:pt idx="70">
                  <c:v>92.56347848964788</c:v>
                </c:pt>
                <c:pt idx="71">
                  <c:v>91.98750048283874</c:v>
                </c:pt>
                <c:pt idx="72">
                  <c:v>91.41806097716669</c:v>
                </c:pt>
                <c:pt idx="73">
                  <c:v>90.85509627171179</c:v>
                </c:pt>
                <c:pt idx="74">
                  <c:v>90.29853832501215</c:v>
                </c:pt>
                <c:pt idx="75">
                  <c:v>89.74831528026078</c:v>
                </c:pt>
                <c:pt idx="76">
                  <c:v>89.2043519666274</c:v>
                </c:pt>
                <c:pt idx="77">
                  <c:v>88.97365638732583</c:v>
                </c:pt>
                <c:pt idx="78">
                  <c:v>88.74193759933323</c:v>
                </c:pt>
                <c:pt idx="79">
                  <c:v>88.50921030514952</c:v>
                </c:pt>
                <c:pt idx="80">
                  <c:v>88.27548914032131</c:v>
                </c:pt>
                <c:pt idx="81">
                  <c:v>88.04078867457736</c:v>
                </c:pt>
                <c:pt idx="82">
                  <c:v>87.8051234129867</c:v>
                </c:pt>
                <c:pt idx="83">
                  <c:v>87.56850779713562</c:v>
                </c:pt>
                <c:pt idx="84">
                  <c:v>87.33095620632272</c:v>
                </c:pt>
                <c:pt idx="85">
                  <c:v>87.09248295876884</c:v>
                </c:pt>
                <c:pt idx="86">
                  <c:v>86.85310231284402</c:v>
                </c:pt>
                <c:pt idx="87">
                  <c:v>86.61282846830242</c:v>
                </c:pt>
                <c:pt idx="88">
                  <c:v>86.37167556753334</c:v>
                </c:pt>
                <c:pt idx="89">
                  <c:v>86.12965769681553</c:v>
                </c:pt>
                <c:pt idx="90">
                  <c:v>85.88678888758244</c:v>
                </c:pt>
                <c:pt idx="91">
                  <c:v>85.64308311769058</c:v>
                </c:pt>
                <c:pt idx="92">
                  <c:v>85.39855431269105</c:v>
                </c:pt>
                <c:pt idx="93">
                  <c:v>85.15321634710318</c:v>
                </c:pt>
                <c:pt idx="94">
                  <c:v>84.90708304568567</c:v>
                </c:pt>
                <c:pt idx="95">
                  <c:v>84.66016818470669</c:v>
                </c:pt>
                <c:pt idx="96">
                  <c:v>84.41248549320912</c:v>
                </c:pt>
                <c:pt idx="97">
                  <c:v>84.16404865426769</c:v>
                </c:pt>
                <c:pt idx="98">
                  <c:v>83.91487130623914</c:v>
                </c:pt>
                <c:pt idx="99">
                  <c:v>83.66496704400242</c:v>
                </c:pt>
                <c:pt idx="100">
                  <c:v>83.41434942018294</c:v>
                </c:pt>
                <c:pt idx="101">
                  <c:v>83.16303194636728</c:v>
                </c:pt>
                <c:pt idx="102">
                  <c:v>82.91102809429766</c:v>
                </c:pt>
                <c:pt idx="103">
                  <c:v>82.65835129705059</c:v>
                </c:pt>
                <c:pt idx="104">
                  <c:v>82.40501495019427</c:v>
                </c:pt>
                <c:pt idx="105">
                  <c:v>82.15103241292324</c:v>
                </c:pt>
                <c:pt idx="106">
                  <c:v>81.8964170091712</c:v>
                </c:pt>
                <c:pt idx="107">
                  <c:v>81.64118202869679</c:v>
                </c:pt>
                <c:pt idx="108">
                  <c:v>81.38534072814043</c:v>
                </c:pt>
                <c:pt idx="109">
                  <c:v>81.12890633205514</c:v>
                </c:pt>
                <c:pt idx="110">
                  <c:v>80.87189203390191</c:v>
                </c:pt>
                <c:pt idx="111">
                  <c:v>80.61431099701662</c:v>
                </c:pt>
                <c:pt idx="112">
                  <c:v>80.35617635553777</c:v>
                </c:pt>
                <c:pt idx="113">
                  <c:v>80.09750121530192</c:v>
                </c:pt>
                <c:pt idx="114">
                  <c:v>79.83829865469718</c:v>
                </c:pt>
                <c:pt idx="115">
                  <c:v>79.57858172548093</c:v>
                </c:pt>
                <c:pt idx="116">
                  <c:v>79.31836345355309</c:v>
                </c:pt>
                <c:pt idx="117">
                  <c:v>79.05765683968944</c:v>
                </c:pt>
                <c:pt idx="118">
                  <c:v>78.79647486022701</c:v>
                </c:pt>
                <c:pt idx="119">
                  <c:v>78.53483046770839</c:v>
                </c:pt>
                <c:pt idx="120">
                  <c:v>78.27273659147606</c:v>
                </c:pt>
                <c:pt idx="121">
                  <c:v>78.01020613821834</c:v>
                </c:pt>
                <c:pt idx="122">
                  <c:v>77.7472519924672</c:v>
                </c:pt>
                <c:pt idx="123">
                  <c:v>77.48388701704485</c:v>
                </c:pt>
                <c:pt idx="124">
                  <c:v>77.22012405345771</c:v>
                </c:pt>
                <c:pt idx="125">
                  <c:v>76.95597592223888</c:v>
                </c:pt>
                <c:pt idx="126">
                  <c:v>76.6914554232342</c:v>
                </c:pt>
                <c:pt idx="127">
                  <c:v>76.42657533583753</c:v>
                </c:pt>
                <c:pt idx="128">
                  <c:v>76.16134841916565</c:v>
                </c:pt>
                <c:pt idx="129">
                  <c:v>75.89578741218061</c:v>
                </c:pt>
                <c:pt idx="130">
                  <c:v>75.62990503375251</c:v>
                </c:pt>
                <c:pt idx="131">
                  <c:v>75.36371398266655</c:v>
                </c:pt>
                <c:pt idx="132">
                  <c:v>75.09722693757014</c:v>
                </c:pt>
                <c:pt idx="133">
                  <c:v>74.83045655686344</c:v>
                </c:pt>
                <c:pt idx="134">
                  <c:v>74.56341547852846</c:v>
                </c:pt>
                <c:pt idx="135">
                  <c:v>74.29611631990244</c:v>
                </c:pt>
                <c:pt idx="136">
                  <c:v>74.02857167738759</c:v>
                </c:pt>
                <c:pt idx="137">
                  <c:v>73.7607941261068</c:v>
                </c:pt>
                <c:pt idx="138">
                  <c:v>73.49279621949589</c:v>
                </c:pt>
                <c:pt idx="139">
                  <c:v>73.2245904888385</c:v>
                </c:pt>
                <c:pt idx="140">
                  <c:v>72.95618944274338</c:v>
                </c:pt>
                <c:pt idx="141">
                  <c:v>72.68760556656088</c:v>
                </c:pt>
                <c:pt idx="142">
                  <c:v>72.41885132174336</c:v>
                </c:pt>
                <c:pt idx="143">
                  <c:v>72.14993914514764</c:v>
                </c:pt>
                <c:pt idx="144">
                  <c:v>71.8808814482816</c:v>
                </c:pt>
                <c:pt idx="145">
                  <c:v>71.61169061649252</c:v>
                </c:pt>
                <c:pt idx="146">
                  <c:v>71.34237900810417</c:v>
                </c:pt>
                <c:pt idx="147">
                  <c:v>71.07295895349624</c:v>
                </c:pt>
                <c:pt idx="148">
                  <c:v>70.803442754132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D$2:$D$150</c:f>
              <c:numCache>
                <c:formatCode>General</c:formatCode>
                <c:ptCount val="149"/>
                <c:pt idx="0">
                  <c:v>65.25239120874589</c:v>
                </c:pt>
                <c:pt idx="1">
                  <c:v>66.01386339552988</c:v>
                </c:pt>
                <c:pt idx="2">
                  <c:v>66.76796916884724</c:v>
                </c:pt>
                <c:pt idx="3">
                  <c:v>67.51478135101907</c:v>
                </c:pt>
                <c:pt idx="4">
                  <c:v>68.25437196974127</c:v>
                </c:pt>
                <c:pt idx="5">
                  <c:v>68.98681226676817</c:v>
                </c:pt>
                <c:pt idx="6">
                  <c:v>69.7121727065521</c:v>
                </c:pt>
                <c:pt idx="7">
                  <c:v>70.43052298483747</c:v>
                </c:pt>
                <c:pt idx="8">
                  <c:v>71.14193203720929</c:v>
                </c:pt>
                <c:pt idx="9">
                  <c:v>71.84646804759211</c:v>
                </c:pt>
                <c:pt idx="10">
                  <c:v>72.54419845670182</c:v>
                </c:pt>
                <c:pt idx="11">
                  <c:v>73.2351899704454</c:v>
                </c:pt>
                <c:pt idx="12">
                  <c:v>73.91950856826806</c:v>
                </c:pt>
                <c:pt idx="13">
                  <c:v>74.59721951144813</c:v>
                </c:pt>
                <c:pt idx="14">
                  <c:v>75.26838735133639</c:v>
                </c:pt>
                <c:pt idx="15">
                  <c:v>75.93307593753657</c:v>
                </c:pt>
                <c:pt idx="16">
                  <c:v>76.59134842603078</c:v>
                </c:pt>
                <c:pt idx="17">
                  <c:v>77.28659681493689</c:v>
                </c:pt>
                <c:pt idx="18">
                  <c:v>77.97601210386156</c:v>
                </c:pt>
                <c:pt idx="19">
                  <c:v>78.65964105726268</c:v>
                </c:pt>
                <c:pt idx="20">
                  <c:v>79.33753013394667</c:v>
                </c:pt>
                <c:pt idx="21">
                  <c:v>80.00972548771199</c:v>
                </c:pt>
                <c:pt idx="22">
                  <c:v>80.67627296794005</c:v>
                </c:pt>
                <c:pt idx="23">
                  <c:v>81.3372181201401</c:v>
                </c:pt>
                <c:pt idx="24">
                  <c:v>81.9926061864492</c:v>
                </c:pt>
                <c:pt idx="25">
                  <c:v>82.6424821060927</c:v>
                </c:pt>
                <c:pt idx="26">
                  <c:v>83.28689051580602</c:v>
                </c:pt>
                <c:pt idx="27">
                  <c:v>83.9258757502224</c:v>
                </c:pt>
                <c:pt idx="28">
                  <c:v>84.55948184223156</c:v>
                </c:pt>
                <c:pt idx="29">
                  <c:v>85.18775252330948</c:v>
                </c:pt>
                <c:pt idx="30">
                  <c:v>85.8107312238269</c:v>
                </c:pt>
                <c:pt idx="31">
                  <c:v>86.42846107333611</c:v>
                </c:pt>
                <c:pt idx="32">
                  <c:v>87.04098490084287</c:v>
                </c:pt>
                <c:pt idx="33">
                  <c:v>87.6483452350664</c:v>
                </c:pt>
                <c:pt idx="34">
                  <c:v>88.25058430468889</c:v>
                </c:pt>
                <c:pt idx="35">
                  <c:v>88.8477440386005</c:v>
                </c:pt>
                <c:pt idx="36">
                  <c:v>89.43986606614372</c:v>
                </c:pt>
                <c:pt idx="37">
                  <c:v>90.02699171735838</c:v>
                </c:pt>
                <c:pt idx="38">
                  <c:v>90.60916202323105</c:v>
                </c:pt>
                <c:pt idx="39">
                  <c:v>91.18641771595414</c:v>
                </c:pt>
                <c:pt idx="40">
                  <c:v>91.75879922919667</c:v>
                </c:pt>
                <c:pt idx="41">
                  <c:v>92.32634669838859</c:v>
                </c:pt>
                <c:pt idx="42">
                  <c:v>92.88909996102423</c:v>
                </c:pt>
                <c:pt idx="43">
                  <c:v>93.44709855698486</c:v>
                </c:pt>
                <c:pt idx="44">
                  <c:v>94.00038172888672</c:v>
                </c:pt>
                <c:pt idx="45">
                  <c:v>94.54898842245255</c:v>
                </c:pt>
                <c:pt idx="46">
                  <c:v>95.09295728691299</c:v>
                </c:pt>
                <c:pt idx="47">
                  <c:v>95.63232667543964</c:v>
                </c:pt>
                <c:pt idx="48">
                  <c:v>96.16713464560875</c:v>
                </c:pt>
                <c:pt idx="49">
                  <c:v>96.69741895990197</c:v>
                </c:pt>
                <c:pt idx="50">
                  <c:v>97.22321708624345</c:v>
                </c:pt>
                <c:pt idx="51">
                  <c:v>97.74456619857558</c:v>
                </c:pt>
                <c:pt idx="52">
                  <c:v>98.26150317747367</c:v>
                </c:pt>
                <c:pt idx="53">
                  <c:v>98.77406461080518</c:v>
                </c:pt>
                <c:pt idx="54">
                  <c:v>99.28228679442948</c:v>
                </c:pt>
                <c:pt idx="55">
                  <c:v>99.7862057329418</c:v>
                </c:pt>
                <c:pt idx="56">
                  <c:v>100.2858571404644</c:v>
                </c:pt>
                <c:pt idx="57">
                  <c:v>100.14481441665903</c:v>
                </c:pt>
                <c:pt idx="58">
                  <c:v>100.0</c:v>
                </c:pt>
                <c:pt idx="59">
                  <c:v>99.85167548946147</c:v>
                </c:pt>
                <c:pt idx="60">
                  <c:v>99.70008905283893</c:v>
                </c:pt>
                <c:pt idx="61">
                  <c:v>99.5454755302411</c:v>
                </c:pt>
                <c:pt idx="62">
                  <c:v>99.38805660427404</c:v>
                </c:pt>
                <c:pt idx="63">
                  <c:v>99.22804103154209</c:v>
                </c:pt>
                <c:pt idx="64">
                  <c:v>99.06562492983682</c:v>
                </c:pt>
                <c:pt idx="65">
                  <c:v>98.90099211518934</c:v>
                </c:pt>
                <c:pt idx="66">
                  <c:v>98.73431448285746</c:v>
                </c:pt>
                <c:pt idx="67">
                  <c:v>98.56575242625215</c:v>
                </c:pt>
                <c:pt idx="68">
                  <c:v>98.3954552878062</c:v>
                </c:pt>
                <c:pt idx="69">
                  <c:v>98.22356183585129</c:v>
                </c:pt>
                <c:pt idx="70">
                  <c:v>98.05020076165462</c:v>
                </c:pt>
                <c:pt idx="71">
                  <c:v>97.8754911909442</c:v>
                </c:pt>
                <c:pt idx="72">
                  <c:v>97.69954320443176</c:v>
                </c:pt>
                <c:pt idx="73">
                  <c:v>97.52245836210844</c:v>
                </c:pt>
                <c:pt idx="74">
                  <c:v>97.34433022638048</c:v>
                </c:pt>
                <c:pt idx="75">
                  <c:v>97.16524487944281</c:v>
                </c:pt>
                <c:pt idx="76">
                  <c:v>96.98528143067936</c:v>
                </c:pt>
                <c:pt idx="77">
                  <c:v>97.14128085390763</c:v>
                </c:pt>
                <c:pt idx="78">
                  <c:v>97.29155240375675</c:v>
                </c:pt>
                <c:pt idx="79">
                  <c:v>97.4361392480565</c:v>
                </c:pt>
                <c:pt idx="80">
                  <c:v>97.57508444544635</c:v>
                </c:pt>
                <c:pt idx="81">
                  <c:v>97.70843094564651</c:v>
                </c:pt>
                <c:pt idx="82">
                  <c:v>97.83622158979377</c:v>
                </c:pt>
                <c:pt idx="83">
                  <c:v>97.95849911083843</c:v>
                </c:pt>
                <c:pt idx="84">
                  <c:v>98.0753061339999</c:v>
                </c:pt>
                <c:pt idx="85">
                  <c:v>98.18668517727889</c:v>
                </c:pt>
                <c:pt idx="86">
                  <c:v>98.29267865202694</c:v>
                </c:pt>
                <c:pt idx="87">
                  <c:v>98.39332886356512</c:v>
                </c:pt>
                <c:pt idx="88">
                  <c:v>98.48867801185818</c:v>
                </c:pt>
                <c:pt idx="89">
                  <c:v>98.57876819223097</c:v>
                </c:pt>
                <c:pt idx="90">
                  <c:v>98.66364139613573</c:v>
                </c:pt>
                <c:pt idx="91">
                  <c:v>98.74333951195926</c:v>
                </c:pt>
                <c:pt idx="92">
                  <c:v>98.81790432587127</c:v>
                </c:pt>
                <c:pt idx="93">
                  <c:v>98.88737752271129</c:v>
                </c:pt>
                <c:pt idx="94">
                  <c:v>98.95180068690847</c:v>
                </c:pt>
                <c:pt idx="95">
                  <c:v>99.0112153034355</c:v>
                </c:pt>
                <c:pt idx="96">
                  <c:v>99.06566275879133</c:v>
                </c:pt>
                <c:pt idx="97">
                  <c:v>99.11518434200775</c:v>
                </c:pt>
                <c:pt idx="98">
                  <c:v>99.15982124568234</c:v>
                </c:pt>
                <c:pt idx="99">
                  <c:v>99.19961456703031</c:v>
                </c:pt>
                <c:pt idx="100">
                  <c:v>99.23460530895076</c:v>
                </c:pt>
                <c:pt idx="101">
                  <c:v>99.26483438111148</c:v>
                </c:pt>
                <c:pt idx="102">
                  <c:v>99.29034260103981</c:v>
                </c:pt>
                <c:pt idx="103">
                  <c:v>99.3111706952241</c:v>
                </c:pt>
                <c:pt idx="104">
                  <c:v>99.32735930021776</c:v>
                </c:pt>
                <c:pt idx="105">
                  <c:v>99.33894896374315</c:v>
                </c:pt>
                <c:pt idx="106">
                  <c:v>99.34598014579534</c:v>
                </c:pt>
                <c:pt idx="107">
                  <c:v>99.34849321973948</c:v>
                </c:pt>
                <c:pt idx="108">
                  <c:v>99.34652847339645</c:v>
                </c:pt>
                <c:pt idx="109">
                  <c:v>99.34012611012</c:v>
                </c:pt>
                <c:pt idx="110">
                  <c:v>99.32932624985465</c:v>
                </c:pt>
                <c:pt idx="111">
                  <c:v>99.31416893017791</c:v>
                </c:pt>
                <c:pt idx="112">
                  <c:v>99.29469410731578</c:v>
                </c:pt>
                <c:pt idx="113">
                  <c:v>99.27094165713727</c:v>
                </c:pt>
                <c:pt idx="114">
                  <c:v>99.24295137611551</c:v>
                </c:pt>
                <c:pt idx="115">
                  <c:v>99.21076298226022</c:v>
                </c:pt>
                <c:pt idx="116">
                  <c:v>99.17441611601204</c:v>
                </c:pt>
                <c:pt idx="117">
                  <c:v>99.13395034110067</c:v>
                </c:pt>
                <c:pt idx="118">
                  <c:v>99.08940514535747</c:v>
                </c:pt>
                <c:pt idx="119">
                  <c:v>99.04081994148758</c:v>
                </c:pt>
                <c:pt idx="120">
                  <c:v>98.98823406779213</c:v>
                </c:pt>
                <c:pt idx="121">
                  <c:v>98.9316867888371</c:v>
                </c:pt>
                <c:pt idx="122">
                  <c:v>98.87121729607256</c:v>
                </c:pt>
                <c:pt idx="123">
                  <c:v>98.80686470839267</c:v>
                </c:pt>
                <c:pt idx="124">
                  <c:v>98.73866807263684</c:v>
                </c:pt>
                <c:pt idx="125">
                  <c:v>98.6666663640289</c:v>
                </c:pt>
                <c:pt idx="126">
                  <c:v>98.59089848655017</c:v>
                </c:pt>
                <c:pt idx="127">
                  <c:v>98.51140327324858</c:v>
                </c:pt>
                <c:pt idx="128">
                  <c:v>98.42821948647432</c:v>
                </c:pt>
                <c:pt idx="129">
                  <c:v>98.34138581804532</c:v>
                </c:pt>
                <c:pt idx="130">
                  <c:v>98.25094088933965</c:v>
                </c:pt>
                <c:pt idx="131">
                  <c:v>98.15692325131008</c:v>
                </c:pt>
                <c:pt idx="132">
                  <c:v>98.05937138442093</c:v>
                </c:pt>
                <c:pt idx="133">
                  <c:v>97.95832369850694</c:v>
                </c:pt>
                <c:pt idx="134">
                  <c:v>97.85381853254643</c:v>
                </c:pt>
                <c:pt idx="135">
                  <c:v>97.74589415435754</c:v>
                </c:pt>
                <c:pt idx="136">
                  <c:v>97.63458876020225</c:v>
                </c:pt>
                <c:pt idx="137">
                  <c:v>97.51994047431299</c:v>
                </c:pt>
                <c:pt idx="138">
                  <c:v>97.4019873483267</c:v>
                </c:pt>
                <c:pt idx="139">
                  <c:v>97.28076736063296</c:v>
                </c:pt>
                <c:pt idx="140">
                  <c:v>97.15631841563528</c:v>
                </c:pt>
                <c:pt idx="141">
                  <c:v>97.02867834292076</c:v>
                </c:pt>
                <c:pt idx="142">
                  <c:v>96.89788489634276</c:v>
                </c:pt>
                <c:pt idx="143">
                  <c:v>96.76397575301182</c:v>
                </c:pt>
                <c:pt idx="144">
                  <c:v>96.62698851219996</c:v>
                </c:pt>
                <c:pt idx="145">
                  <c:v>96.48696069415048</c:v>
                </c:pt>
                <c:pt idx="146">
                  <c:v>96.34392973880473</c:v>
                </c:pt>
                <c:pt idx="147">
                  <c:v>96.1979330044339</c:v>
                </c:pt>
                <c:pt idx="148">
                  <c:v>96.049007766186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E$2:$E$150</c:f>
              <c:numCache>
                <c:formatCode>General</c:formatCode>
                <c:ptCount val="149"/>
                <c:pt idx="0">
                  <c:v>0.25619834710743805</c:v>
                </c:pt>
                <c:pt idx="1">
                  <c:v>0.25925925925925924</c:v>
                </c:pt>
                <c:pt idx="2">
                  <c:v>0.2622950819672131</c:v>
                </c:pt>
                <c:pt idx="3">
                  <c:v>0.26530612244897955</c:v>
                </c:pt>
                <c:pt idx="4">
                  <c:v>0.26829268292682923</c:v>
                </c:pt>
                <c:pt idx="5">
                  <c:v>0.27125506072874483</c:v>
                </c:pt>
                <c:pt idx="6">
                  <c:v>0.27419354838709675</c:v>
                </c:pt>
                <c:pt idx="7">
                  <c:v>0.2771084337349397</c:v>
                </c:pt>
                <c:pt idx="8">
                  <c:v>0.28</c:v>
                </c:pt>
                <c:pt idx="9">
                  <c:v>0.2828685258964144</c:v>
                </c:pt>
                <c:pt idx="10">
                  <c:v>0.2857142857142857</c:v>
                </c:pt>
                <c:pt idx="11">
                  <c:v>0.2885375494071145</c:v>
                </c:pt>
                <c:pt idx="12">
                  <c:v>0.2913385826771654</c:v>
                </c:pt>
                <c:pt idx="13">
                  <c:v>0.2941176470588233</c:v>
                </c:pt>
                <c:pt idx="14">
                  <c:v>0.2968749999999999</c:v>
                </c:pt>
                <c:pt idx="15">
                  <c:v>0.2996108949416343</c:v>
                </c:pt>
                <c:pt idx="16">
                  <c:v>0.30232558139534876</c:v>
                </c:pt>
                <c:pt idx="17">
                  <c:v>0.3050193050193051</c:v>
                </c:pt>
                <c:pt idx="18">
                  <c:v>0.3076923076923077</c:v>
                </c:pt>
                <c:pt idx="19">
                  <c:v>0.3103448275862069</c:v>
                </c:pt>
                <c:pt idx="20">
                  <c:v>0.31297709923664113</c:v>
                </c:pt>
                <c:pt idx="21">
                  <c:v>0.3155893536121673</c:v>
                </c:pt>
                <c:pt idx="22">
                  <c:v>0.31818181818181823</c:v>
                </c:pt>
                <c:pt idx="23">
                  <c:v>0.32075471698113195</c:v>
                </c:pt>
                <c:pt idx="24">
                  <c:v>0.3233082706766918</c:v>
                </c:pt>
                <c:pt idx="25">
                  <c:v>0.32584269662921356</c:v>
                </c:pt>
                <c:pt idx="26">
                  <c:v>0.3283582089552238</c:v>
                </c:pt>
                <c:pt idx="27">
                  <c:v>0.3308550185873606</c:v>
                </c:pt>
                <c:pt idx="28">
                  <c:v>0.33333333333333337</c:v>
                </c:pt>
                <c:pt idx="29">
                  <c:v>0.3357933579335792</c:v>
                </c:pt>
                <c:pt idx="30">
                  <c:v>0.33823529411764697</c:v>
                </c:pt>
                <c:pt idx="31">
                  <c:v>0.3406593406593406</c:v>
                </c:pt>
                <c:pt idx="32">
                  <c:v>0.34306569343065696</c:v>
                </c:pt>
                <c:pt idx="33">
                  <c:v>0.34545454545454557</c:v>
                </c:pt>
                <c:pt idx="34">
                  <c:v>0.3478260869565219</c:v>
                </c:pt>
                <c:pt idx="35">
                  <c:v>0.35018050541516266</c:v>
                </c:pt>
                <c:pt idx="36">
                  <c:v>0.35251798561151076</c:v>
                </c:pt>
                <c:pt idx="37">
                  <c:v>0.3548387096774194</c:v>
                </c:pt>
                <c:pt idx="38">
                  <c:v>0.35714285714285715</c:v>
                </c:pt>
                <c:pt idx="39">
                  <c:v>0.35943060498220636</c:v>
                </c:pt>
                <c:pt idx="40">
                  <c:v>0.3617021276595745</c:v>
                </c:pt>
                <c:pt idx="41">
                  <c:v>0.3639575971731449</c:v>
                </c:pt>
                <c:pt idx="42">
                  <c:v>0.36619718309859167</c:v>
                </c:pt>
                <c:pt idx="43">
                  <c:v>0.3684210526315788</c:v>
                </c:pt>
                <c:pt idx="44">
                  <c:v>0.3706293706293705</c:v>
                </c:pt>
                <c:pt idx="45">
                  <c:v>0.37282229965156793</c:v>
                </c:pt>
                <c:pt idx="46">
                  <c:v>0.37500000000000006</c:v>
                </c:pt>
                <c:pt idx="47">
                  <c:v>0.3771626297577855</c:v>
                </c:pt>
                <c:pt idx="48">
                  <c:v>0.37931034482758624</c:v>
                </c:pt>
                <c:pt idx="49">
                  <c:v>0.38144329896907225</c:v>
                </c:pt>
                <c:pt idx="50">
                  <c:v>0.3835616438356164</c:v>
                </c:pt>
                <c:pt idx="51">
                  <c:v>0.38566552901023887</c:v>
                </c:pt>
                <c:pt idx="52">
                  <c:v>0.3877551020408163</c:v>
                </c:pt>
                <c:pt idx="53">
                  <c:v>0.3898305084745762</c:v>
                </c:pt>
                <c:pt idx="54">
                  <c:v>0.3918918918918919</c:v>
                </c:pt>
                <c:pt idx="55">
                  <c:v>0.3939393939393939</c:v>
                </c:pt>
                <c:pt idx="56">
                  <c:v>0.39597315436241615</c:v>
                </c:pt>
                <c:pt idx="57">
                  <c:v>0.39799331103678925</c:v>
                </c:pt>
                <c:pt idx="58">
                  <c:v>0.4</c:v>
                </c:pt>
                <c:pt idx="59">
                  <c:v>0.4019933554817275</c:v>
                </c:pt>
                <c:pt idx="60">
                  <c:v>0.4039735099337747</c:v>
                </c:pt>
                <c:pt idx="61">
                  <c:v>0.4059405940594059</c:v>
                </c:pt>
                <c:pt idx="62">
                  <c:v>0.40789473684210537</c:v>
                </c:pt>
                <c:pt idx="63">
                  <c:v>0.40983606557377045</c:v>
                </c:pt>
                <c:pt idx="64">
                  <c:v>0.41176470588235287</c:v>
                </c:pt>
                <c:pt idx="65">
                  <c:v>0.41368078175895767</c:v>
                </c:pt>
                <c:pt idx="66">
                  <c:v>0.41558441558441567</c:v>
                </c:pt>
                <c:pt idx="67">
                  <c:v>0.41747572815533984</c:v>
                </c:pt>
                <c:pt idx="68">
                  <c:v>0.41935483870967755</c:v>
                </c:pt>
                <c:pt idx="69">
                  <c:v>0.42122186495176844</c:v>
                </c:pt>
                <c:pt idx="70">
                  <c:v>0.42307692307692296</c:v>
                </c:pt>
                <c:pt idx="71">
                  <c:v>0.4249201277955271</c:v>
                </c:pt>
                <c:pt idx="72">
                  <c:v>0.42675159235668786</c:v>
                </c:pt>
                <c:pt idx="73">
                  <c:v>0.42857142857142855</c:v>
                </c:pt>
                <c:pt idx="74">
                  <c:v>0.43037974683544306</c:v>
                </c:pt>
                <c:pt idx="75">
                  <c:v>0.4321766561514195</c:v>
                </c:pt>
                <c:pt idx="76">
                  <c:v>0.4339622641509434</c:v>
                </c:pt>
                <c:pt idx="77">
                  <c:v>0.43573667711598735</c:v>
                </c:pt>
                <c:pt idx="78">
                  <c:v>0.4375000000000001</c:v>
                </c:pt>
                <c:pt idx="79">
                  <c:v>0.43925233644859807</c:v>
                </c:pt>
                <c:pt idx="80">
                  <c:v>0.4409937888198757</c:v>
                </c:pt>
                <c:pt idx="81">
                  <c:v>0.44272445820433437</c:v>
                </c:pt>
                <c:pt idx="82">
                  <c:v>0.4444444444444444</c:v>
                </c:pt>
                <c:pt idx="83">
                  <c:v>0.4461538461538462</c:v>
                </c:pt>
                <c:pt idx="84">
                  <c:v>0.4478527607361963</c:v>
                </c:pt>
                <c:pt idx="85">
                  <c:v>0.44954128440366975</c:v>
                </c:pt>
                <c:pt idx="86">
                  <c:v>0.45121951219512185</c:v>
                </c:pt>
                <c:pt idx="87">
                  <c:v>0.45288753799392095</c:v>
                </c:pt>
                <c:pt idx="88">
                  <c:v>0.45454545454545453</c:v>
                </c:pt>
                <c:pt idx="89">
                  <c:v>0.4561933534743202</c:v>
                </c:pt>
                <c:pt idx="90">
                  <c:v>0.4578313253012048</c:v>
                </c:pt>
                <c:pt idx="91">
                  <c:v>0.45945945945945943</c:v>
                </c:pt>
                <c:pt idx="92">
                  <c:v>0.4610778443113772</c:v>
                </c:pt>
                <c:pt idx="93">
                  <c:v>0.462686567164179</c:v>
                </c:pt>
                <c:pt idx="94">
                  <c:v>0.46428571428571425</c:v>
                </c:pt>
                <c:pt idx="95">
                  <c:v>0.46587537091988124</c:v>
                </c:pt>
                <c:pt idx="96">
                  <c:v>0.46745562130177515</c:v>
                </c:pt>
                <c:pt idx="97">
                  <c:v>0.4690265486725663</c:v>
                </c:pt>
                <c:pt idx="98">
                  <c:v>0.47058823529411764</c:v>
                </c:pt>
                <c:pt idx="99">
                  <c:v>0.47214076246334313</c:v>
                </c:pt>
                <c:pt idx="100">
                  <c:v>0.4736842105263158</c:v>
                </c:pt>
                <c:pt idx="101">
                  <c:v>0.47521865889212833</c:v>
                </c:pt>
                <c:pt idx="102">
                  <c:v>0.47674418604651164</c:v>
                </c:pt>
                <c:pt idx="103">
                  <c:v>0.4782608695652175</c:v>
                </c:pt>
                <c:pt idx="104">
                  <c:v>0.47976878612716767</c:v>
                </c:pt>
                <c:pt idx="105">
                  <c:v>0.4812680115273776</c:v>
                </c:pt>
                <c:pt idx="106">
                  <c:v>0.48275862068965514</c:v>
                </c:pt>
                <c:pt idx="107">
                  <c:v>0.48424068767908307</c:v>
                </c:pt>
                <c:pt idx="108">
                  <c:v>0.48571428571428565</c:v>
                </c:pt>
                <c:pt idx="109">
                  <c:v>0.4871794871794871</c:v>
                </c:pt>
                <c:pt idx="110">
                  <c:v>0.4886363636363637</c:v>
                </c:pt>
                <c:pt idx="111">
                  <c:v>0.490084985835694</c:v>
                </c:pt>
                <c:pt idx="112">
                  <c:v>0.4915254237288136</c:v>
                </c:pt>
                <c:pt idx="113">
                  <c:v>0.49295774647887325</c:v>
                </c:pt>
                <c:pt idx="114">
                  <c:v>0.49438202247191004</c:v>
                </c:pt>
                <c:pt idx="115">
                  <c:v>0.49579831932773105</c:v>
                </c:pt>
                <c:pt idx="116">
                  <c:v>0.49720670391061456</c:v>
                </c:pt>
                <c:pt idx="117">
                  <c:v>0.4986072423398329</c:v>
                </c:pt>
                <c:pt idx="118">
                  <c:v>0.5</c:v>
                </c:pt>
                <c:pt idx="119">
                  <c:v>0.5013850415512465</c:v>
                </c:pt>
                <c:pt idx="120">
                  <c:v>0.5027624309392266</c:v>
                </c:pt>
                <c:pt idx="121">
                  <c:v>0.5041322314049587</c:v>
                </c:pt>
                <c:pt idx="122">
                  <c:v>0.5054945054945055</c:v>
                </c:pt>
                <c:pt idx="123">
                  <c:v>0.5068493150684931</c:v>
                </c:pt>
                <c:pt idx="124">
                  <c:v>0.5081967213114754</c:v>
                </c:pt>
                <c:pt idx="125">
                  <c:v>0.5095367847411444</c:v>
                </c:pt>
                <c:pt idx="126">
                  <c:v>0.5108695652173914</c:v>
                </c:pt>
                <c:pt idx="127">
                  <c:v>0.5121951219512194</c:v>
                </c:pt>
                <c:pt idx="128">
                  <c:v>0.5135135135135136</c:v>
                </c:pt>
                <c:pt idx="129">
                  <c:v>0.5148247978436657</c:v>
                </c:pt>
                <c:pt idx="130">
                  <c:v>0.5161290322580645</c:v>
                </c:pt>
                <c:pt idx="131">
                  <c:v>0.517426273458445</c:v>
                </c:pt>
                <c:pt idx="132">
                  <c:v>0.5187165775401069</c:v>
                </c:pt>
                <c:pt idx="133">
                  <c:v>0.52</c:v>
                </c:pt>
                <c:pt idx="134">
                  <c:v>0.5212765957446808</c:v>
                </c:pt>
                <c:pt idx="135">
                  <c:v>0.5225464190981433</c:v>
                </c:pt>
                <c:pt idx="136">
                  <c:v>0.5238095238095238</c:v>
                </c:pt>
                <c:pt idx="137">
                  <c:v>0.525065963060686</c:v>
                </c:pt>
                <c:pt idx="138">
                  <c:v>0.5263157894736842</c:v>
                </c:pt>
                <c:pt idx="139">
                  <c:v>0.5275590551181102</c:v>
                </c:pt>
                <c:pt idx="140">
                  <c:v>0.5287958115183247</c:v>
                </c:pt>
                <c:pt idx="141">
                  <c:v>0.5300261096605744</c:v>
                </c:pt>
                <c:pt idx="142">
                  <c:v>0.5312500000000001</c:v>
                </c:pt>
                <c:pt idx="143">
                  <c:v>0.5324675324675324</c:v>
                </c:pt>
                <c:pt idx="144">
                  <c:v>0.533678756476684</c:v>
                </c:pt>
                <c:pt idx="145">
                  <c:v>0.5348837209302325</c:v>
                </c:pt>
                <c:pt idx="146">
                  <c:v>0.5360824742268041</c:v>
                </c:pt>
                <c:pt idx="147">
                  <c:v>0.5372750642673522</c:v>
                </c:pt>
                <c:pt idx="148">
                  <c:v>0.53846153846153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B$2:$B$42</c:f>
              <c:numCache>
                <c:formatCode>General</c:formatCode>
                <c:ptCount val="41"/>
                <c:pt idx="0">
                  <c:v>169.7367560365618</c:v>
                </c:pt>
                <c:pt idx="1">
                  <c:v>165.22885230058975</c:v>
                </c:pt>
                <c:pt idx="2">
                  <c:v>160.9332225967083</c:v>
                </c:pt>
                <c:pt idx="3">
                  <c:v>156.83574682806986</c:v>
                </c:pt>
                <c:pt idx="4">
                  <c:v>152.92355469861798</c:v>
                </c:pt>
                <c:pt idx="5">
                  <c:v>149.1848898400698</c:v>
                </c:pt>
                <c:pt idx="6">
                  <c:v>145.60899066518314</c:v>
                </c:pt>
                <c:pt idx="7">
                  <c:v>142.18598575237561</c:v>
                </c:pt>
                <c:pt idx="8">
                  <c:v>138.90680185852506</c:v>
                </c:pt>
                <c:pt idx="9">
                  <c:v>135.76308291198228</c:v>
                </c:pt>
                <c:pt idx="10">
                  <c:v>132.64904318341607</c:v>
                </c:pt>
                <c:pt idx="11">
                  <c:v>128.82025563660673</c:v>
                </c:pt>
                <c:pt idx="12">
                  <c:v>125.18447410896698</c:v>
                </c:pt>
                <c:pt idx="13">
                  <c:v>121.7266427590473</c:v>
                </c:pt>
                <c:pt idx="14">
                  <c:v>118.43338439942931</c:v>
                </c:pt>
                <c:pt idx="15">
                  <c:v>115.29276997121747</c:v>
                </c:pt>
                <c:pt idx="16">
                  <c:v>112.29412264924194</c:v>
                </c:pt>
                <c:pt idx="17">
                  <c:v>109.42785119682476</c:v>
                </c:pt>
                <c:pt idx="18">
                  <c:v>106.6853080632909</c:v>
                </c:pt>
                <c:pt idx="19">
                  <c:v>104.0586684248212</c:v>
                </c:pt>
                <c:pt idx="20">
                  <c:v>101.62306653176667</c:v>
                </c:pt>
                <c:pt idx="21">
                  <c:v>100.0</c:v>
                </c:pt>
                <c:pt idx="22">
                  <c:v>98.4215281400578</c:v>
                </c:pt>
                <c:pt idx="23">
                  <c:v>96.88571017110733</c:v>
                </c:pt>
                <c:pt idx="24">
                  <c:v>95.39072146894291</c:v>
                </c:pt>
                <c:pt idx="25">
                  <c:v>93.93484569000066</c:v>
                </c:pt>
                <c:pt idx="26">
                  <c:v>92.51646735484461</c:v>
                </c:pt>
                <c:pt idx="27">
                  <c:v>91.13406489236687</c:v>
                </c:pt>
                <c:pt idx="28">
                  <c:v>89.78620413791687</c:v>
                </c:pt>
                <c:pt idx="29">
                  <c:v>87.71280174005014</c:v>
                </c:pt>
                <c:pt idx="30">
                  <c:v>85.70707109680572</c:v>
                </c:pt>
                <c:pt idx="31">
                  <c:v>83.76620834699942</c:v>
                </c:pt>
                <c:pt idx="32">
                  <c:v>81.8875529151385</c:v>
                </c:pt>
                <c:pt idx="33">
                  <c:v>80.068578596428</c:v>
                </c:pt>
                <c:pt idx="34">
                  <c:v>78.30688529373559</c:v>
                </c:pt>
                <c:pt idx="35">
                  <c:v>76.60019135395231</c:v>
                </c:pt>
                <c:pt idx="36">
                  <c:v>74.94632645544657</c:v>
                </c:pt>
                <c:pt idx="37">
                  <c:v>73.34322500229227</c:v>
                </c:pt>
                <c:pt idx="38">
                  <c:v>71.78891998463655</c:v>
                </c:pt>
                <c:pt idx="39">
                  <c:v>70.28153726797383</c:v>
                </c:pt>
                <c:pt idx="40">
                  <c:v>68.819290277239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C$2:$C$42</c:f>
              <c:numCache>
                <c:formatCode>General</c:formatCode>
                <c:ptCount val="41"/>
                <c:pt idx="0">
                  <c:v>137.5425941173399</c:v>
                </c:pt>
                <c:pt idx="1">
                  <c:v>135.3817971266046</c:v>
                </c:pt>
                <c:pt idx="2">
                  <c:v>133.3153218764183</c:v>
                </c:pt>
                <c:pt idx="3">
                  <c:v>131.33711044903663</c:v>
                </c:pt>
                <c:pt idx="4">
                  <c:v>129.44165048724565</c:v>
                </c:pt>
                <c:pt idx="5">
                  <c:v>127.62391573195411</c:v>
                </c:pt>
                <c:pt idx="6">
                  <c:v>125.87931360450155</c:v>
                </c:pt>
                <c:pt idx="7">
                  <c:v>124.20363898228865</c:v>
                </c:pt>
                <c:pt idx="8">
                  <c:v>122.59303341381008</c:v>
                </c:pt>
                <c:pt idx="9">
                  <c:v>121.04394910801999</c:v>
                </c:pt>
                <c:pt idx="10">
                  <c:v>119.46500104465483</c:v>
                </c:pt>
                <c:pt idx="11">
                  <c:v>117.18142635424374</c:v>
                </c:pt>
                <c:pt idx="12">
                  <c:v>115.00582131422871</c:v>
                </c:pt>
                <c:pt idx="13">
                  <c:v>112.92947279566259</c:v>
                </c:pt>
                <c:pt idx="14">
                  <c:v>110.94469234329432</c:v>
                </c:pt>
                <c:pt idx="15">
                  <c:v>109.04467461486847</c:v>
                </c:pt>
                <c:pt idx="16">
                  <c:v>107.2233762748433</c:v>
                </c:pt>
                <c:pt idx="17">
                  <c:v>105.47541236807803</c:v>
                </c:pt>
                <c:pt idx="18">
                  <c:v>103.79596765621369</c:v>
                </c:pt>
                <c:pt idx="19">
                  <c:v>102.18072076485424</c:v>
                </c:pt>
                <c:pt idx="20">
                  <c:v>100.70705954973494</c:v>
                </c:pt>
                <c:pt idx="21">
                  <c:v>100.0</c:v>
                </c:pt>
                <c:pt idx="22">
                  <c:v>99.30868578199679</c:v>
                </c:pt>
                <c:pt idx="23">
                  <c:v>98.63234693816459</c:v>
                </c:pt>
                <c:pt idx="24">
                  <c:v>97.97026281717635</c:v>
                </c:pt>
                <c:pt idx="25">
                  <c:v>97.32175914886744</c:v>
                </c:pt>
                <c:pt idx="26">
                  <c:v>96.68620517398165</c:v>
                </c:pt>
                <c:pt idx="27">
                  <c:v>96.06301085886803</c:v>
                </c:pt>
                <c:pt idx="28">
                  <c:v>95.45162421684839</c:v>
                </c:pt>
                <c:pt idx="29">
                  <c:v>94.03999536311922</c:v>
                </c:pt>
                <c:pt idx="30">
                  <c:v>92.66405843354029</c:v>
                </c:pt>
                <c:pt idx="31">
                  <c:v>91.32259090250653</c:v>
                </c:pt>
                <c:pt idx="32">
                  <c:v>90.01442644335232</c:v>
                </c:pt>
                <c:pt idx="33">
                  <c:v>88.73845151770425</c:v>
                </c:pt>
                <c:pt idx="34">
                  <c:v>87.49360221035931</c:v>
                </c:pt>
                <c:pt idx="35">
                  <c:v>86.27886129167011</c:v>
                </c:pt>
                <c:pt idx="36">
                  <c:v>85.09325549046824</c:v>
                </c:pt>
                <c:pt idx="37">
                  <c:v>83.93585296162738</c:v>
                </c:pt>
                <c:pt idx="38">
                  <c:v>82.8057609334165</c:v>
                </c:pt>
                <c:pt idx="39">
                  <c:v>81.7021235208205</c:v>
                </c:pt>
                <c:pt idx="40">
                  <c:v>80.624119691996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D$2:$D$42</c:f>
              <c:numCache>
                <c:formatCode>General</c:formatCode>
                <c:ptCount val="41"/>
                <c:pt idx="0">
                  <c:v>87.07580367153234</c:v>
                </c:pt>
                <c:pt idx="1">
                  <c:v>88.59492300314584</c:v>
                </c:pt>
                <c:pt idx="2">
                  <c:v>90.02370662024316</c:v>
                </c:pt>
                <c:pt idx="3">
                  <c:v>91.36869655356945</c:v>
                </c:pt>
                <c:pt idx="4">
                  <c:v>92.63588212698568</c:v>
                </c:pt>
                <c:pt idx="5">
                  <c:v>93.83075941518612</c:v>
                </c:pt>
                <c:pt idx="6">
                  <c:v>94.95838270383379</c:v>
                </c:pt>
                <c:pt idx="7">
                  <c:v>96.0234091850068</c:v>
                </c:pt>
                <c:pt idx="8">
                  <c:v>97.03013791743274</c:v>
                </c:pt>
                <c:pt idx="9">
                  <c:v>97.98254391210178</c:v>
                </c:pt>
                <c:pt idx="10">
                  <c:v>98.81125099195893</c:v>
                </c:pt>
                <c:pt idx="11">
                  <c:v>98.94653132913861</c:v>
                </c:pt>
                <c:pt idx="12">
                  <c:v>99.05695399372547</c:v>
                </c:pt>
                <c:pt idx="13">
                  <c:v>99.14368389943712</c:v>
                </c:pt>
                <c:pt idx="14">
                  <c:v>99.2078955211067</c:v>
                </c:pt>
                <c:pt idx="15">
                  <c:v>99.25076908675834</c:v>
                </c:pt>
                <c:pt idx="16">
                  <c:v>99.27348530927387</c:v>
                </c:pt>
                <c:pt idx="17">
                  <c:v>99.27721939732184</c:v>
                </c:pt>
                <c:pt idx="18">
                  <c:v>99.2631349004058</c:v>
                </c:pt>
                <c:pt idx="19">
                  <c:v>99.23237778137683</c:v>
                </c:pt>
                <c:pt idx="20">
                  <c:v>99.26640339843654</c:v>
                </c:pt>
                <c:pt idx="21">
                  <c:v>100.0</c:v>
                </c:pt>
                <c:pt idx="22">
                  <c:v>100.70394683504146</c:v>
                </c:pt>
                <c:pt idx="23">
                  <c:v>101.37931559159283</c:v>
                </c:pt>
                <c:pt idx="24">
                  <c:v>102.0271221667316</c:v>
                </c:pt>
                <c:pt idx="25">
                  <c:v>102.64833152851259</c:v>
                </c:pt>
                <c:pt idx="26">
                  <c:v>103.24386199476845</c:v>
                </c:pt>
                <c:pt idx="27">
                  <c:v>103.81458900478665</c:v>
                </c:pt>
                <c:pt idx="28">
                  <c:v>104.36134845076191</c:v>
                </c:pt>
                <c:pt idx="29">
                  <c:v>103.98544795997127</c:v>
                </c:pt>
                <c:pt idx="30">
                  <c:v>103.59517774932084</c:v>
                </c:pt>
                <c:pt idx="31">
                  <c:v>103.19179170789037</c:v>
                </c:pt>
                <c:pt idx="32">
                  <c:v>102.77646347273705</c:v>
                </c:pt>
                <c:pt idx="33">
                  <c:v>102.35029164715861</c:v>
                </c:pt>
                <c:pt idx="34">
                  <c:v>101.91430462701827</c:v>
                </c:pt>
                <c:pt idx="35">
                  <c:v>101.46946507133651</c:v>
                </c:pt>
                <c:pt idx="36">
                  <c:v>101.01667404934555</c:v>
                </c:pt>
                <c:pt idx="37">
                  <c:v>100.55677489270506</c:v>
                </c:pt>
                <c:pt idx="38">
                  <c:v>100.09055677848741</c:v>
                </c:pt>
                <c:pt idx="39">
                  <c:v>99.61875806582916</c:v>
                </c:pt>
                <c:pt idx="40">
                  <c:v>99.142069406765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E$2:$E$42</c:f>
              <c:numCache>
                <c:formatCode>General</c:formatCode>
                <c:ptCount val="41"/>
                <c:pt idx="0">
                  <c:v>0.24579546862265714</c:v>
                </c:pt>
                <c:pt idx="1">
                  <c:v>0.25408343050592463</c:v>
                </c:pt>
                <c:pt idx="2">
                  <c:v>0.26219121930477324</c:v>
                </c:pt>
                <c:pt idx="3">
                  <c:v>0.2701246470541843</c:v>
                </c:pt>
                <c:pt idx="4">
                  <c:v>0.2778892784685015</c:v>
                </c:pt>
                <c:pt idx="5">
                  <c:v>0.2854904439583068</c:v>
                </c:pt>
                <c:pt idx="6">
                  <c:v>0.29293325183374097</c:v>
                </c:pt>
                <c:pt idx="7">
                  <c:v>0.3002225997529809</c:v>
                </c:pt>
                <c:pt idx="8">
                  <c:v>0.3073631854697872</c:v>
                </c:pt>
                <c:pt idx="9">
                  <c:v>0.3143595169296883</c:v>
                </c:pt>
                <c:pt idx="10">
                  <c:v>0.32121592176039143</c:v>
                </c:pt>
                <c:pt idx="11">
                  <c:v>0.32793655619840734</c:v>
                </c:pt>
                <c:pt idx="12">
                  <c:v>0.33452541349057985</c:v>
                </c:pt>
                <c:pt idx="13">
                  <c:v>0.3409863318062053</c:v>
                </c:pt>
                <c:pt idx="14">
                  <c:v>0.34732300169268404</c:v>
                </c:pt>
                <c:pt idx="15">
                  <c:v>0.3535389731051347</c:v>
                </c:pt>
                <c:pt idx="16">
                  <c:v>0.3596376620381051</c:v>
                </c:pt>
                <c:pt idx="17">
                  <c:v>0.36562235678541255</c:v>
                </c:pt>
                <c:pt idx="18">
                  <c:v>0.37149622385221426</c:v>
                </c:pt>
                <c:pt idx="19">
                  <c:v>0.37726231354164347</c:v>
                </c:pt>
                <c:pt idx="20">
                  <c:v>0.3829235652367195</c:v>
                </c:pt>
                <c:pt idx="21">
                  <c:v>0.38848281239674903</c:v>
                </c:pt>
                <c:pt idx="22">
                  <c:v>0.3939427872860637</c:v>
                </c:pt>
                <c:pt idx="23">
                  <c:v>0.3993061254516738</c:v>
                </c:pt>
                <c:pt idx="24">
                  <c:v>0.40457536996525556</c:v>
                </c:pt>
                <c:pt idx="25">
                  <c:v>0.4097529754438186</c:v>
                </c:pt>
                <c:pt idx="26">
                  <c:v>0.41484131186240636</c:v>
                </c:pt>
                <c:pt idx="27">
                  <c:v>0.4198426681712747</c:v>
                </c:pt>
                <c:pt idx="28">
                  <c:v>0.42475925572914525</c:v>
                </c:pt>
                <c:pt idx="29">
                  <c:v>0.42959321156335417</c:v>
                </c:pt>
                <c:pt idx="30">
                  <c:v>0.43434660146699283</c:v>
                </c:pt>
                <c:pt idx="31">
                  <c:v>0.4390214229424722</c:v>
                </c:pt>
                <c:pt idx="32">
                  <c:v>0.4436196080003208</c:v>
                </c:pt>
                <c:pt idx="33">
                  <c:v>0.44814302582145643</c:v>
                </c:pt>
                <c:pt idx="34">
                  <c:v>0.45259348529063814</c:v>
                </c:pt>
                <c:pt idx="35">
                  <c:v>0.45697273740831307</c:v>
                </c:pt>
                <c:pt idx="36">
                  <c:v>0.46128247758761215</c:v>
                </c:pt>
                <c:pt idx="37">
                  <c:v>0.465524347842828</c:v>
                </c:pt>
                <c:pt idx="38">
                  <c:v>0.4696999388753057</c:v>
                </c:pt>
                <c:pt idx="39">
                  <c:v>0.47381079206231896</c:v>
                </c:pt>
                <c:pt idx="40">
                  <c:v>0.477858401354147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B$2:$B$70</c:f>
              <c:numCache>
                <c:formatCode>General</c:formatCode>
                <c:ptCount val="69"/>
                <c:pt idx="0">
                  <c:v>144.3550260466429</c:v>
                </c:pt>
                <c:pt idx="1">
                  <c:v>142.66692914227764</c:v>
                </c:pt>
                <c:pt idx="2">
                  <c:v>141.00978764510845</c:v>
                </c:pt>
                <c:pt idx="3">
                  <c:v>139.3833366879984</c:v>
                </c:pt>
                <c:pt idx="4">
                  <c:v>137.7872489364182</c:v>
                </c:pt>
                <c:pt idx="5">
                  <c:v>136.22113760269977</c:v>
                </c:pt>
                <c:pt idx="6">
                  <c:v>134.68456079724984</c:v>
                </c:pt>
                <c:pt idx="7">
                  <c:v>133.17702691885168</c:v>
                </c:pt>
                <c:pt idx="8">
                  <c:v>131.69800078120193</c:v>
                </c:pt>
                <c:pt idx="9">
                  <c:v>130.47820392239814</c:v>
                </c:pt>
                <c:pt idx="10">
                  <c:v>129.27672256179216</c:v>
                </c:pt>
                <c:pt idx="11">
                  <c:v>128.09324743563892</c:v>
                </c:pt>
                <c:pt idx="12">
                  <c:v>126.9274679914838</c:v>
                </c:pt>
                <c:pt idx="13">
                  <c:v>125.77907308821207</c:v>
                </c:pt>
                <c:pt idx="14">
                  <c:v>124.64775166519769</c:v>
                </c:pt>
                <c:pt idx="15">
                  <c:v>123.53319337542099</c:v>
                </c:pt>
                <c:pt idx="16">
                  <c:v>122.43508917885234</c:v>
                </c:pt>
                <c:pt idx="17">
                  <c:v>121.35313189367074</c:v>
                </c:pt>
                <c:pt idx="18">
                  <c:v>120.2870167039824</c:v>
                </c:pt>
                <c:pt idx="19">
                  <c:v>119.23644162363718</c:v>
                </c:pt>
                <c:pt idx="20">
                  <c:v>118.20110791652245</c:v>
                </c:pt>
                <c:pt idx="21">
                  <c:v>117.18072047432828</c:v>
                </c:pt>
                <c:pt idx="22">
                  <c:v>116.17498815326792</c:v>
                </c:pt>
                <c:pt idx="23">
                  <c:v>115.18362407158914</c:v>
                </c:pt>
                <c:pt idx="24">
                  <c:v>114.20634586996312</c:v>
                </c:pt>
                <c:pt idx="25">
                  <c:v>113.24287593700211</c:v>
                </c:pt>
                <c:pt idx="26">
                  <c:v>112.29294160221703</c:v>
                </c:pt>
                <c:pt idx="27">
                  <c:v>111.35627529874981</c:v>
                </c:pt>
                <c:pt idx="28">
                  <c:v>110.43261469817523</c:v>
                </c:pt>
                <c:pt idx="29">
                  <c:v>108.85739035155619</c:v>
                </c:pt>
                <c:pt idx="30">
                  <c:v>107.31064777368414</c:v>
                </c:pt>
                <c:pt idx="31">
                  <c:v>105.79222524492491</c:v>
                </c:pt>
                <c:pt idx="32">
                  <c:v>104.3020096078482</c:v>
                </c:pt>
                <c:pt idx="33">
                  <c:v>102.83992688765373</c:v>
                </c:pt>
                <c:pt idx="34">
                  <c:v>101.40593231378563</c:v>
                </c:pt>
                <c:pt idx="35">
                  <c:v>100.0</c:v>
                </c:pt>
                <c:pt idx="36">
                  <c:v>98.62211256277226</c:v>
                </c:pt>
                <c:pt idx="37">
                  <c:v>97.27225096635088</c:v>
                </c:pt>
                <c:pt idx="38">
                  <c:v>95.95038487623225</c:v>
                </c:pt>
                <c:pt idx="39">
                  <c:v>94.65646378175018</c:v>
                </c:pt>
                <c:pt idx="40">
                  <c:v>93.39040911443335</c:v>
                </c:pt>
                <c:pt idx="41">
                  <c:v>92.15210754429422</c:v>
                </c:pt>
                <c:pt idx="42">
                  <c:v>90.94140558449155</c:v>
                </c:pt>
                <c:pt idx="43">
                  <c:v>89.75810557942032</c:v>
                </c:pt>
                <c:pt idx="44">
                  <c:v>88.6019630958103</c:v>
                </c:pt>
                <c:pt idx="45">
                  <c:v>87.47268568416318</c:v>
                </c:pt>
                <c:pt idx="46">
                  <c:v>86.36993293156384</c:v>
                </c:pt>
                <c:pt idx="47">
                  <c:v>85.29331768860892</c:v>
                </c:pt>
                <c:pt idx="48">
                  <c:v>84.24240832415863</c:v>
                </c:pt>
                <c:pt idx="49">
                  <c:v>83.57845452480414</c:v>
                </c:pt>
                <c:pt idx="50">
                  <c:v>82.92026162876077</c:v>
                </c:pt>
                <c:pt idx="51">
                  <c:v>82.26779135031353</c:v>
                </c:pt>
                <c:pt idx="52">
                  <c:v>81.6210059221767</c:v>
                </c:pt>
                <c:pt idx="53">
                  <c:v>80.97986841096836</c:v>
                </c:pt>
                <c:pt idx="54">
                  <c:v>80.34434302947591</c:v>
                </c:pt>
                <c:pt idx="55">
                  <c:v>79.71439544062598</c:v>
                </c:pt>
                <c:pt idx="56">
                  <c:v>79.08999304791716</c:v>
                </c:pt>
                <c:pt idx="57">
                  <c:v>78.47110526700928</c:v>
                </c:pt>
                <c:pt idx="58">
                  <c:v>77.8577037731916</c:v>
                </c:pt>
                <c:pt idx="59">
                  <c:v>77.24976271959288</c:v>
                </c:pt>
                <c:pt idx="60">
                  <c:v>76.64725892125745</c:v>
                </c:pt>
                <c:pt idx="61">
                  <c:v>76.05017200059754</c:v>
                </c:pt>
                <c:pt idx="62">
                  <c:v>75.4584844902472</c:v>
                </c:pt>
                <c:pt idx="63">
                  <c:v>74.87218188997527</c:v>
                </c:pt>
                <c:pt idx="64">
                  <c:v>74.2912526750848</c:v>
                </c:pt>
                <c:pt idx="65">
                  <c:v>73.71568825457675</c:v>
                </c:pt>
                <c:pt idx="66">
                  <c:v>73.14548287831569</c:v>
                </c:pt>
                <c:pt idx="67">
                  <c:v>72.58063349345396</c:v>
                </c:pt>
                <c:pt idx="68">
                  <c:v>72.021139551422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C$2:$C$70</c:f>
              <c:numCache>
                <c:formatCode>General</c:formatCode>
                <c:ptCount val="69"/>
                <c:pt idx="0">
                  <c:v>117.5126953422432</c:v>
                </c:pt>
                <c:pt idx="1">
                  <c:v>116.89240748193474</c:v>
                </c:pt>
                <c:pt idx="2">
                  <c:v>116.2800978156313</c:v>
                </c:pt>
                <c:pt idx="3">
                  <c:v>115.67601400036173</c:v>
                </c:pt>
                <c:pt idx="4">
                  <c:v>115.08034751109464</c:v>
                </c:pt>
                <c:pt idx="5">
                  <c:v>114.49323455100075</c:v>
                </c:pt>
                <c:pt idx="6">
                  <c:v>113.91475815815875</c:v>
                </c:pt>
                <c:pt idx="7">
                  <c:v>113.34495130766457</c:v>
                </c:pt>
                <c:pt idx="8">
                  <c:v>112.78380079199766</c:v>
                </c:pt>
                <c:pt idx="9">
                  <c:v>112.42625633396595</c:v>
                </c:pt>
                <c:pt idx="10">
                  <c:v>112.07190577863402</c:v>
                </c:pt>
                <c:pt idx="11">
                  <c:v>111.72076108993414</c:v>
                </c:pt>
                <c:pt idx="12">
                  <c:v>111.37282695999615</c:v>
                </c:pt>
                <c:pt idx="13">
                  <c:v>111.02810138093182</c:v>
                </c:pt>
                <c:pt idx="14">
                  <c:v>110.6865762105222</c:v>
                </c:pt>
                <c:pt idx="15">
                  <c:v>110.34823772628893</c:v>
                </c:pt>
                <c:pt idx="16">
                  <c:v>110.01306716347679</c:v>
                </c:pt>
                <c:pt idx="17">
                  <c:v>109.68104123344841</c:v>
                </c:pt>
                <c:pt idx="18">
                  <c:v>109.35213261985962</c:v>
                </c:pt>
                <c:pt idx="19">
                  <c:v>109.026310450769</c:v>
                </c:pt>
                <c:pt idx="20">
                  <c:v>108.70354074550849</c:v>
                </c:pt>
                <c:pt idx="21">
                  <c:v>108.38378683571679</c:v>
                </c:pt>
                <c:pt idx="22">
                  <c:v>108.06700976041294</c:v>
                </c:pt>
                <c:pt idx="23">
                  <c:v>107.75316863537128</c:v>
                </c:pt>
                <c:pt idx="24">
                  <c:v>107.44222099735457</c:v>
                </c:pt>
                <c:pt idx="25">
                  <c:v>107.13412312399855</c:v>
                </c:pt>
                <c:pt idx="26">
                  <c:v>106.82883033028415</c:v>
                </c:pt>
                <c:pt idx="27">
                  <c:v>106.52629724264646</c:v>
                </c:pt>
                <c:pt idx="28">
                  <c:v>106.22647805182137</c:v>
                </c:pt>
                <c:pt idx="29">
                  <c:v>105.30282367802117</c:v>
                </c:pt>
                <c:pt idx="30">
                  <c:v>104.39002209957123</c:v>
                </c:pt>
                <c:pt idx="31">
                  <c:v>103.48835388453877</c:v>
                </c:pt>
                <c:pt idx="32">
                  <c:v>102.59814370988782</c:v>
                </c:pt>
                <c:pt idx="33">
                  <c:v>101.7197525567144</c:v>
                </c:pt>
                <c:pt idx="34">
                  <c:v>100.85356902556369</c:v>
                </c:pt>
                <c:pt idx="35">
                  <c:v>100.0</c:v>
                </c:pt>
                <c:pt idx="36">
                  <c:v>99.15946091989845</c:v>
                </c:pt>
                <c:pt idx="37">
                  <c:v>98.33236594632898</c:v>
                </c:pt>
                <c:pt idx="38">
                  <c:v>97.51911830589582</c:v>
                </c:pt>
                <c:pt idx="39">
                  <c:v>96.72010109356786</c:v>
                </c:pt>
                <c:pt idx="40">
                  <c:v>95.93566879018857</c:v>
                </c:pt>
                <c:pt idx="41">
                  <c:v>95.16613971581428</c:v>
                </c:pt>
                <c:pt idx="42">
                  <c:v>94.41178959549497</c:v>
                </c:pt>
                <c:pt idx="43">
                  <c:v>93.67284636329855</c:v>
                </c:pt>
                <c:pt idx="44">
                  <c:v>92.94948627679474</c:v>
                </c:pt>
                <c:pt idx="45">
                  <c:v>92.24183136121955</c:v>
                </c:pt>
                <c:pt idx="46">
                  <c:v>91.54994815317254</c:v>
                </c:pt>
                <c:pt idx="47">
                  <c:v>90.8738476703985</c:v>
                </c:pt>
                <c:pt idx="48">
                  <c:v>90.2134864987238</c:v>
                </c:pt>
                <c:pt idx="49">
                  <c:v>89.94861831570303</c:v>
                </c:pt>
                <c:pt idx="50">
                  <c:v>89.68302649608407</c:v>
                </c:pt>
                <c:pt idx="51">
                  <c:v>89.41675814501987</c:v>
                </c:pt>
                <c:pt idx="52">
                  <c:v>89.14986014323196</c:v>
                </c:pt>
                <c:pt idx="53">
                  <c:v>88.88237949870634</c:v>
                </c:pt>
                <c:pt idx="54">
                  <c:v>88.6143637046435</c:v>
                </c:pt>
                <c:pt idx="55">
                  <c:v>88.34586109807606</c:v>
                </c:pt>
                <c:pt idx="56">
                  <c:v>88.07692121319558</c:v>
                </c:pt>
                <c:pt idx="57">
                  <c:v>87.80759512313915</c:v>
                </c:pt>
                <c:pt idx="58">
                  <c:v>87.53793576379707</c:v>
                </c:pt>
                <c:pt idx="59">
                  <c:v>87.26799823313996</c:v>
                </c:pt>
                <c:pt idx="60">
                  <c:v>86.9978400596344</c:v>
                </c:pt>
                <c:pt idx="61">
                  <c:v>86.72752143354194</c:v>
                </c:pt>
                <c:pt idx="62">
                  <c:v>86.45710539528159</c:v>
                </c:pt>
                <c:pt idx="63">
                  <c:v>86.18665797557294</c:v>
                </c:pt>
                <c:pt idx="64">
                  <c:v>85.91624828280295</c:v>
                </c:pt>
                <c:pt idx="65">
                  <c:v>85.64594853390926</c:v>
                </c:pt>
                <c:pt idx="66">
                  <c:v>85.37583402608647</c:v>
                </c:pt>
                <c:pt idx="67">
                  <c:v>85.10598304774669</c:v>
                </c:pt>
                <c:pt idx="68">
                  <c:v>84.836476728380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D$2:$D$70</c:f>
              <c:numCache>
                <c:formatCode>General</c:formatCode>
                <c:ptCount val="69"/>
                <c:pt idx="0">
                  <c:v>72.51775287997827</c:v>
                </c:pt>
                <c:pt idx="1">
                  <c:v>73.69821716976102</c:v>
                </c:pt>
                <c:pt idx="2">
                  <c:v>74.84710841410403</c:v>
                </c:pt>
                <c:pt idx="3">
                  <c:v>75.96560266373982</c:v>
                </c:pt>
                <c:pt idx="4">
                  <c:v>77.05482597181421</c:v>
                </c:pt>
                <c:pt idx="5">
                  <c:v>78.11585168148338</c:v>
                </c:pt>
                <c:pt idx="6">
                  <c:v>79.14969875634489</c:v>
                </c:pt>
                <c:pt idx="7">
                  <c:v>80.15733110748415</c:v>
                </c:pt>
                <c:pt idx="8">
                  <c:v>81.13965783396617</c:v>
                </c:pt>
                <c:pt idx="9">
                  <c:v>82.24332387139054</c:v>
                </c:pt>
                <c:pt idx="10">
                  <c:v>83.3241079406612</c:v>
                </c:pt>
                <c:pt idx="11">
                  <c:v>84.38258756120601</c:v>
                </c:pt>
                <c:pt idx="12">
                  <c:v>85.41932179627203</c:v>
                </c:pt>
                <c:pt idx="13">
                  <c:v>86.43485164237961</c:v>
                </c:pt>
                <c:pt idx="14">
                  <c:v>87.42970045682425</c:v>
                </c:pt>
                <c:pt idx="15">
                  <c:v>88.40437441647798</c:v>
                </c:pt>
                <c:pt idx="16">
                  <c:v>89.35936300160276</c:v>
                </c:pt>
                <c:pt idx="17">
                  <c:v>90.29513949891161</c:v>
                </c:pt>
                <c:pt idx="18">
                  <c:v>91.21216151866872</c:v>
                </c:pt>
                <c:pt idx="19">
                  <c:v>92.11087152118907</c:v>
                </c:pt>
                <c:pt idx="20">
                  <c:v>92.99169734866513</c:v>
                </c:pt>
                <c:pt idx="21">
                  <c:v>93.85505275878663</c:v>
                </c:pt>
                <c:pt idx="22">
                  <c:v>94.7013379571291</c:v>
                </c:pt>
                <c:pt idx="23">
                  <c:v>95.53094012574913</c:v>
                </c:pt>
                <c:pt idx="24">
                  <c:v>96.34423394584421</c:v>
                </c:pt>
                <c:pt idx="25">
                  <c:v>97.14158211271211</c:v>
                </c:pt>
                <c:pt idx="26">
                  <c:v>97.92333584155722</c:v>
                </c:pt>
                <c:pt idx="27">
                  <c:v>98.68983536297034</c:v>
                </c:pt>
                <c:pt idx="28">
                  <c:v>99.44141040713998</c:v>
                </c:pt>
                <c:pt idx="29">
                  <c:v>99.57074086039927</c:v>
                </c:pt>
                <c:pt idx="30">
                  <c:v>99.68173400766402</c:v>
                </c:pt>
                <c:pt idx="31">
                  <c:v>99.77545222004468</c:v>
                </c:pt>
                <c:pt idx="32">
                  <c:v>99.85299516186888</c:v>
                </c:pt>
                <c:pt idx="33">
                  <c:v>99.91549413020986</c:v>
                </c:pt>
                <c:pt idx="34">
                  <c:v>99.96410500394353</c:v>
                </c:pt>
                <c:pt idx="35">
                  <c:v>100.0</c:v>
                </c:pt>
                <c:pt idx="36">
                  <c:v>100.02435848668252</c:v>
                </c:pt>
                <c:pt idx="37">
                  <c:v>100.0383571444218</c:v>
                </c:pt>
                <c:pt idx="38">
                  <c:v>100.04315979031708</c:v>
                </c:pt>
                <c:pt idx="39">
                  <c:v>100.03990719258726</c:v>
                </c:pt>
                <c:pt idx="40">
                  <c:v>100.02970719424668</c:v>
                </c:pt>
                <c:pt idx="41">
                  <c:v>100.01362544281717</c:v>
                </c:pt>
                <c:pt idx="42">
                  <c:v>99.99267698673933</c:v>
                </c:pt>
                <c:pt idx="43">
                  <c:v>99.96781895229428</c:v>
                </c:pt>
                <c:pt idx="44">
                  <c:v>99.93994446081342</c:v>
                </c:pt>
                <c:pt idx="45">
                  <c:v>99.90987788850097</c:v>
                </c:pt>
                <c:pt idx="46">
                  <c:v>99.87837151394201</c:v>
                </c:pt>
                <c:pt idx="47">
                  <c:v>99.84610354456129</c:v>
                </c:pt>
                <c:pt idx="48">
                  <c:v>99.81367746555684</c:v>
                </c:pt>
                <c:pt idx="49">
                  <c:v>100.2153488068392</c:v>
                </c:pt>
                <c:pt idx="50">
                  <c:v>100.60512902670318</c:v>
                </c:pt>
                <c:pt idx="51">
                  <c:v>100.98321686167095</c:v>
                </c:pt>
                <c:pt idx="52">
                  <c:v>101.34980951456272</c:v>
                </c:pt>
                <c:pt idx="53">
                  <c:v>101.70510308756617</c:v>
                </c:pt>
                <c:pt idx="54">
                  <c:v>102.04929303814525</c:v>
                </c:pt>
                <c:pt idx="55">
                  <c:v>102.38257465093126</c:v>
                </c:pt>
                <c:pt idx="56">
                  <c:v>102.70514351796879</c:v>
                </c:pt>
                <c:pt idx="57">
                  <c:v>103.01719601899934</c:v>
                </c:pt>
                <c:pt idx="58">
                  <c:v>103.31892979290514</c:v>
                </c:pt>
                <c:pt idx="59">
                  <c:v>103.61054419102356</c:v>
                </c:pt>
                <c:pt idx="60">
                  <c:v>103.89224070280794</c:v>
                </c:pt>
                <c:pt idx="61">
                  <c:v>104.1642233442919</c:v>
                </c:pt>
                <c:pt idx="62">
                  <c:v>104.42669900000861</c:v>
                </c:pt>
                <c:pt idx="63">
                  <c:v>104.67987770945555</c:v>
                </c:pt>
                <c:pt idx="64">
                  <c:v>104.92397288989575</c:v>
                </c:pt>
                <c:pt idx="65">
                  <c:v>105.15920148821267</c:v>
                </c:pt>
                <c:pt idx="66">
                  <c:v>105.38578405571974</c:v>
                </c:pt>
                <c:pt idx="67">
                  <c:v>105.60394474122089</c:v>
                </c:pt>
                <c:pt idx="68">
                  <c:v>105.813911199196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E$2:$E$70</c:f>
              <c:numCache>
                <c:formatCode>General</c:formatCode>
                <c:ptCount val="69"/>
                <c:pt idx="0">
                  <c:v>0.23554358704667777</c:v>
                </c:pt>
                <c:pt idx="1">
                  <c:v>0.24060621229802429</c:v>
                </c:pt>
                <c:pt idx="2">
                  <c:v>0.2456022240592214</c:v>
                </c:pt>
                <c:pt idx="3">
                  <c:v>0.250532928477135</c:v>
                </c:pt>
                <c:pt idx="4">
                  <c:v>0.25539959777273813</c:v>
                </c:pt>
                <c:pt idx="5">
                  <c:v>0.2602034713354946</c:v>
                </c:pt>
                <c:pt idx="6">
                  <c:v>0.2649457567756518</c:v>
                </c:pt>
                <c:pt idx="7">
                  <c:v>0.2696276309363165</c:v>
                </c:pt>
                <c:pt idx="8">
                  <c:v>0.27425024086709915</c:v>
                </c:pt>
                <c:pt idx="9">
                  <c:v>0.2788147047610167</c:v>
                </c:pt>
                <c:pt idx="10">
                  <c:v>0.28332211285626036</c:v>
                </c:pt>
                <c:pt idx="11">
                  <c:v>0.2877735283043582</c:v>
                </c:pt>
                <c:pt idx="12">
                  <c:v>0.29216998800618316</c:v>
                </c:pt>
                <c:pt idx="13">
                  <c:v>0.2965125034171881</c:v>
                </c:pt>
                <c:pt idx="14">
                  <c:v>0.30080206132318094</c:v>
                </c:pt>
                <c:pt idx="15">
                  <c:v>0.30503962458788886</c:v>
                </c:pt>
                <c:pt idx="16">
                  <c:v>0.30922613287350403</c:v>
                </c:pt>
                <c:pt idx="17">
                  <c:v>0.3133625033353394</c:v>
                </c:pt>
                <c:pt idx="18">
                  <c:v>0.3174496312916765</c:v>
                </c:pt>
                <c:pt idx="19">
                  <c:v>0.3214883908698324</c:v>
                </c:pt>
                <c:pt idx="20">
                  <c:v>0.3254796356294216</c:v>
                </c:pt>
                <c:pt idx="21">
                  <c:v>0.3294241991637525</c:v>
                </c:pt>
                <c:pt idx="22">
                  <c:v>0.33332289568024237</c:v>
                </c:pt>
                <c:pt idx="23">
                  <c:v>0.33717652056070324</c:v>
                </c:pt>
                <c:pt idx="24">
                  <c:v>0.34098585090230843</c:v>
                </c:pt>
                <c:pt idx="25">
                  <c:v>0.3447516460400096</c:v>
                </c:pt>
                <c:pt idx="26">
                  <c:v>0.34847464805114586</c:v>
                </c:pt>
                <c:pt idx="27">
                  <c:v>0.3521555822429473</c:v>
                </c:pt>
                <c:pt idx="28">
                  <c:v>0.35579515762360486</c:v>
                </c:pt>
                <c:pt idx="29">
                  <c:v>0.3593940673575512</c:v>
                </c:pt>
                <c:pt idx="30">
                  <c:v>0.36295298920556474</c:v>
                </c:pt>
                <c:pt idx="31">
                  <c:v>0.36647258595028537</c:v>
                </c:pt>
                <c:pt idx="32">
                  <c:v>0.3699535058077015</c:v>
                </c:pt>
                <c:pt idx="33">
                  <c:v>0.37339638282514576</c:v>
                </c:pt>
                <c:pt idx="34">
                  <c:v>0.37680183726631344</c:v>
                </c:pt>
                <c:pt idx="35">
                  <c:v>0.3801704759837928</c:v>
                </c:pt>
                <c:pt idx="36">
                  <c:v>0.38350289277957894</c:v>
                </c:pt>
                <c:pt idx="37">
                  <c:v>0.38679966875401967</c:v>
                </c:pt>
                <c:pt idx="38">
                  <c:v>0.3900613726436259</c:v>
                </c:pt>
                <c:pt idx="39">
                  <c:v>0.3932885611481569</c:v>
                </c:pt>
                <c:pt idx="40">
                  <c:v>0.3964817792473772</c:v>
                </c:pt>
                <c:pt idx="41">
                  <c:v>0.39964156050786226</c:v>
                </c:pt>
                <c:pt idx="42">
                  <c:v>0.402768427380217</c:v>
                </c:pt>
                <c:pt idx="43">
                  <c:v>0.4058628914870553</c:v>
                </c:pt>
                <c:pt idx="44">
                  <c:v>0.40892545390207047</c:v>
                </c:pt>
                <c:pt idx="45">
                  <c:v>0.41195660542052137</c:v>
                </c:pt>
                <c:pt idx="46">
                  <c:v>0.4149568268214371</c:v>
                </c:pt>
                <c:pt idx="47">
                  <c:v>0.41792658912183595</c:v>
                </c:pt>
                <c:pt idx="48">
                  <c:v>0.42086635382324084</c:v>
                </c:pt>
                <c:pt idx="49">
                  <c:v>0.42377657315076217</c:v>
                </c:pt>
                <c:pt idx="50">
                  <c:v>0.42665769028500844</c:v>
                </c:pt>
                <c:pt idx="51">
                  <c:v>0.429510139587073</c:v>
                </c:pt>
                <c:pt idx="52">
                  <c:v>0.43233434681684</c:v>
                </c:pt>
                <c:pt idx="53">
                  <c:v>0.43513072934483576</c:v>
                </c:pt>
                <c:pt idx="54">
                  <c:v>0.4378996963578514</c:v>
                </c:pt>
                <c:pt idx="55">
                  <c:v>0.4406416490585447</c:v>
                </c:pt>
                <c:pt idx="56">
                  <c:v>0.4433569808592315</c:v>
                </c:pt>
                <c:pt idx="57">
                  <c:v>0.44604607757005643</c:v>
                </c:pt>
                <c:pt idx="58">
                  <c:v>0.4487093175817388</c:v>
                </c:pt>
                <c:pt idx="59">
                  <c:v>0.4513470720430703</c:v>
                </c:pt>
                <c:pt idx="60">
                  <c:v>0.4539597050333412</c:v>
                </c:pt>
                <c:pt idx="61">
                  <c:v>0.45654757372986576</c:v>
                </c:pt>
                <c:pt idx="62">
                  <c:v>0.4591110285707626</c:v>
                </c:pt>
                <c:pt idx="63">
                  <c:v>0.4616504134131534</c:v>
                </c:pt>
                <c:pt idx="64">
                  <c:v>0.46416606568692365</c:v>
                </c:pt>
                <c:pt idx="65">
                  <c:v>0.46665831654419376</c:v>
                </c:pt>
                <c:pt idx="66">
                  <c:v>0.46912749100463735</c:v>
                </c:pt>
                <c:pt idx="67">
                  <c:v>0.4715739080967819</c:v>
                </c:pt>
                <c:pt idx="68">
                  <c:v>0.473997880995420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B$2:$B$82</c:f>
              <c:numCache>
                <c:formatCode>General</c:formatCode>
                <c:ptCount val="81"/>
                <c:pt idx="0">
                  <c:v>143.27950192323885</c:v>
                </c:pt>
                <c:pt idx="1">
                  <c:v>141.8844549272031</c:v>
                </c:pt>
                <c:pt idx="2">
                  <c:v>140.51554500628012</c:v>
                </c:pt>
                <c:pt idx="3">
                  <c:v>139.17212272301404</c:v>
                </c:pt>
                <c:pt idx="4">
                  <c:v>137.85355402361432</c:v>
                </c:pt>
                <c:pt idx="5">
                  <c:v>136.55922015138688</c:v>
                </c:pt>
                <c:pt idx="6">
                  <c:v>135.28851753534835</c:v>
                </c:pt>
                <c:pt idx="7">
                  <c:v>134.0408576562354</c:v>
                </c:pt>
                <c:pt idx="8">
                  <c:v>132.81566689188807</c:v>
                </c:pt>
                <c:pt idx="9">
                  <c:v>131.61238634384014</c:v>
                </c:pt>
                <c:pt idx="10">
                  <c:v>130.43047164676838</c:v>
                </c:pt>
                <c:pt idx="11">
                  <c:v>129.2693927623785</c:v>
                </c:pt>
                <c:pt idx="12">
                  <c:v>128.12863375918664</c:v>
                </c:pt>
                <c:pt idx="13">
                  <c:v>127.00769257960387</c:v>
                </c:pt>
                <c:pt idx="14">
                  <c:v>125.90608079566223</c:v>
                </c:pt>
                <c:pt idx="15">
                  <c:v>124.82332335468978</c:v>
                </c:pt>
                <c:pt idx="16">
                  <c:v>123.75895831618575</c:v>
                </c:pt>
                <c:pt idx="17">
                  <c:v>122.71253658113406</c:v>
                </c:pt>
                <c:pt idx="18">
                  <c:v>121.68362161492799</c:v>
                </c:pt>
                <c:pt idx="19">
                  <c:v>120.67178916506664</c:v>
                </c:pt>
                <c:pt idx="20">
                  <c:v>119.67662697473767</c:v>
                </c:pt>
                <c:pt idx="21">
                  <c:v>118.10332080284698</c:v>
                </c:pt>
                <c:pt idx="22">
                  <c:v>116.57388595191813</c:v>
                </c:pt>
                <c:pt idx="23">
                  <c:v>115.08665379439724</c:v>
                </c:pt>
                <c:pt idx="24">
                  <c:v>113.64001124914398</c:v>
                </c:pt>
                <c:pt idx="25">
                  <c:v>112.23240125060805</c:v>
                </c:pt>
                <c:pt idx="26">
                  <c:v>110.86232286956196</c:v>
                </c:pt>
                <c:pt idx="27">
                  <c:v>109.52833111908686</c:v>
                </c:pt>
                <c:pt idx="28">
                  <c:v>108.22903648001643</c:v>
                </c:pt>
                <c:pt idx="29">
                  <c:v>106.9631041797533</c:v>
                </c:pt>
                <c:pt idx="30">
                  <c:v>105.72925325747985</c:v>
                </c:pt>
                <c:pt idx="31">
                  <c:v>104.52625544738596</c:v>
                </c:pt>
                <c:pt idx="32">
                  <c:v>103.35293390975171</c:v>
                </c:pt>
                <c:pt idx="33">
                  <c:v>102.20816183770923</c:v>
                </c:pt>
                <c:pt idx="34">
                  <c:v>101.09086096527943</c:v>
                </c:pt>
                <c:pt idx="35">
                  <c:v>100.0</c:v>
                </c:pt>
                <c:pt idx="36">
                  <c:v>98.9345930011422</c:v>
                </c:pt>
                <c:pt idx="37">
                  <c:v>97.8936977222136</c:v>
                </c:pt>
                <c:pt idx="38">
                  <c:v>96.87641393425477</c:v>
                </c:pt>
                <c:pt idx="39">
                  <c:v>95.88188174430195</c:v>
                </c:pt>
                <c:pt idx="40">
                  <c:v>94.90927992142613</c:v>
                </c:pt>
                <c:pt idx="41">
                  <c:v>94.2828481280865</c:v>
                </c:pt>
                <c:pt idx="42">
                  <c:v>93.66435021174317</c:v>
                </c:pt>
                <c:pt idx="43">
                  <c:v>93.05364394821017</c:v>
                </c:pt>
                <c:pt idx="44">
                  <c:v>92.45058959216817</c:v>
                </c:pt>
                <c:pt idx="45">
                  <c:v>91.85504988268339</c:v>
                </c:pt>
                <c:pt idx="46">
                  <c:v>91.26689004398708</c:v>
                </c:pt>
                <c:pt idx="47">
                  <c:v>90.68597778167839</c:v>
                </c:pt>
                <c:pt idx="48">
                  <c:v>90.11218327455715</c:v>
                </c:pt>
                <c:pt idx="49">
                  <c:v>89.54537916232634</c:v>
                </c:pt>
                <c:pt idx="50">
                  <c:v>88.98544052944051</c:v>
                </c:pt>
                <c:pt idx="51">
                  <c:v>88.43224488538614</c:v>
                </c:pt>
                <c:pt idx="52">
                  <c:v>87.8856721416982</c:v>
                </c:pt>
                <c:pt idx="53">
                  <c:v>87.34560458602915</c:v>
                </c:pt>
                <c:pt idx="54">
                  <c:v>86.81192685357269</c:v>
                </c:pt>
                <c:pt idx="55">
                  <c:v>86.28452589616371</c:v>
                </c:pt>
                <c:pt idx="56">
                  <c:v>85.76329094934366</c:v>
                </c:pt>
                <c:pt idx="57">
                  <c:v>85.24811349769386</c:v>
                </c:pt>
                <c:pt idx="58">
                  <c:v>84.73888723870547</c:v>
                </c:pt>
                <c:pt idx="59">
                  <c:v>84.23550804545408</c:v>
                </c:pt>
                <c:pt idx="60">
                  <c:v>83.7378739283225</c:v>
                </c:pt>
                <c:pt idx="61">
                  <c:v>83.01338436614783</c:v>
                </c:pt>
                <c:pt idx="62">
                  <c:v>82.29736714630728</c:v>
                </c:pt>
                <c:pt idx="63">
                  <c:v>81.58969288433042</c:v>
                </c:pt>
                <c:pt idx="64">
                  <c:v>80.89023462494904</c:v>
                </c:pt>
                <c:pt idx="65">
                  <c:v>80.19886778893208</c:v>
                </c:pt>
                <c:pt idx="66">
                  <c:v>79.51547012122649</c:v>
                </c:pt>
                <c:pt idx="67">
                  <c:v>78.83992164036468</c:v>
                </c:pt>
                <c:pt idx="68">
                  <c:v>78.17210458911164</c:v>
                </c:pt>
                <c:pt idx="69">
                  <c:v>77.51190338631329</c:v>
                </c:pt>
                <c:pt idx="70">
                  <c:v>76.85920457991715</c:v>
                </c:pt>
                <c:pt idx="71">
                  <c:v>76.21389680113435</c:v>
                </c:pt>
                <c:pt idx="72">
                  <c:v>75.5758707197098</c:v>
                </c:pt>
                <c:pt idx="73">
                  <c:v>74.94501900027531</c:v>
                </c:pt>
                <c:pt idx="74">
                  <c:v>74.32123625975326</c:v>
                </c:pt>
                <c:pt idx="75">
                  <c:v>73.70441902578555</c:v>
                </c:pt>
                <c:pt idx="76">
                  <c:v>73.09446569615949</c:v>
                </c:pt>
                <c:pt idx="77">
                  <c:v>72.49127649920429</c:v>
                </c:pt>
                <c:pt idx="78">
                  <c:v>71.89475345513262</c:v>
                </c:pt>
                <c:pt idx="79">
                  <c:v>71.30480033830366</c:v>
                </c:pt>
                <c:pt idx="80">
                  <c:v>70.7213226403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C$2:$C$82</c:f>
              <c:numCache>
                <c:formatCode>General</c:formatCode>
                <c:ptCount val="81"/>
                <c:pt idx="0">
                  <c:v>117.47102105991438</c:v>
                </c:pt>
                <c:pt idx="1">
                  <c:v>117.05407443873088</c:v>
                </c:pt>
                <c:pt idx="2">
                  <c:v>116.64459117260535</c:v>
                </c:pt>
                <c:pt idx="3">
                  <c:v>116.24242676385657</c:v>
                </c:pt>
                <c:pt idx="4">
                  <c:v>115.84743655476888</c:v>
                </c:pt>
                <c:pt idx="5">
                  <c:v>115.45947603654663</c:v>
                </c:pt>
                <c:pt idx="6">
                  <c:v>115.0784011350053</c:v>
                </c:pt>
                <c:pt idx="7">
                  <c:v>114.70406847399207</c:v>
                </c:pt>
                <c:pt idx="8">
                  <c:v>114.33633561742198</c:v>
                </c:pt>
                <c:pt idx="9">
                  <c:v>113.97506129076164</c:v>
                </c:pt>
                <c:pt idx="10">
                  <c:v>113.62010558271956</c:v>
                </c:pt>
                <c:pt idx="11">
                  <c:v>113.27133012789619</c:v>
                </c:pt>
                <c:pt idx="12">
                  <c:v>112.92859827111093</c:v>
                </c:pt>
                <c:pt idx="13">
                  <c:v>112.5917752141343</c:v>
                </c:pt>
                <c:pt idx="14">
                  <c:v>112.26072814555262</c:v>
                </c:pt>
                <c:pt idx="15">
                  <c:v>111.93532635451487</c:v>
                </c:pt>
                <c:pt idx="16">
                  <c:v>111.6154413291194</c:v>
                </c:pt>
                <c:pt idx="17">
                  <c:v>111.30094684022976</c:v>
                </c:pt>
                <c:pt idx="18">
                  <c:v>110.99171901150974</c:v>
                </c:pt>
                <c:pt idx="19">
                  <c:v>110.68763637649401</c:v>
                </c:pt>
                <c:pt idx="20">
                  <c:v>110.38857992352477</c:v>
                </c:pt>
                <c:pt idx="21">
                  <c:v>109.54850216767638</c:v>
                </c:pt>
                <c:pt idx="22">
                  <c:v>108.73306049001665</c:v>
                </c:pt>
                <c:pt idx="23">
                  <c:v>107.94136876490936</c:v>
                </c:pt>
                <c:pt idx="24">
                  <c:v>107.17255911708294</c:v>
                </c:pt>
                <c:pt idx="25">
                  <c:v>106.42578375612575</c:v>
                </c:pt>
                <c:pt idx="26">
                  <c:v>105.70021649736938</c:v>
                </c:pt>
                <c:pt idx="27">
                  <c:v>104.99505398868727</c:v>
                </c:pt>
                <c:pt idx="28">
                  <c:v>104.30951666459123</c:v>
                </c:pt>
                <c:pt idx="29">
                  <c:v>103.64284945012503</c:v>
                </c:pt>
                <c:pt idx="30">
                  <c:v>102.99432223757535</c:v>
                </c:pt>
                <c:pt idx="31">
                  <c:v>102.36323015900987</c:v>
                </c:pt>
                <c:pt idx="32">
                  <c:v>101.74889367720101</c:v>
                </c:pt>
                <c:pt idx="33">
                  <c:v>101.1506585167374</c:v>
                </c:pt>
                <c:pt idx="34">
                  <c:v>100.56789545606732</c:v>
                </c:pt>
                <c:pt idx="35">
                  <c:v>100.0</c:v>
                </c:pt>
                <c:pt idx="36">
                  <c:v>99.44639195084065</c:v>
                </c:pt>
                <c:pt idx="37">
                  <c:v>98.90651489488499</c:v>
                </c:pt>
                <c:pt idx="38">
                  <c:v>98.37983561956662</c:v>
                </c:pt>
                <c:pt idx="39">
                  <c:v>97.8658434750606</c:v>
                </c:pt>
                <c:pt idx="40">
                  <c:v>97.3640496927454</c:v>
                </c:pt>
                <c:pt idx="41">
                  <c:v>97.20530171351854</c:v>
                </c:pt>
                <c:pt idx="42">
                  <c:v>97.04836358376367</c:v>
                </c:pt>
                <c:pt idx="43">
                  <c:v>96.89320855291739</c:v>
                </c:pt>
                <c:pt idx="44">
                  <c:v>96.73980958302508</c:v>
                </c:pt>
                <c:pt idx="45">
                  <c:v>96.58813941632418</c:v>
                </c:pt>
                <c:pt idx="46">
                  <c:v>96.43817063806094</c:v>
                </c:pt>
                <c:pt idx="47">
                  <c:v>96.28987573454371</c:v>
                </c:pt>
                <c:pt idx="48">
                  <c:v>96.14322714649074</c:v>
                </c:pt>
                <c:pt idx="49">
                  <c:v>95.99819731777318</c:v>
                </c:pt>
                <c:pt idx="50">
                  <c:v>95.854758739701</c:v>
                </c:pt>
                <c:pt idx="51">
                  <c:v>95.7128839910242</c:v>
                </c:pt>
                <c:pt idx="52">
                  <c:v>95.57254577384798</c:v>
                </c:pt>
                <c:pt idx="53">
                  <c:v>95.43371694568916</c:v>
                </c:pt>
                <c:pt idx="54">
                  <c:v>95.29637054789804</c:v>
                </c:pt>
                <c:pt idx="55">
                  <c:v>95.1604798307011</c:v>
                </c:pt>
                <c:pt idx="56">
                  <c:v>95.02601827509964</c:v>
                </c:pt>
                <c:pt idx="57">
                  <c:v>94.89295961188444</c:v>
                </c:pt>
                <c:pt idx="58">
                  <c:v>94.76127783800192</c:v>
                </c:pt>
                <c:pt idx="59">
                  <c:v>94.63094723051688</c:v>
                </c:pt>
                <c:pt idx="60">
                  <c:v>94.50194235839999</c:v>
                </c:pt>
                <c:pt idx="61">
                  <c:v>94.11395490204939</c:v>
                </c:pt>
                <c:pt idx="62">
                  <c:v>93.72816173965387</c:v>
                </c:pt>
                <c:pt idx="63">
                  <c:v>93.34454491181475</c:v>
                </c:pt>
                <c:pt idx="64">
                  <c:v>92.96308661430086</c:v>
                </c:pt>
                <c:pt idx="65">
                  <c:v>92.58376919830465</c:v>
                </c:pt>
                <c:pt idx="66">
                  <c:v>92.2065751706009</c:v>
                </c:pt>
                <c:pt idx="67">
                  <c:v>91.8314871936067</c:v>
                </c:pt>
                <c:pt idx="68">
                  <c:v>91.458488085358</c:v>
                </c:pt>
                <c:pt idx="69">
                  <c:v>91.0875608193994</c:v>
                </c:pt>
                <c:pt idx="70">
                  <c:v>90.71868852459532</c:v>
                </c:pt>
                <c:pt idx="71">
                  <c:v>90.35185448486996</c:v>
                </c:pt>
                <c:pt idx="72">
                  <c:v>89.98704213887277</c:v>
                </c:pt>
                <c:pt idx="73">
                  <c:v>89.62423507958164</c:v>
                </c:pt>
                <c:pt idx="74">
                  <c:v>89.26341705384152</c:v>
                </c:pt>
                <c:pt idx="75">
                  <c:v>88.90457196184535</c:v>
                </c:pt>
                <c:pt idx="76">
                  <c:v>88.54768385655989</c:v>
                </c:pt>
                <c:pt idx="77">
                  <c:v>88.192736943098</c:v>
                </c:pt>
                <c:pt idx="78">
                  <c:v>87.83971557804301</c:v>
                </c:pt>
                <c:pt idx="79">
                  <c:v>87.48860426872663</c:v>
                </c:pt>
                <c:pt idx="80">
                  <c:v>87.139387672463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D$2:$D$82</c:f>
              <c:numCache>
                <c:formatCode>General</c:formatCode>
                <c:ptCount val="81"/>
                <c:pt idx="0">
                  <c:v>75.08977603503524</c:v>
                </c:pt>
                <c:pt idx="1">
                  <c:v>76.28796961201594</c:v>
                </c:pt>
                <c:pt idx="2">
                  <c:v>77.46263290949038</c:v>
                </c:pt>
                <c:pt idx="3">
                  <c:v>78.61446529399556</c:v>
                </c:pt>
                <c:pt idx="4">
                  <c:v>79.74413970752127</c:v>
                </c:pt>
                <c:pt idx="5">
                  <c:v>80.85230366217168</c:v>
                </c:pt>
                <c:pt idx="6">
                  <c:v>81.9395802127323</c:v>
                </c:pt>
                <c:pt idx="7">
                  <c:v>83.00656890615178</c:v>
                </c:pt>
                <c:pt idx="8">
                  <c:v>84.05384670703826</c:v>
                </c:pt>
                <c:pt idx="9">
                  <c:v>85.0819688983916</c:v>
                </c:pt>
                <c:pt idx="10">
                  <c:v>86.09146995687476</c:v>
                </c:pt>
                <c:pt idx="11">
                  <c:v>87.0828644020538</c:v>
                </c:pt>
                <c:pt idx="12">
                  <c:v>88.05664761912854</c:v>
                </c:pt>
                <c:pt idx="13">
                  <c:v>89.01329665479744</c:v>
                </c:pt>
                <c:pt idx="14">
                  <c:v>89.95327098600563</c:v>
                </c:pt>
                <c:pt idx="15">
                  <c:v>90.87701326144484</c:v>
                </c:pt>
                <c:pt idx="16">
                  <c:v>91.78495001577829</c:v>
                </c:pt>
                <c:pt idx="17">
                  <c:v>92.67749235668626</c:v>
                </c:pt>
                <c:pt idx="18">
                  <c:v>93.55503662491704</c:v>
                </c:pt>
                <c:pt idx="19">
                  <c:v>94.41796502763957</c:v>
                </c:pt>
                <c:pt idx="20">
                  <c:v>95.26664624549085</c:v>
                </c:pt>
                <c:pt idx="21">
                  <c:v>95.62017990988858</c:v>
                </c:pt>
                <c:pt idx="22">
                  <c:v>95.96704290596826</c:v>
                </c:pt>
                <c:pt idx="23">
                  <c:v>96.30762853388252</c:v>
                </c:pt>
                <c:pt idx="24">
                  <c:v>96.6422865735568</c:v>
                </c:pt>
                <c:pt idx="25">
                  <c:v>96.97132746659759</c:v>
                </c:pt>
                <c:pt idx="26">
                  <c:v>97.2950262306779</c:v>
                </c:pt>
                <c:pt idx="27">
                  <c:v>97.61362610326518</c:v>
                </c:pt>
                <c:pt idx="28">
                  <c:v>97.92734191568087</c:v>
                </c:pt>
                <c:pt idx="29">
                  <c:v>98.23636320193694</c:v>
                </c:pt>
                <c:pt idx="30">
                  <c:v>98.54085704965121</c:v>
                </c:pt>
                <c:pt idx="31">
                  <c:v>98.8409707026109</c:v>
                </c:pt>
                <c:pt idx="32">
                  <c:v>99.13683392628427</c:v>
                </c:pt>
                <c:pt idx="33">
                  <c:v>99.42856114886645</c:v>
                </c:pt>
                <c:pt idx="34">
                  <c:v>99.71625339127293</c:v>
                </c:pt>
                <c:pt idx="35">
                  <c:v>100.0</c:v>
                </c:pt>
                <c:pt idx="36">
                  <c:v>100.27988019695835</c:v>
                </c:pt>
                <c:pt idx="37">
                  <c:v>100.55596446030532</c:v>
                </c:pt>
                <c:pt idx="38">
                  <c:v>100.82831575005855</c:v>
                </c:pt>
                <c:pt idx="39">
                  <c:v>101.09699059181625</c:v>
                </c:pt>
                <c:pt idx="40">
                  <c:v>101.36204003137843</c:v>
                </c:pt>
                <c:pt idx="41">
                  <c:v>101.97505190783009</c:v>
                </c:pt>
                <c:pt idx="42">
                  <c:v>102.5797167236358</c:v>
                </c:pt>
                <c:pt idx="43">
                  <c:v>103.1762004316533</c:v>
                </c:pt>
                <c:pt idx="44">
                  <c:v>103.7646640312583</c:v>
                </c:pt>
                <c:pt idx="45">
                  <c:v>104.34526374314817</c:v>
                </c:pt>
                <c:pt idx="46">
                  <c:v>104.91815117914878</c:v>
                </c:pt>
                <c:pt idx="47">
                  <c:v>105.48347350676065</c:v>
                </c:pt>
                <c:pt idx="48">
                  <c:v>106.04137360825305</c:v>
                </c:pt>
                <c:pt idx="49">
                  <c:v>106.59199023417546</c:v>
                </c:pt>
                <c:pt idx="50">
                  <c:v>107.1354581512247</c:v>
                </c:pt>
                <c:pt idx="51">
                  <c:v>107.67190828445095</c:v>
                </c:pt>
                <c:pt idx="52">
                  <c:v>108.2014678538363</c:v>
                </c:pt>
                <c:pt idx="53">
                  <c:v>108.7242605053286</c:v>
                </c:pt>
                <c:pt idx="54">
                  <c:v>109.24040643643194</c:v>
                </c:pt>
                <c:pt idx="55">
                  <c:v>109.75002251650936</c:v>
                </c:pt>
                <c:pt idx="56">
                  <c:v>110.2532224019493</c:v>
                </c:pt>
                <c:pt idx="57">
                  <c:v>110.75011664639409</c:v>
                </c:pt>
                <c:pt idx="58">
                  <c:v>111.24081280622042</c:v>
                </c:pt>
                <c:pt idx="59">
                  <c:v>111.72541554148523</c:v>
                </c:pt>
                <c:pt idx="60">
                  <c:v>112.20402671255174</c:v>
                </c:pt>
                <c:pt idx="61">
                  <c:v>112.36204626203563</c:v>
                </c:pt>
                <c:pt idx="62">
                  <c:v>112.51194583559212</c:v>
                </c:pt>
                <c:pt idx="63">
                  <c:v>112.65389240152777</c:v>
                </c:pt>
                <c:pt idx="64">
                  <c:v>112.78804927792257</c:v>
                </c:pt>
                <c:pt idx="65">
                  <c:v>112.91457622293531</c:v>
                </c:pt>
                <c:pt idx="66">
                  <c:v>113.03362952262832</c:v>
                </c:pt>
                <c:pt idx="67">
                  <c:v>113.14536207637775</c:v>
                </c:pt>
                <c:pt idx="68">
                  <c:v>113.24992347995386</c:v>
                </c:pt>
                <c:pt idx="69">
                  <c:v>113.34746010633037</c:v>
                </c:pt>
                <c:pt idx="70">
                  <c:v>113.43811518429479</c:v>
                </c:pt>
                <c:pt idx="71">
                  <c:v>113.5220288749275</c:v>
                </c:pt>
                <c:pt idx="72">
                  <c:v>113.59933834600614</c:v>
                </c:pt>
                <c:pt idx="73">
                  <c:v>113.67017784440239</c:v>
                </c:pt>
                <c:pt idx="74">
                  <c:v>113.73467876652677</c:v>
                </c:pt>
                <c:pt idx="75">
                  <c:v>113.79296972687965</c:v>
                </c:pt>
                <c:pt idx="76">
                  <c:v>113.84517662476526</c:v>
                </c:pt>
                <c:pt idx="77">
                  <c:v>113.89142270921815</c:v>
                </c:pt>
                <c:pt idx="78">
                  <c:v>113.9318286421977</c:v>
                </c:pt>
                <c:pt idx="79">
                  <c:v>113.96651256010104</c:v>
                </c:pt>
                <c:pt idx="80">
                  <c:v>113.995590133640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E$2:$E$82</c:f>
              <c:numCache>
                <c:formatCode>General</c:formatCode>
                <c:ptCount val="81"/>
                <c:pt idx="0">
                  <c:v>0.24393427206720944</c:v>
                </c:pt>
                <c:pt idx="1">
                  <c:v>0.24868940243156665</c:v>
                </c:pt>
                <c:pt idx="2">
                  <c:v>0.2533850936663693</c:v>
                </c:pt>
                <c:pt idx="3">
                  <c:v>0.25802245333303786</c:v>
                </c:pt>
                <c:pt idx="4">
                  <c:v>0.2626025616457969</c:v>
                </c:pt>
                <c:pt idx="5">
                  <c:v>0.2671264723105466</c:v>
                </c:pt>
                <c:pt idx="6">
                  <c:v>0.27159521333304315</c:v>
                </c:pt>
                <c:pt idx="7">
                  <c:v>0.27600978779769153</c:v>
                </c:pt>
                <c:pt idx="8">
                  <c:v>0.28037117461818734</c:v>
                </c:pt>
                <c:pt idx="9">
                  <c:v>0.2846803292611923</c:v>
                </c:pt>
                <c:pt idx="10">
                  <c:v>0.28893818444416125</c:v>
                </c:pt>
                <c:pt idx="11">
                  <c:v>0.293145650808397</c:v>
                </c:pt>
                <c:pt idx="12">
                  <c:v>0.2973036175683477</c:v>
                </c:pt>
                <c:pt idx="13">
                  <c:v>0.30141295313812344</c:v>
                </c:pt>
                <c:pt idx="14">
                  <c:v>0.3054745057361575</c:v>
                </c:pt>
                <c:pt idx="15">
                  <c:v>0.30948910396889656</c:v>
                </c:pt>
                <c:pt idx="16">
                  <c:v>0.31345755739436265</c:v>
                </c:pt>
                <c:pt idx="17">
                  <c:v>0.3173806570663947</c:v>
                </c:pt>
                <c:pt idx="18">
                  <c:v>0.32125917606033577</c:v>
                </c:pt>
                <c:pt idx="19">
                  <c:v>0.3250938699808989</c:v>
                </c:pt>
                <c:pt idx="20">
                  <c:v>0.3288854774529164</c:v>
                </c:pt>
                <c:pt idx="21">
                  <c:v>0.3326347205956375</c:v>
                </c:pt>
                <c:pt idx="22">
                  <c:v>0.3363423054812173</c:v>
                </c:pt>
                <c:pt idx="23">
                  <c:v>0.3400089225780061</c:v>
                </c:pt>
                <c:pt idx="24">
                  <c:v>0.3436352471792257</c:v>
                </c:pt>
                <c:pt idx="25">
                  <c:v>0.3472219398175907</c:v>
                </c:pt>
                <c:pt idx="26">
                  <c:v>0.35076964666640814</c:v>
                </c:pt>
                <c:pt idx="27">
                  <c:v>0.3542789999276708</c:v>
                </c:pt>
                <c:pt idx="28">
                  <c:v>0.3577506182076296</c:v>
                </c:pt>
                <c:pt idx="29">
                  <c:v>0.36118510688031596</c:v>
                </c:pt>
                <c:pt idx="30">
                  <c:v>0.3645830584394632</c:v>
                </c:pt>
                <c:pt idx="31">
                  <c:v>0.3679450528392544</c:v>
                </c:pt>
                <c:pt idx="32">
                  <c:v>0.37127165782431104</c:v>
                </c:pt>
                <c:pt idx="33">
                  <c:v>0.3745634292493147</c:v>
                </c:pt>
                <c:pt idx="34">
                  <c:v>0.3778209113886412</c:v>
                </c:pt>
                <c:pt idx="35">
                  <c:v>0.3810446372363684</c:v>
                </c:pt>
                <c:pt idx="36">
                  <c:v>0.3842351287970057</c:v>
                </c:pt>
                <c:pt idx="37">
                  <c:v>0.38739289736727744</c:v>
                </c:pt>
                <c:pt idx="38">
                  <c:v>0.39051844380928125</c:v>
                </c:pt>
                <c:pt idx="39">
                  <c:v>0.3936122588153254</c:v>
                </c:pt>
                <c:pt idx="40">
                  <c:v>0.3966748231647429</c:v>
                </c:pt>
                <c:pt idx="41">
                  <c:v>0.3997066079729603</c:v>
                </c:pt>
                <c:pt idx="42">
                  <c:v>0.40270807493309546</c:v>
                </c:pt>
                <c:pt idx="43">
                  <c:v>0.4056796765503437</c:v>
                </c:pt>
                <c:pt idx="44">
                  <c:v>0.4086218563694015</c:v>
                </c:pt>
                <c:pt idx="45">
                  <c:v>0.4115350491951679</c:v>
                </c:pt>
                <c:pt idx="46">
                  <c:v>0.4144196813069564</c:v>
                </c:pt>
                <c:pt idx="47">
                  <c:v>0.4172761706664346</c:v>
                </c:pt>
                <c:pt idx="48">
                  <c:v>0.42010492711951014</c:v>
                </c:pt>
                <c:pt idx="49">
                  <c:v>0.42290635259236276</c:v>
                </c:pt>
                <c:pt idx="50">
                  <c:v>0.4256808412818225</c:v>
                </c:pt>
                <c:pt idx="51">
                  <c:v>0.42842877984028277</c:v>
                </c:pt>
                <c:pt idx="52">
                  <c:v>0.431150547555329</c:v>
                </c:pt>
                <c:pt idx="53">
                  <c:v>0.4338465165242611</c:v>
                </c:pt>
                <c:pt idx="54">
                  <c:v>0.43651705182367495</c:v>
                </c:pt>
                <c:pt idx="55">
                  <c:v>0.439162511674268</c:v>
                </c:pt>
                <c:pt idx="56">
                  <c:v>0.44178324760102383</c:v>
                </c:pt>
                <c:pt idx="57">
                  <c:v>0.444379604588926</c:v>
                </c:pt>
                <c:pt idx="58">
                  <c:v>0.44695192123434774</c:v>
                </c:pt>
                <c:pt idx="59">
                  <c:v>0.4495005298922539</c:v>
                </c:pt>
                <c:pt idx="60">
                  <c:v>0.45202575681935364</c:v>
                </c:pt>
                <c:pt idx="61">
                  <c:v>0.4545279223133291</c:v>
                </c:pt>
                <c:pt idx="62">
                  <c:v>0.4570073408482686</c:v>
                </c:pt>
                <c:pt idx="63">
                  <c:v>0.4594643212064212</c:v>
                </c:pt>
                <c:pt idx="64">
                  <c:v>0.4618991666063922</c:v>
                </c:pt>
                <c:pt idx="65">
                  <c:v>0.4643121748278883</c:v>
                </c:pt>
                <c:pt idx="66">
                  <c:v>0.4667036383331209</c:v>
                </c:pt>
                <c:pt idx="67">
                  <c:v>0.4690738443849738</c:v>
                </c:pt>
                <c:pt idx="68">
                  <c:v>0.47142307516203136</c:v>
                </c:pt>
                <c:pt idx="69">
                  <c:v>0.4737516078705687</c:v>
                </c:pt>
                <c:pt idx="70">
                  <c:v>0.4760597148535925</c:v>
                </c:pt>
                <c:pt idx="71">
                  <c:v>0.4783476636970266</c:v>
                </c:pt>
                <c:pt idx="72">
                  <c:v>0.4806157173331265</c:v>
                </c:pt>
                <c:pt idx="73">
                  <c:v>0.48286413414120827</c:v>
                </c:pt>
                <c:pt idx="74">
                  <c:v>0.485093168045772</c:v>
                </c:pt>
                <c:pt idx="75">
                  <c:v>0.48730306861209904</c:v>
                </c:pt>
                <c:pt idx="76">
                  <c:v>0.48949408113939785</c:v>
                </c:pt>
                <c:pt idx="77">
                  <c:v>0.4916664467515707</c:v>
                </c:pt>
                <c:pt idx="78">
                  <c:v>0.49382040248567416</c:v>
                </c:pt>
                <c:pt idx="79">
                  <c:v>0.4959561813781397</c:v>
                </c:pt>
                <c:pt idx="80">
                  <c:v>0.49807401254881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B$2:$B$82</c:f>
              <c:numCache>
                <c:formatCode>General</c:formatCode>
                <c:ptCount val="81"/>
                <c:pt idx="0">
                  <c:v>172.7881630571413</c:v>
                </c:pt>
                <c:pt idx="1">
                  <c:v>169.55189641051035</c:v>
                </c:pt>
                <c:pt idx="2">
                  <c:v>166.44244554403556</c:v>
                </c:pt>
                <c:pt idx="3">
                  <c:v>163.45308938236002</c:v>
                </c:pt>
                <c:pt idx="4">
                  <c:v>160.57752590322</c:v>
                </c:pt>
                <c:pt idx="5">
                  <c:v>157.80984071303348</c:v>
                </c:pt>
                <c:pt idx="6">
                  <c:v>155.1444786164649</c:v>
                </c:pt>
                <c:pt idx="7">
                  <c:v>152.57621783364434</c:v>
                </c:pt>
                <c:pt idx="8">
                  <c:v>150.10014656061426</c:v>
                </c:pt>
                <c:pt idx="9">
                  <c:v>147.71164160595174</c:v>
                </c:pt>
                <c:pt idx="10">
                  <c:v>145.40634886977665</c:v>
                </c:pt>
                <c:pt idx="11">
                  <c:v>143.18016546079735</c:v>
                </c:pt>
                <c:pt idx="12">
                  <c:v>141.02922327303156</c:v>
                </c:pt>
                <c:pt idx="13">
                  <c:v>138.89125021726855</c:v>
                </c:pt>
                <c:pt idx="14">
                  <c:v>136.8062412363557</c:v>
                </c:pt>
                <c:pt idx="15">
                  <c:v>134.7724199127869</c:v>
                </c:pt>
                <c:pt idx="16">
                  <c:v>132.7880730631413</c:v>
                </c:pt>
                <c:pt idx="17">
                  <c:v>130.85155035833697</c:v>
                </c:pt>
                <c:pt idx="18">
                  <c:v>128.96126346669033</c:v>
                </c:pt>
                <c:pt idx="19">
                  <c:v>127.11568482832342</c:v>
                </c:pt>
                <c:pt idx="20">
                  <c:v>125.31334615222296</c:v>
                </c:pt>
                <c:pt idx="21">
                  <c:v>123.79467060051465</c:v>
                </c:pt>
                <c:pt idx="22">
                  <c:v>122.30669424946296</c:v>
                </c:pt>
                <c:pt idx="23">
                  <c:v>120.84866876076916</c:v>
                </c:pt>
                <c:pt idx="24">
                  <c:v>119.41986368623103</c:v>
                </c:pt>
                <c:pt idx="25">
                  <c:v>118.0195659958833</c:v>
                </c:pt>
                <c:pt idx="26">
                  <c:v>116.64707963806774</c:v>
                </c:pt>
                <c:pt idx="27">
                  <c:v>115.30172512948444</c:v>
                </c:pt>
                <c:pt idx="28">
                  <c:v>113.98283917293939</c:v>
                </c:pt>
                <c:pt idx="29">
                  <c:v>112.68977430029214</c:v>
                </c:pt>
                <c:pt idx="30">
                  <c:v>111.42189853796826</c:v>
                </c:pt>
                <c:pt idx="31">
                  <c:v>110.17859509236172</c:v>
                </c:pt>
                <c:pt idx="32">
                  <c:v>108.95926205247892</c:v>
                </c:pt>
                <c:pt idx="33">
                  <c:v>107.76331210724919</c:v>
                </c:pt>
                <c:pt idx="34">
                  <c:v>106.59017227507053</c:v>
                </c:pt>
                <c:pt idx="35">
                  <c:v>105.43928364332056</c:v>
                </c:pt>
                <c:pt idx="36">
                  <c:v>104.31010111575645</c:v>
                </c:pt>
                <c:pt idx="37">
                  <c:v>103.20209316594561</c:v>
                </c:pt>
                <c:pt idx="38">
                  <c:v>102.1147415950945</c:v>
                </c:pt>
                <c:pt idx="39">
                  <c:v>101.04754129286452</c:v>
                </c:pt>
                <c:pt idx="40">
                  <c:v>100.0</c:v>
                </c:pt>
                <c:pt idx="41">
                  <c:v>98.0014440869675</c:v>
                </c:pt>
                <c:pt idx="42">
                  <c:v>96.07068892514928</c:v>
                </c:pt>
                <c:pt idx="43">
                  <c:v>94.20487418326653</c:v>
                </c:pt>
                <c:pt idx="44">
                  <c:v>92.40123968962898</c:v>
                </c:pt>
                <c:pt idx="45">
                  <c:v>90.65712659857806</c:v>
                </c:pt>
                <c:pt idx="46">
                  <c:v>88.96997789378133</c:v>
                </c:pt>
                <c:pt idx="47">
                  <c:v>87.33733827933993</c:v>
                </c:pt>
                <c:pt idx="48">
                  <c:v>85.75685351452134</c:v>
                </c:pt>
                <c:pt idx="49">
                  <c:v>84.22626925050147</c:v>
                </c:pt>
                <c:pt idx="50">
                  <c:v>82.74342942817667</c:v>
                </c:pt>
                <c:pt idx="51">
                  <c:v>81.30627429530077</c:v>
                </c:pt>
                <c:pt idx="52">
                  <c:v>79.9128380992654</c:v>
                </c:pt>
                <c:pt idx="53">
                  <c:v>78.56124650909038</c:v>
                </c:pt>
                <c:pt idx="54">
                  <c:v>77.24971381686916</c:v>
                </c:pt>
                <c:pt idx="55">
                  <c:v>75.97653996525263</c:v>
                </c:pt>
                <c:pt idx="56">
                  <c:v>74.74010744369627</c:v>
                </c:pt>
                <c:pt idx="57">
                  <c:v>73.53887809227668</c:v>
                </c:pt>
                <c:pt idx="58">
                  <c:v>72.3713898479965</c:v>
                </c:pt>
                <c:pt idx="59">
                  <c:v>71.2362534646904</c:v>
                </c:pt>
                <c:pt idx="60">
                  <c:v>70.13214923399595</c:v>
                </c:pt>
                <c:pt idx="61">
                  <c:v>69.53022897321945</c:v>
                </c:pt>
                <c:pt idx="62">
                  <c:v>68.93759133881133</c:v>
                </c:pt>
                <c:pt idx="63">
                  <c:v>68.35404500796704</c:v>
                </c:pt>
                <c:pt idx="64">
                  <c:v>67.77940244538036</c:v>
                </c:pt>
                <c:pt idx="65">
                  <c:v>67.21347988835088</c:v>
                </c:pt>
                <c:pt idx="66">
                  <c:v>66.65609732685482</c:v>
                </c:pt>
                <c:pt idx="67">
                  <c:v>66.10707847875439</c:v>
                </c:pt>
                <c:pt idx="68">
                  <c:v>65.566250760378</c:v>
                </c:pt>
                <c:pt idx="69">
                  <c:v>65.03344525274557</c:v>
                </c:pt>
                <c:pt idx="70">
                  <c:v>64.50849666375065</c:v>
                </c:pt>
                <c:pt idx="71">
                  <c:v>63.991243286628176</c:v>
                </c:pt>
                <c:pt idx="72">
                  <c:v>63.48152695505267</c:v>
                </c:pt>
                <c:pt idx="73">
                  <c:v>62.97919299521764</c:v>
                </c:pt>
                <c:pt idx="74">
                  <c:v>62.48409017523895</c:v>
                </c:pt>
                <c:pt idx="75">
                  <c:v>61.996070652225896</c:v>
                </c:pt>
                <c:pt idx="76">
                  <c:v>61.51498991734488</c:v>
                </c:pt>
                <c:pt idx="77">
                  <c:v>61.040706739190384</c:v>
                </c:pt>
                <c:pt idx="78">
                  <c:v>60.57308310575779</c:v>
                </c:pt>
                <c:pt idx="79">
                  <c:v>60.11198416529538</c:v>
                </c:pt>
                <c:pt idx="80">
                  <c:v>59.657278166290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C$2:$C$82</c:f>
              <c:numCache>
                <c:formatCode>General</c:formatCode>
                <c:ptCount val="81"/>
                <c:pt idx="0">
                  <c:v>134.07519493293185</c:v>
                </c:pt>
                <c:pt idx="1">
                  <c:v>132.51686141439941</c:v>
                </c:pt>
                <c:pt idx="2">
                  <c:v>131.02181287773178</c:v>
                </c:pt>
                <c:pt idx="3">
                  <c:v>129.58687503470546</c:v>
                </c:pt>
                <c:pt idx="4">
                  <c:v>128.20905547710584</c:v>
                </c:pt>
                <c:pt idx="5">
                  <c:v>126.88553037892805</c:v>
                </c:pt>
                <c:pt idx="6">
                  <c:v>125.61363253670119</c:v>
                </c:pt>
                <c:pt idx="7">
                  <c:v>124.3908405872028</c:v>
                </c:pt>
                <c:pt idx="8">
                  <c:v>123.21476926008242</c:v>
                </c:pt>
                <c:pt idx="9">
                  <c:v>122.08316053962294</c:v>
                </c:pt>
                <c:pt idx="10">
                  <c:v>120.9938756251349</c:v>
                </c:pt>
                <c:pt idx="11">
                  <c:v>119.94488759327508</c:v>
                </c:pt>
                <c:pt idx="12">
                  <c:v>118.93427467801561</c:v>
                </c:pt>
                <c:pt idx="13">
                  <c:v>117.90817276504444</c:v>
                </c:pt>
                <c:pt idx="14">
                  <c:v>116.90350739693707</c:v>
                </c:pt>
                <c:pt idx="15">
                  <c:v>115.91963207222314</c:v>
                </c:pt>
                <c:pt idx="16">
                  <c:v>114.95591583426258</c:v>
                </c:pt>
                <c:pt idx="17">
                  <c:v>114.01174466343464</c:v>
                </c:pt>
                <c:pt idx="18">
                  <c:v>113.08652244214832</c:v>
                </c:pt>
                <c:pt idx="19">
                  <c:v>112.17967156948431</c:v>
                </c:pt>
                <c:pt idx="20">
                  <c:v>111.29063329180914</c:v>
                </c:pt>
                <c:pt idx="21">
                  <c:v>110.6340691218078</c:v>
                </c:pt>
                <c:pt idx="22">
                  <c:v>109.98818736621905</c:v>
                </c:pt>
                <c:pt idx="23">
                  <c:v>109.35282206576076</c:v>
                </c:pt>
                <c:pt idx="24">
                  <c:v>108.72780701773472</c:v>
                </c:pt>
                <c:pt idx="25">
                  <c:v>108.11297583435102</c:v>
                </c:pt>
                <c:pt idx="26">
                  <c:v>107.50816201502154</c:v>
                </c:pt>
                <c:pt idx="27">
                  <c:v>106.91319903204437</c:v>
                </c:pt>
                <c:pt idx="28">
                  <c:v>106.32792042870256</c:v>
                </c:pt>
                <c:pt idx="29">
                  <c:v>105.75215992850373</c:v>
                </c:pt>
                <c:pt idx="30">
                  <c:v>105.18575155404675</c:v>
                </c:pt>
                <c:pt idx="31">
                  <c:v>104.62852975384658</c:v>
                </c:pt>
                <c:pt idx="32">
                  <c:v>104.0803295353596</c:v>
                </c:pt>
                <c:pt idx="33">
                  <c:v>103.54098660240112</c:v>
                </c:pt>
                <c:pt idx="34">
                  <c:v>103.0103374951745</c:v>
                </c:pt>
                <c:pt idx="35">
                  <c:v>102.4882197311787</c:v>
                </c:pt>
                <c:pt idx="36">
                  <c:v>101.9744719453494</c:v>
                </c:pt>
                <c:pt idx="37">
                  <c:v>101.46893402791292</c:v>
                </c:pt>
                <c:pt idx="38">
                  <c:v>100.97144725856792</c:v>
                </c:pt>
                <c:pt idx="39">
                  <c:v>100.48185443576214</c:v>
                </c:pt>
                <c:pt idx="40">
                  <c:v>100.0</c:v>
                </c:pt>
                <c:pt idx="41">
                  <c:v>98.55444405948963</c:v>
                </c:pt>
                <c:pt idx="42">
                  <c:v>97.15488625731471</c:v>
                </c:pt>
                <c:pt idx="43">
                  <c:v>95.79956495282912</c:v>
                </c:pt>
                <c:pt idx="44">
                  <c:v>94.48675667087309</c:v>
                </c:pt>
                <c:pt idx="45">
                  <c:v>93.21478007597614</c:v>
                </c:pt>
                <c:pt idx="46">
                  <c:v>91.9819993065427</c:v>
                </c:pt>
                <c:pt idx="47">
                  <c:v>90.78682669528155</c:v>
                </c:pt>
                <c:pt idx="48">
                  <c:v>89.6277249095241</c:v>
                </c:pt>
                <c:pt idx="49">
                  <c:v>88.5032085503188</c:v>
                </c:pt>
                <c:pt idx="50">
                  <c:v>87.4118452525632</c:v>
                </c:pt>
                <c:pt idx="51">
                  <c:v>86.35225633027729</c:v>
                </c:pt>
                <c:pt idx="52">
                  <c:v>85.32311701171236</c:v>
                </c:pt>
                <c:pt idx="53">
                  <c:v>84.32315630860879</c:v>
                </c:pt>
                <c:pt idx="54">
                  <c:v>83.35115656278467</c:v>
                </c:pt>
                <c:pt idx="55">
                  <c:v>82.40595271155756</c:v>
                </c:pt>
                <c:pt idx="56">
                  <c:v>81.48643131143109</c:v>
                </c:pt>
                <c:pt idx="57">
                  <c:v>80.59152935713608</c:v>
                </c:pt>
                <c:pt idx="58">
                  <c:v>79.72023293061213</c:v>
                </c:pt>
                <c:pt idx="59">
                  <c:v>78.8715757118974</c:v>
                </c:pt>
                <c:pt idx="60">
                  <c:v>78.04463738126579</c:v>
                </c:pt>
                <c:pt idx="61">
                  <c:v>77.76462740463127</c:v>
                </c:pt>
                <c:pt idx="62">
                  <c:v>77.48831460097213</c:v>
                </c:pt>
                <c:pt idx="63">
                  <c:v>77.21563832060723</c:v>
                </c:pt>
                <c:pt idx="64">
                  <c:v>76.94653795742605</c:v>
                </c:pt>
                <c:pt idx="65">
                  <c:v>76.68095303625408</c:v>
                </c:pt>
                <c:pt idx="66">
                  <c:v>76.41882329402584</c:v>
                </c:pt>
                <c:pt idx="67">
                  <c:v>76.16008875477212</c:v>
                </c:pt>
                <c:pt idx="68">
                  <c:v>75.90468979849429</c:v>
                </c:pt>
                <c:pt idx="69">
                  <c:v>75.6525672240644</c:v>
                </c:pt>
                <c:pt idx="70">
                  <c:v>75.40366230633981</c:v>
                </c:pt>
                <c:pt idx="71">
                  <c:v>75.15791684771915</c:v>
                </c:pt>
                <c:pt idx="72">
                  <c:v>74.91527322439562</c:v>
                </c:pt>
                <c:pt idx="73">
                  <c:v>74.67567442759102</c:v>
                </c:pt>
                <c:pt idx="74">
                  <c:v>74.43906410005454</c:v>
                </c:pt>
                <c:pt idx="75">
                  <c:v>74.20538656813181</c:v>
                </c:pt>
                <c:pt idx="76">
                  <c:v>73.97458686969824</c:v>
                </c:pt>
                <c:pt idx="77">
                  <c:v>73.7466107782567</c:v>
                </c:pt>
                <c:pt idx="78">
                  <c:v>73.52140482348601</c:v>
                </c:pt>
                <c:pt idx="79">
                  <c:v>73.2989163085221</c:v>
                </c:pt>
                <c:pt idx="80">
                  <c:v>73.079093324235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D$2:$D$82</c:f>
              <c:numCache>
                <c:formatCode>General</c:formatCode>
                <c:ptCount val="81"/>
                <c:pt idx="0">
                  <c:v>75.77851234462145</c:v>
                </c:pt>
                <c:pt idx="1">
                  <c:v>76.73902249324564</c:v>
                </c:pt>
                <c:pt idx="2">
                  <c:v>77.66786134063975</c:v>
                </c:pt>
                <c:pt idx="3">
                  <c:v>78.5671381910758</c:v>
                </c:pt>
                <c:pt idx="4">
                  <c:v>79.43879231126431</c:v>
                </c:pt>
                <c:pt idx="5">
                  <c:v>80.28460635239804</c:v>
                </c:pt>
                <c:pt idx="6">
                  <c:v>81.10621869095877</c:v>
                </c:pt>
                <c:pt idx="7">
                  <c:v>81.90513479653784</c:v>
                </c:pt>
                <c:pt idx="8">
                  <c:v>82.682737719117</c:v>
                </c:pt>
                <c:pt idx="9">
                  <c:v>83.44029777517478</c:v>
                </c:pt>
                <c:pt idx="10">
                  <c:v>84.17898150126496</c:v>
                </c:pt>
                <c:pt idx="11">
                  <c:v>84.89985993491173</c:v>
                </c:pt>
                <c:pt idx="12">
                  <c:v>85.60391627549568</c:v>
                </c:pt>
                <c:pt idx="13">
                  <c:v>86.25564592156816</c:v>
                </c:pt>
                <c:pt idx="14">
                  <c:v>86.88099440328556</c:v>
                </c:pt>
                <c:pt idx="15">
                  <c:v>87.48103884355504</c:v>
                </c:pt>
                <c:pt idx="16">
                  <c:v>88.05679856356605</c:v>
                </c:pt>
                <c:pt idx="17">
                  <c:v>88.60923926337928</c:v>
                </c:pt>
                <c:pt idx="18">
                  <c:v>89.13927684069432</c:v>
                </c:pt>
                <c:pt idx="19">
                  <c:v>89.64778087745962</c:v>
                </c:pt>
                <c:pt idx="20">
                  <c:v>90.13557782377544</c:v>
                </c:pt>
                <c:pt idx="21">
                  <c:v>90.78079492344322</c:v>
                </c:pt>
                <c:pt idx="22">
                  <c:v>91.40632315020638</c:v>
                </c:pt>
                <c:pt idx="23">
                  <c:v>92.01288540208346</c:v>
                </c:pt>
                <c:pt idx="24">
                  <c:v>92.60117643505185</c:v>
                </c:pt>
                <c:pt idx="25">
                  <c:v>93.17186374605313</c:v>
                </c:pt>
                <c:pt idx="26">
                  <c:v>93.72558844191562</c:v>
                </c:pt>
                <c:pt idx="27">
                  <c:v>94.26296609573876</c:v>
                </c:pt>
                <c:pt idx="28">
                  <c:v>94.78458759178541</c:v>
                </c:pt>
                <c:pt idx="29">
                  <c:v>95.29101995949023</c:v>
                </c:pt>
                <c:pt idx="30">
                  <c:v>95.78280719679861</c:v>
                </c:pt>
                <c:pt idx="31">
                  <c:v>96.26047108271183</c:v>
                </c:pt>
                <c:pt idx="32">
                  <c:v>96.72451197864493</c:v>
                </c:pt>
                <c:pt idx="33">
                  <c:v>97.17540961796819</c:v>
                </c:pt>
                <c:pt idx="34">
                  <c:v>97.61362388294557</c:v>
                </c:pt>
                <c:pt idx="35">
                  <c:v>98.03959556816409</c:v>
                </c:pt>
                <c:pt idx="36">
                  <c:v>98.45374712947054</c:v>
                </c:pt>
                <c:pt idx="37">
                  <c:v>98.85648341741269</c:v>
                </c:pt>
                <c:pt idx="38">
                  <c:v>99.2481923941913</c:v>
                </c:pt>
                <c:pt idx="39">
                  <c:v>99.62924583316068</c:v>
                </c:pt>
                <c:pt idx="40">
                  <c:v>100.0</c:v>
                </c:pt>
                <c:pt idx="41">
                  <c:v>99.37698476232254</c:v>
                </c:pt>
                <c:pt idx="42">
                  <c:v>98.76757041617404</c:v>
                </c:pt>
                <c:pt idx="43">
                  <c:v>98.17163112638244</c:v>
                </c:pt>
                <c:pt idx="44">
                  <c:v>97.58898625113996</c:v>
                </c:pt>
                <c:pt idx="45">
                  <c:v>97.01940861946812</c:v>
                </c:pt>
                <c:pt idx="46">
                  <c:v>96.46263218792005</c:v>
                </c:pt>
                <c:pt idx="47">
                  <c:v>95.91835906733017</c:v>
                </c:pt>
                <c:pt idx="48">
                  <c:v>95.38626592154739</c:v>
                </c:pt>
                <c:pt idx="49">
                  <c:v>94.8660097492429</c:v>
                </c:pt>
                <c:pt idx="50">
                  <c:v>94.35723306721545</c:v>
                </c:pt>
                <c:pt idx="51">
                  <c:v>93.85956851931898</c:v>
                </c:pt>
                <c:pt idx="52">
                  <c:v>93.37264293941317</c:v>
                </c:pt>
                <c:pt idx="53">
                  <c:v>92.8960808998099</c:v>
                </c:pt>
                <c:pt idx="54">
                  <c:v>92.42950777872984</c:v>
                </c:pt>
                <c:pt idx="55">
                  <c:v>91.97255238148838</c:v>
                </c:pt>
                <c:pt idx="56">
                  <c:v>91.52484915064153</c:v>
                </c:pt>
                <c:pt idx="57">
                  <c:v>91.08604000026169</c:v>
                </c:pt>
                <c:pt idx="58">
                  <c:v>90.65577580900349</c:v>
                </c:pt>
                <c:pt idx="59">
                  <c:v>90.23371760571823</c:v>
                </c:pt>
                <c:pt idx="60">
                  <c:v>89.81953748019859</c:v>
                </c:pt>
                <c:pt idx="61">
                  <c:v>90.02456800280932</c:v>
                </c:pt>
                <c:pt idx="62">
                  <c:v>90.22485052444719</c:v>
                </c:pt>
                <c:pt idx="63">
                  <c:v>90.42052282896374</c:v>
                </c:pt>
                <c:pt idx="64">
                  <c:v>90.61171702200505</c:v>
                </c:pt>
                <c:pt idx="65">
                  <c:v>90.79855977669943</c:v>
                </c:pt>
                <c:pt idx="66">
                  <c:v>90.98117257121436</c:v>
                </c:pt>
                <c:pt idx="67">
                  <c:v>91.15967191793338</c:v>
                </c:pt>
                <c:pt idx="68">
                  <c:v>91.33416958409516</c:v>
                </c:pt>
                <c:pt idx="69">
                  <c:v>91.5047728038281</c:v>
                </c:pt>
                <c:pt idx="70">
                  <c:v>91.67158448159499</c:v>
                </c:pt>
                <c:pt idx="71">
                  <c:v>91.83470338712209</c:v>
                </c:pt>
                <c:pt idx="72">
                  <c:v>91.99422434194713</c:v>
                </c:pt>
                <c:pt idx="73">
                  <c:v>92.15023839777014</c:v>
                </c:pt>
                <c:pt idx="74">
                  <c:v>92.30283300681357</c:v>
                </c:pt>
                <c:pt idx="75">
                  <c:v>92.45209218444555</c:v>
                </c:pt>
                <c:pt idx="76">
                  <c:v>92.59809666432204</c:v>
                </c:pt>
                <c:pt idx="77">
                  <c:v>92.74092404633164</c:v>
                </c:pt>
                <c:pt idx="78">
                  <c:v>92.88064893762784</c:v>
                </c:pt>
                <c:pt idx="79">
                  <c:v>93.01734308703917</c:v>
                </c:pt>
                <c:pt idx="80">
                  <c:v>93.151075513147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E$2:$E$82</c:f>
              <c:numCache>
                <c:formatCode>General</c:formatCode>
                <c:ptCount val="81"/>
                <c:pt idx="0">
                  <c:v>0.22641856790040055</c:v>
                </c:pt>
                <c:pt idx="1">
                  <c:v>0.23198390194428262</c:v>
                </c:pt>
                <c:pt idx="2">
                  <c:v>0.23746973121610906</c:v>
                </c:pt>
                <c:pt idx="3">
                  <c:v>0.242877747306775</c:v>
                </c:pt>
                <c:pt idx="4">
                  <c:v>0.24820959415672722</c:v>
                </c:pt>
                <c:pt idx="5">
                  <c:v>0.25346686972206467</c:v>
                </c:pt>
                <c:pt idx="6">
                  <c:v>0.2586511275712172</c:v>
                </c:pt>
                <c:pt idx="7">
                  <c:v>0.2637638784155536</c:v>
                </c:pt>
                <c:pt idx="8">
                  <c:v>0.2688065915770909</c:v>
                </c:pt>
                <c:pt idx="9">
                  <c:v>0.2737806963962944</c:v>
                </c:pt>
                <c:pt idx="10">
                  <c:v>0.2786875835828058</c:v>
                </c:pt>
                <c:pt idx="11">
                  <c:v>0.28352860651178047</c:v>
                </c:pt>
                <c:pt idx="12">
                  <c:v>0.28830508246836833</c:v>
                </c:pt>
                <c:pt idx="13">
                  <c:v>0.2930182938427502</c:v>
                </c:pt>
                <c:pt idx="14">
                  <c:v>0.29766948927799514</c:v>
                </c:pt>
                <c:pt idx="15">
                  <c:v>0.3022598847729101</c:v>
                </c:pt>
                <c:pt idx="16">
                  <c:v>0.3067906647419173</c:v>
                </c:pt>
                <c:pt idx="17">
                  <c:v>0.311262983033905</c:v>
                </c:pt>
                <c:pt idx="18">
                  <c:v>0.31567796391189273</c:v>
                </c:pt>
                <c:pt idx="19">
                  <c:v>0.3200367029952566</c:v>
                </c:pt>
                <c:pt idx="20">
                  <c:v>0.3243402681661726</c:v>
                </c:pt>
                <c:pt idx="21">
                  <c:v>0.3285897004418571</c:v>
                </c:pt>
                <c:pt idx="22">
                  <c:v>0.3327860148140954</c:v>
                </c:pt>
                <c:pt idx="23">
                  <c:v>0.33693020105748606</c:v>
                </c:pt>
                <c:pt idx="24">
                  <c:v>0.34102322450774847</c:v>
                </c:pt>
                <c:pt idx="25">
                  <c:v>0.345066026811382</c:v>
                </c:pt>
                <c:pt idx="26">
                  <c:v>0.34905952664789797</c:v>
                </c:pt>
                <c:pt idx="27">
                  <c:v>0.35300462042578945</c:v>
                </c:pt>
                <c:pt idx="28">
                  <c:v>0.356902182953345</c:v>
                </c:pt>
                <c:pt idx="29">
                  <c:v>0.3607530680853608</c:v>
                </c:pt>
                <c:pt idx="30">
                  <c:v>0.3645581093467575</c:v>
                </c:pt>
                <c:pt idx="31">
                  <c:v>0.36831812053405494</c:v>
                </c:pt>
                <c:pt idx="32">
                  <c:v>0.3720338962956191</c:v>
                </c:pt>
                <c:pt idx="33">
                  <c:v>0.3757062126915513</c:v>
                </c:pt>
                <c:pt idx="34">
                  <c:v>0.37933582773404223</c:v>
                </c:pt>
                <c:pt idx="35">
                  <c:v>0.38292348190898995</c:v>
                </c:pt>
                <c:pt idx="36">
                  <c:v>0.3864698986796281</c:v>
                </c:pt>
                <c:pt idx="37">
                  <c:v>0.38997578497288715</c:v>
                </c:pt>
                <c:pt idx="38">
                  <c:v>0.3934418316491776</c:v>
                </c:pt>
                <c:pt idx="39">
                  <c:v>0.39686871395624457</c:v>
                </c:pt>
                <c:pt idx="40">
                  <c:v>0.4002570919677264</c:v>
                </c:pt>
                <c:pt idx="41">
                  <c:v>0.40360761100701265</c:v>
                </c:pt>
                <c:pt idx="42">
                  <c:v>0.4069209020569737</c:v>
                </c:pt>
                <c:pt idx="43">
                  <c:v>0.4101975821561065</c:v>
                </c:pt>
                <c:pt idx="44">
                  <c:v>0.41343825478162244</c:v>
                </c:pt>
                <c:pt idx="45">
                  <c:v>0.41664351021997414</c:v>
                </c:pt>
                <c:pt idx="46">
                  <c:v>0.4198139259253003</c:v>
                </c:pt>
                <c:pt idx="47">
                  <c:v>0.42295006686624476</c:v>
                </c:pt>
                <c:pt idx="48">
                  <c:v>0.4260524858615874</c:v>
                </c:pt>
                <c:pt idx="49">
                  <c:v>0.42912172390510844</c:v>
                </c:pt>
                <c:pt idx="50">
                  <c:v>0.4321583104800813</c:v>
                </c:pt>
                <c:pt idx="51">
                  <c:v>0.43516276386378444</c:v>
                </c:pt>
                <c:pt idx="52">
                  <c:v>0.43813559142239605</c:v>
                </c:pt>
                <c:pt idx="53">
                  <c:v>0.4410772898966243</c:v>
                </c:pt>
                <c:pt idx="54">
                  <c:v>0.4439883456784129</c:v>
                </c:pt>
                <c:pt idx="55">
                  <c:v>0.4468692350790429</c:v>
                </c:pt>
                <c:pt idx="56">
                  <c:v>0.4497204245889448</c:v>
                </c:pt>
                <c:pt idx="57">
                  <c:v>0.4525423711295142</c:v>
                </c:pt>
                <c:pt idx="58">
                  <c:v>0.4553355222972208</c:v>
                </c:pt>
                <c:pt idx="59">
                  <c:v>0.45810031660028055</c:v>
                </c:pt>
                <c:pt idx="60">
                  <c:v>0.4608371836881579</c:v>
                </c:pt>
                <c:pt idx="61">
                  <c:v>0.4635465445741471</c:v>
                </c:pt>
                <c:pt idx="62">
                  <c:v>0.4662288118512763</c:v>
                </c:pt>
                <c:pt idx="63">
                  <c:v>0.46888438990176745</c:v>
                </c:pt>
                <c:pt idx="64">
                  <c:v>0.4715136751002736</c:v>
                </c:pt>
                <c:pt idx="65">
                  <c:v>0.4741170560111097</c:v>
                </c:pt>
                <c:pt idx="66">
                  <c:v>0.4766949135796827</c:v>
                </c:pt>
                <c:pt idx="67">
                  <c:v>0.47924762131831833</c:v>
                </c:pt>
                <c:pt idx="68">
                  <c:v>0.481775545486676</c:v>
                </c:pt>
                <c:pt idx="69">
                  <c:v>0.48427904526693366</c:v>
                </c:pt>
                <c:pt idx="70">
                  <c:v>0.4867584729339195</c:v>
                </c:pt>
                <c:pt idx="71">
                  <c:v>0.48921417402036016</c:v>
                </c:pt>
                <c:pt idx="72">
                  <c:v>0.49164648747740597</c:v>
                </c:pt>
                <c:pt idx="73">
                  <c:v>0.49405574583059375</c:v>
                </c:pt>
                <c:pt idx="74">
                  <c:v>0.4964422753313928</c:v>
                </c:pt>
                <c:pt idx="75">
                  <c:v>0.4988063961044848</c:v>
                </c:pt>
                <c:pt idx="76">
                  <c:v>0.5011484222909125</c:v>
                </c:pt>
                <c:pt idx="77">
                  <c:v>0.5034686621872337</c:v>
                </c:pt>
                <c:pt idx="78">
                  <c:v>0.5057674183808115</c:v>
                </c:pt>
                <c:pt idx="79">
                  <c:v>0.5080449878813607</c:v>
                </c:pt>
                <c:pt idx="80">
                  <c:v>0.51030166224887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B$2:$B$82</c:f>
              <c:numCache>
                <c:formatCode>General</c:formatCode>
                <c:ptCount val="81"/>
                <c:pt idx="0">
                  <c:v>118.85641029371008</c:v>
                </c:pt>
                <c:pt idx="1">
                  <c:v>118.12687995452522</c:v>
                </c:pt>
                <c:pt idx="2">
                  <c:v>117.40399051099291</c:v>
                </c:pt>
                <c:pt idx="3">
                  <c:v>116.68767173311525</c:v>
                </c:pt>
                <c:pt idx="4">
                  <c:v>115.97785405715723</c:v>
                </c:pt>
                <c:pt idx="5">
                  <c:v>115.27446857745285</c:v>
                </c:pt>
                <c:pt idx="6">
                  <c:v>114.57744703865889</c:v>
                </c:pt>
                <c:pt idx="7">
                  <c:v>113.88672182844334</c:v>
                </c:pt>
                <c:pt idx="8">
                  <c:v>113.20222597058931</c:v>
                </c:pt>
                <c:pt idx="9">
                  <c:v>112.52389311849664</c:v>
                </c:pt>
                <c:pt idx="10">
                  <c:v>111.85165754906366</c:v>
                </c:pt>
                <c:pt idx="11">
                  <c:v>111.18545415692789</c:v>
                </c:pt>
                <c:pt idx="12">
                  <c:v>110.52521844904766</c:v>
                </c:pt>
                <c:pt idx="13">
                  <c:v>109.87088653960744</c:v>
                </c:pt>
                <c:pt idx="14">
                  <c:v>109.22239514522273</c:v>
                </c:pt>
                <c:pt idx="15">
                  <c:v>108.57968158042912</c:v>
                </c:pt>
                <c:pt idx="16">
                  <c:v>107.94268375343397</c:v>
                </c:pt>
                <c:pt idx="17">
                  <c:v>107.31134016211136</c:v>
                </c:pt>
                <c:pt idx="18">
                  <c:v>106.68558989022587</c:v>
                </c:pt>
                <c:pt idx="19">
                  <c:v>106.065372603855</c:v>
                </c:pt>
                <c:pt idx="20">
                  <c:v>105.45062854800847</c:v>
                </c:pt>
                <c:pt idx="21">
                  <c:v>104.97847621260408</c:v>
                </c:pt>
                <c:pt idx="22">
                  <c:v>104.50968432030146</c:v>
                </c:pt>
                <c:pt idx="23">
                  <c:v>104.04422228278247</c:v>
                </c:pt>
                <c:pt idx="24">
                  <c:v>103.58205979741157</c:v>
                </c:pt>
                <c:pt idx="25">
                  <c:v>103.12316684501013</c:v>
                </c:pt>
                <c:pt idx="26">
                  <c:v>102.66751368764547</c:v>
                </c:pt>
                <c:pt idx="27">
                  <c:v>102.21507086642885</c:v>
                </c:pt>
                <c:pt idx="28">
                  <c:v>101.76580919932985</c:v>
                </c:pt>
                <c:pt idx="29">
                  <c:v>101.31969977899959</c:v>
                </c:pt>
                <c:pt idx="30">
                  <c:v>100.8767139706074</c:v>
                </c:pt>
                <c:pt idx="31">
                  <c:v>100.43682340968776</c:v>
                </c:pt>
                <c:pt idx="32">
                  <c:v>100.0</c:v>
                </c:pt>
                <c:pt idx="33">
                  <c:v>99.56621591139813</c:v>
                </c:pt>
                <c:pt idx="34">
                  <c:v>99.13544357771167</c:v>
                </c:pt>
                <c:pt idx="35">
                  <c:v>98.70765569463762</c:v>
                </c:pt>
                <c:pt idx="36">
                  <c:v>98.28282521764254</c:v>
                </c:pt>
                <c:pt idx="37">
                  <c:v>97.86092535987699</c:v>
                </c:pt>
                <c:pt idx="38">
                  <c:v>97.44192959009736</c:v>
                </c:pt>
                <c:pt idx="39">
                  <c:v>97.02581163060105</c:v>
                </c:pt>
                <c:pt idx="40">
                  <c:v>96.61254545517069</c:v>
                </c:pt>
                <c:pt idx="41">
                  <c:v>96.20210528702796</c:v>
                </c:pt>
                <c:pt idx="42">
                  <c:v>95.79446559679897</c:v>
                </c:pt>
                <c:pt idx="43">
                  <c:v>95.38960110048774</c:v>
                </c:pt>
                <c:pt idx="44">
                  <c:v>94.9874867574633</c:v>
                </c:pt>
                <c:pt idx="45">
                  <c:v>94.58809776845263</c:v>
                </c:pt>
                <c:pt idx="46">
                  <c:v>94.19140957354597</c:v>
                </c:pt>
                <c:pt idx="47">
                  <c:v>93.79739785021243</c:v>
                </c:pt>
                <c:pt idx="48">
                  <c:v>93.40603851132477</c:v>
                </c:pt>
                <c:pt idx="49">
                  <c:v>93.01730770319305</c:v>
                </c:pt>
                <c:pt idx="50">
                  <c:v>92.63118180361164</c:v>
                </c:pt>
                <c:pt idx="51">
                  <c:v>92.24763741991312</c:v>
                </c:pt>
                <c:pt idx="52">
                  <c:v>91.86665138703225</c:v>
                </c:pt>
                <c:pt idx="53">
                  <c:v>91.48820076558204</c:v>
                </c:pt>
                <c:pt idx="54">
                  <c:v>91.11226283993943</c:v>
                </c:pt>
                <c:pt idx="55">
                  <c:v>90.73881511633863</c:v>
                </c:pt>
                <c:pt idx="56">
                  <c:v>90.36783532097729</c:v>
                </c:pt>
                <c:pt idx="57">
                  <c:v>89.99930139813144</c:v>
                </c:pt>
                <c:pt idx="58">
                  <c:v>89.63319150828036</c:v>
                </c:pt>
                <c:pt idx="59">
                  <c:v>89.26948402624399</c:v>
                </c:pt>
                <c:pt idx="60">
                  <c:v>88.9081575393255</c:v>
                </c:pt>
                <c:pt idx="61">
                  <c:v>87.95647363056648</c:v>
                </c:pt>
                <c:pt idx="62">
                  <c:v>87.02025256574994</c:v>
                </c:pt>
                <c:pt idx="63">
                  <c:v>86.09912634265946</c:v>
                </c:pt>
                <c:pt idx="64">
                  <c:v>85.19273652063085</c:v>
                </c:pt>
                <c:pt idx="65">
                  <c:v>84.30073414855195</c:v>
                </c:pt>
                <c:pt idx="66">
                  <c:v>83.42277967809586</c:v>
                </c:pt>
                <c:pt idx="67">
                  <c:v>82.55854286382073</c:v>
                </c:pt>
                <c:pt idx="68">
                  <c:v>81.70770265159709</c:v>
                </c:pt>
                <c:pt idx="69">
                  <c:v>80.86994705666667</c:v>
                </c:pt>
                <c:pt idx="70">
                  <c:v>80.04497303247443</c:v>
                </c:pt>
                <c:pt idx="71">
                  <c:v>79.23248633128344</c:v>
                </c:pt>
                <c:pt idx="72">
                  <c:v>78.43220135745459</c:v>
                </c:pt>
                <c:pt idx="73">
                  <c:v>77.64384101415374</c:v>
                </c:pt>
                <c:pt idx="74">
                  <c:v>76.86713654415647</c:v>
                </c:pt>
                <c:pt idx="75">
                  <c:v>76.10182736531775</c:v>
                </c:pt>
                <c:pt idx="76">
                  <c:v>75.3476609012198</c:v>
                </c:pt>
                <c:pt idx="77">
                  <c:v>74.604392407424</c:v>
                </c:pt>
                <c:pt idx="78">
                  <c:v>73.87178479372263</c:v>
                </c:pt>
                <c:pt idx="79">
                  <c:v>73.14960844272916</c:v>
                </c:pt>
                <c:pt idx="80">
                  <c:v>72.43764102513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C$2:$C$82</c:f>
              <c:numCache>
                <c:formatCode>General</c:formatCode>
                <c:ptCount val="81"/>
                <c:pt idx="0">
                  <c:v>105.01633283296495</c:v>
                </c:pt>
                <c:pt idx="1">
                  <c:v>104.80138243481802</c:v>
                </c:pt>
                <c:pt idx="2">
                  <c:v>104.58707689435514</c:v>
                </c:pt>
                <c:pt idx="3">
                  <c:v>104.37342502046634</c:v>
                </c:pt>
                <c:pt idx="4">
                  <c:v>104.16043521254785</c:v>
                </c:pt>
                <c:pt idx="5">
                  <c:v>103.94811546517954</c:v>
                </c:pt>
                <c:pt idx="6">
                  <c:v>103.7364733730219</c:v>
                </c:pt>
                <c:pt idx="7">
                  <c:v>103.5255161359333</c:v>
                </c:pt>
                <c:pt idx="8">
                  <c:v>103.31525056430108</c:v>
                </c:pt>
                <c:pt idx="9">
                  <c:v>103.10568308457917</c:v>
                </c:pt>
                <c:pt idx="10">
                  <c:v>102.89681974502966</c:v>
                </c:pt>
                <c:pt idx="11">
                  <c:v>102.68866622165483</c:v>
                </c:pt>
                <c:pt idx="12">
                  <c:v>102.48122782431483</c:v>
                </c:pt>
                <c:pt idx="13">
                  <c:v>102.27450950302376</c:v>
                </c:pt>
                <c:pt idx="14">
                  <c:v>102.06851585440712</c:v>
                </c:pt>
                <c:pt idx="15">
                  <c:v>101.86325112831818</c:v>
                </c:pt>
                <c:pt idx="16">
                  <c:v>101.6587192345975</c:v>
                </c:pt>
                <c:pt idx="17">
                  <c:v>101.45492374996488</c:v>
                </c:pt>
                <c:pt idx="18">
                  <c:v>101.25186792503584</c:v>
                </c:pt>
                <c:pt idx="19">
                  <c:v>101.049554691443</c:v>
                </c:pt>
                <c:pt idx="20">
                  <c:v>100.84798666906067</c:v>
                </c:pt>
                <c:pt idx="21">
                  <c:v>100.77822009803367</c:v>
                </c:pt>
                <c:pt idx="22">
                  <c:v>100.70826809361877</c:v>
                </c:pt>
                <c:pt idx="23">
                  <c:v>100.63813761659162</c:v>
                </c:pt>
                <c:pt idx="24">
                  <c:v>100.56783546004624</c:v>
                </c:pt>
                <c:pt idx="25">
                  <c:v>100.49736825249383</c:v>
                </c:pt>
                <c:pt idx="26">
                  <c:v>100.42674246092535</c:v>
                </c:pt>
                <c:pt idx="27">
                  <c:v>100.35596439382992</c:v>
                </c:pt>
                <c:pt idx="28">
                  <c:v>100.28504020417914</c:v>
                </c:pt>
                <c:pt idx="29">
                  <c:v>100.21397589236804</c:v>
                </c:pt>
                <c:pt idx="30">
                  <c:v>100.1427773091204</c:v>
                </c:pt>
                <c:pt idx="31">
                  <c:v>100.07145015835223</c:v>
                </c:pt>
                <c:pt idx="32">
                  <c:v>100.0</c:v>
                </c:pt>
                <c:pt idx="33">
                  <c:v>99.92843225280788</c:v>
                </c:pt>
                <c:pt idx="34">
                  <c:v>99.85675219707873</c:v>
                </c:pt>
                <c:pt idx="35">
                  <c:v>99.78496497738578</c:v>
                </c:pt>
                <c:pt idx="36">
                  <c:v>99.71307560524714</c:v>
                </c:pt>
                <c:pt idx="37">
                  <c:v>99.64108896176437</c:v>
                </c:pt>
                <c:pt idx="38">
                  <c:v>99.56900980022112</c:v>
                </c:pt>
                <c:pt idx="39">
                  <c:v>99.49684274864748</c:v>
                </c:pt>
                <c:pt idx="40">
                  <c:v>99.42459231234652</c:v>
                </c:pt>
                <c:pt idx="41">
                  <c:v>99.35226287638443</c:v>
                </c:pt>
                <c:pt idx="42">
                  <c:v>99.27985870804463</c:v>
                </c:pt>
                <c:pt idx="43">
                  <c:v>99.20738395924606</c:v>
                </c:pt>
                <c:pt idx="44">
                  <c:v>99.13484266892762</c:v>
                </c:pt>
                <c:pt idx="45">
                  <c:v>99.06223876539414</c:v>
                </c:pt>
                <c:pt idx="46">
                  <c:v>98.98957606862986</c:v>
                </c:pt>
                <c:pt idx="47">
                  <c:v>98.91685829257722</c:v>
                </c:pt>
                <c:pt idx="48">
                  <c:v>98.84408904738079</c:v>
                </c:pt>
                <c:pt idx="49">
                  <c:v>98.7712718415959</c:v>
                </c:pt>
                <c:pt idx="50">
                  <c:v>98.69841008436721</c:v>
                </c:pt>
                <c:pt idx="51">
                  <c:v>98.62550708757043</c:v>
                </c:pt>
                <c:pt idx="52">
                  <c:v>98.55256606792176</c:v>
                </c:pt>
                <c:pt idx="53">
                  <c:v>98.4795901490558</c:v>
                </c:pt>
                <c:pt idx="54">
                  <c:v>98.4065823635716</c:v>
                </c:pt>
                <c:pt idx="55">
                  <c:v>98.33354565504337</c:v>
                </c:pt>
                <c:pt idx="56">
                  <c:v>98.26048288000334</c:v>
                </c:pt>
                <c:pt idx="57">
                  <c:v>98.18739680989015</c:v>
                </c:pt>
                <c:pt idx="58">
                  <c:v>98.11429013296826</c:v>
                </c:pt>
                <c:pt idx="59">
                  <c:v>98.0411654562169</c:v>
                </c:pt>
                <c:pt idx="60">
                  <c:v>97.96802530718477</c:v>
                </c:pt>
                <c:pt idx="61">
                  <c:v>97.24455037066524</c:v>
                </c:pt>
                <c:pt idx="62">
                  <c:v>96.53121566586343</c:v>
                </c:pt>
                <c:pt idx="63">
                  <c:v>95.8277821240682</c:v>
                </c:pt>
                <c:pt idx="64">
                  <c:v>95.13401597310529</c:v>
                </c:pt>
                <c:pt idx="65">
                  <c:v>94.44968882786748</c:v>
                </c:pt>
                <c:pt idx="66">
                  <c:v>93.7745777630647</c:v>
                </c:pt>
                <c:pt idx="67">
                  <c:v>93.1084653696253</c:v>
                </c:pt>
                <c:pt idx="68">
                  <c:v>92.45113979603772</c:v>
                </c:pt>
                <c:pt idx="69">
                  <c:v>91.80239477578507</c:v>
                </c:pt>
                <c:pt idx="70">
                  <c:v>91.16202964188501</c:v>
                </c:pt>
                <c:pt idx="71">
                  <c:v>90.52984932942827</c:v>
                </c:pt>
                <c:pt idx="72">
                  <c:v>89.90566436689687</c:v>
                </c:pt>
                <c:pt idx="73">
                  <c:v>89.28929085693079</c:v>
                </c:pt>
                <c:pt idx="74">
                  <c:v>88.68055044713188</c:v>
                </c:pt>
                <c:pt idx="75">
                  <c:v>88.07927029139464</c:v>
                </c:pt>
                <c:pt idx="76">
                  <c:v>87.48528300220663</c:v>
                </c:pt>
                <c:pt idx="77">
                  <c:v>86.8984265942806</c:v>
                </c:pt>
                <c:pt idx="78">
                  <c:v>86.31854441985331</c:v>
                </c:pt>
                <c:pt idx="79">
                  <c:v>85.74548509593542</c:v>
                </c:pt>
                <c:pt idx="80">
                  <c:v>85.1791024237902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D$2:$D$82</c:f>
              <c:numCache>
                <c:formatCode>General</c:formatCode>
                <c:ptCount val="81"/>
                <c:pt idx="0">
                  <c:v>83.63969613261081</c:v>
                </c:pt>
                <c:pt idx="1">
                  <c:v>84.22009033794858</c:v>
                </c:pt>
                <c:pt idx="2">
                  <c:v>84.79177092460604</c:v>
                </c:pt>
                <c:pt idx="3">
                  <c:v>85.35487098996396</c:v>
                </c:pt>
                <c:pt idx="4">
                  <c:v>85.90952152382016</c:v>
                </c:pt>
                <c:pt idx="5">
                  <c:v>86.45585143308969</c:v>
                </c:pt>
                <c:pt idx="6">
                  <c:v>86.99398756638924</c:v>
                </c:pt>
                <c:pt idx="7">
                  <c:v>87.52405473852588</c:v>
                </c:pt>
                <c:pt idx="8">
                  <c:v>88.04617575490279</c:v>
                </c:pt>
                <c:pt idx="9">
                  <c:v>88.56047143585378</c:v>
                </c:pt>
                <c:pt idx="10">
                  <c:v>89.06706064092103</c:v>
                </c:pt>
                <c:pt idx="11">
                  <c:v>89.56606029308085</c:v>
                </c:pt>
                <c:pt idx="12">
                  <c:v>90.05758540292771</c:v>
                </c:pt>
                <c:pt idx="13">
                  <c:v>90.54174909282469</c:v>
                </c:pt>
                <c:pt idx="14">
                  <c:v>91.01866262101893</c:v>
                </c:pt>
                <c:pt idx="15">
                  <c:v>91.48843540573188</c:v>
                </c:pt>
                <c:pt idx="16">
                  <c:v>91.95117504922148</c:v>
                </c:pt>
                <c:pt idx="17">
                  <c:v>92.40698736181815</c:v>
                </c:pt>
                <c:pt idx="18">
                  <c:v>92.85597638593732</c:v>
                </c:pt>
                <c:pt idx="19">
                  <c:v>93.29824442005766</c:v>
                </c:pt>
                <c:pt idx="20">
                  <c:v>93.73389204267414</c:v>
                </c:pt>
                <c:pt idx="21">
                  <c:v>94.2862240057648</c:v>
                </c:pt>
                <c:pt idx="22">
                  <c:v>94.83286169805129</c:v>
                </c:pt>
                <c:pt idx="23">
                  <c:v>95.37387042588392</c:v>
                </c:pt>
                <c:pt idx="24">
                  <c:v>95.9093146272329</c:v>
                </c:pt>
                <c:pt idx="25">
                  <c:v>96.43925788283352</c:v>
                </c:pt>
                <c:pt idx="26">
                  <c:v>96.96376292722077</c:v>
                </c:pt>
                <c:pt idx="27">
                  <c:v>97.48289165964972</c:v>
                </c:pt>
                <c:pt idx="28">
                  <c:v>97.99670515491025</c:v>
                </c:pt>
                <c:pt idx="29">
                  <c:v>98.50526367402736</c:v>
                </c:pt>
                <c:pt idx="30">
                  <c:v>99.00862667485538</c:v>
                </c:pt>
                <c:pt idx="31">
                  <c:v>99.50685282256096</c:v>
                </c:pt>
                <c:pt idx="32">
                  <c:v>100.0</c:v>
                </c:pt>
                <c:pt idx="33">
                  <c:v>100.48812531798512</c:v>
                </c:pt>
                <c:pt idx="34">
                  <c:v>100.97128512544711</c:v>
                </c:pt>
                <c:pt idx="35">
                  <c:v>101.44953501948865</c:v>
                </c:pt>
                <c:pt idx="36">
                  <c:v>101.92292985533304</c:v>
                </c:pt>
                <c:pt idx="37">
                  <c:v>102.3915237561676</c:v>
                </c:pt>
                <c:pt idx="38">
                  <c:v>102.85537012288061</c:v>
                </c:pt>
                <c:pt idx="39">
                  <c:v>103.31452164369566</c:v>
                </c:pt>
                <c:pt idx="40">
                  <c:v>103.76903030370173</c:v>
                </c:pt>
                <c:pt idx="41">
                  <c:v>104.21894739428038</c:v>
                </c:pt>
                <c:pt idx="42">
                  <c:v>104.66432352242845</c:v>
                </c:pt>
                <c:pt idx="43">
                  <c:v>105.10520861998187</c:v>
                </c:pt>
                <c:pt idx="44">
                  <c:v>105.54165195273704</c:v>
                </c:pt>
                <c:pt idx="45">
                  <c:v>105.97370212947001</c:v>
                </c:pt>
                <c:pt idx="46">
                  <c:v>106.4014071108575</c:v>
                </c:pt>
                <c:pt idx="47">
                  <c:v>106.82481421829755</c:v>
                </c:pt>
                <c:pt idx="48">
                  <c:v>107.2439701426321</c:v>
                </c:pt>
                <c:pt idx="49">
                  <c:v>107.6589209527697</c:v>
                </c:pt>
                <c:pt idx="50">
                  <c:v>108.06971210421355</c:v>
                </c:pt>
                <c:pt idx="51">
                  <c:v>108.47638844749032</c:v>
                </c:pt>
                <c:pt idx="52">
                  <c:v>108.87899423648268</c:v>
                </c:pt>
                <c:pt idx="53">
                  <c:v>109.2775731366674</c:v>
                </c:pt>
                <c:pt idx="54">
                  <c:v>109.67216823326038</c:v>
                </c:pt>
                <c:pt idx="55">
                  <c:v>110.06282203926266</c:v>
                </c:pt>
                <c:pt idx="56">
                  <c:v>110.4495765034167</c:v>
                </c:pt>
                <c:pt idx="57">
                  <c:v>110.8324730180692</c:v>
                </c:pt>
                <c:pt idx="58">
                  <c:v>111.21155242694039</c:v>
                </c:pt>
                <c:pt idx="59">
                  <c:v>111.58685503280506</c:v>
                </c:pt>
                <c:pt idx="60">
                  <c:v>111.95842060507648</c:v>
                </c:pt>
                <c:pt idx="61">
                  <c:v>111.57441562395923</c:v>
                </c:pt>
                <c:pt idx="62">
                  <c:v>111.19254494512494</c:v>
                </c:pt>
                <c:pt idx="63">
                  <c:v>110.8127644595339</c:v>
                </c:pt>
                <c:pt idx="64">
                  <c:v>110.43502882303997</c:v>
                </c:pt>
                <c:pt idx="65">
                  <c:v>110.05929180505392</c:v>
                </c:pt>
                <c:pt idx="66">
                  <c:v>109.68550661379277</c:v>
                </c:pt>
                <c:pt idx="67">
                  <c:v>109.3136261993182</c:v>
                </c:pt>
                <c:pt idx="68">
                  <c:v>108.94360353546276</c:v>
                </c:pt>
                <c:pt idx="69">
                  <c:v>108.57539188163577</c:v>
                </c:pt>
                <c:pt idx="70">
                  <c:v>108.20894502538209</c:v>
                </c:pt>
                <c:pt idx="71">
                  <c:v>107.84421750646909</c:v>
                </c:pt>
                <c:pt idx="72">
                  <c:v>107.48116482317852</c:v>
                </c:pt>
                <c:pt idx="73">
                  <c:v>107.11974362137883</c:v>
                </c:pt>
                <c:pt idx="74">
                  <c:v>106.75991186688395</c:v>
                </c:pt>
                <c:pt idx="75">
                  <c:v>106.40162900150901</c:v>
                </c:pt>
                <c:pt idx="76">
                  <c:v>106.04485608319823</c:v>
                </c:pt>
                <c:pt idx="77">
                  <c:v>105.68955591051738</c:v>
                </c:pt>
                <c:pt idx="78">
                  <c:v>105.33569313178963</c:v>
                </c:pt>
                <c:pt idx="79">
                  <c:v>104.98323433910204</c:v>
                </c:pt>
                <c:pt idx="80">
                  <c:v>104.6321481474133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E$2:$E$82</c:f>
              <c:numCache>
                <c:formatCode>General</c:formatCode>
                <c:ptCount val="81"/>
                <c:pt idx="0">
                  <c:v>0.319327731092437</c:v>
                </c:pt>
                <c:pt idx="1">
                  <c:v>0.3221757322175733</c:v>
                </c:pt>
                <c:pt idx="2">
                  <c:v>0.3250000000000001</c:v>
                </c:pt>
                <c:pt idx="3">
                  <c:v>0.32780082987551884</c:v>
                </c:pt>
                <c:pt idx="4">
                  <c:v>0.33057851239669434</c:v>
                </c:pt>
                <c:pt idx="5">
                  <c:v>0.33333333333333354</c:v>
                </c:pt>
                <c:pt idx="6">
                  <c:v>0.33606557377049195</c:v>
                </c:pt>
                <c:pt idx="7">
                  <c:v>0.33877551020408164</c:v>
                </c:pt>
                <c:pt idx="8">
                  <c:v>0.3414634146341465</c:v>
                </c:pt>
                <c:pt idx="9">
                  <c:v>0.3441295546558705</c:v>
                </c:pt>
                <c:pt idx="10">
                  <c:v>0.3467741935483871</c:v>
                </c:pt>
                <c:pt idx="11">
                  <c:v>0.3493975903614459</c:v>
                </c:pt>
                <c:pt idx="12">
                  <c:v>0.35200000000000015</c:v>
                </c:pt>
                <c:pt idx="13">
                  <c:v>0.3545816733067731</c:v>
                </c:pt>
                <c:pt idx="14">
                  <c:v>0.3571428571428572</c:v>
                </c:pt>
                <c:pt idx="15">
                  <c:v>0.35968379446640314</c:v>
                </c:pt>
                <c:pt idx="16">
                  <c:v>0.36220472440944895</c:v>
                </c:pt>
                <c:pt idx="17">
                  <c:v>0.3647058823529412</c:v>
                </c:pt>
                <c:pt idx="18">
                  <c:v>0.36718750000000017</c:v>
                </c:pt>
                <c:pt idx="19">
                  <c:v>0.36964980544747095</c:v>
                </c:pt>
                <c:pt idx="20">
                  <c:v>0.37209302325581384</c:v>
                </c:pt>
                <c:pt idx="21">
                  <c:v>0.37451737451737466</c:v>
                </c:pt>
                <c:pt idx="22">
                  <c:v>0.37692307692307697</c:v>
                </c:pt>
                <c:pt idx="23">
                  <c:v>0.3793103448275863</c:v>
                </c:pt>
                <c:pt idx="24">
                  <c:v>0.38167938931297707</c:v>
                </c:pt>
                <c:pt idx="25">
                  <c:v>0.38403041825095063</c:v>
                </c:pt>
                <c:pt idx="26">
                  <c:v>0.38636363636363635</c:v>
                </c:pt>
                <c:pt idx="27">
                  <c:v>0.3886792452830189</c:v>
                </c:pt>
                <c:pt idx="28">
                  <c:v>0.39097744360902276</c:v>
                </c:pt>
                <c:pt idx="29">
                  <c:v>0.39325842696629226</c:v>
                </c:pt>
                <c:pt idx="30">
                  <c:v>0.3955223880597015</c:v>
                </c:pt>
                <c:pt idx="31">
                  <c:v>0.3977695167286245</c:v>
                </c:pt>
                <c:pt idx="32">
                  <c:v>0.39999999999999997</c:v>
                </c:pt>
                <c:pt idx="33">
                  <c:v>0.40221402214022134</c:v>
                </c:pt>
                <c:pt idx="34">
                  <c:v>0.40441176470588247</c:v>
                </c:pt>
                <c:pt idx="35">
                  <c:v>0.40659340659340665</c:v>
                </c:pt>
                <c:pt idx="36">
                  <c:v>0.4087591240875913</c:v>
                </c:pt>
                <c:pt idx="37">
                  <c:v>0.4109090909090909</c:v>
                </c:pt>
                <c:pt idx="38">
                  <c:v>0.4130434782608697</c:v>
                </c:pt>
                <c:pt idx="39">
                  <c:v>0.4151624548736464</c:v>
                </c:pt>
                <c:pt idx="40">
                  <c:v>0.4172661870503596</c:v>
                </c:pt>
                <c:pt idx="41">
                  <c:v>0.41935483870967755</c:v>
                </c:pt>
                <c:pt idx="42">
                  <c:v>0.4214285714285715</c:v>
                </c:pt>
                <c:pt idx="43">
                  <c:v>0.4234875444839859</c:v>
                </c:pt>
                <c:pt idx="44">
                  <c:v>0.42553191489361714</c:v>
                </c:pt>
                <c:pt idx="45">
                  <c:v>0.4275618374558304</c:v>
                </c:pt>
                <c:pt idx="46">
                  <c:v>0.42957746478873243</c:v>
                </c:pt>
                <c:pt idx="47">
                  <c:v>0.4315789473684212</c:v>
                </c:pt>
                <c:pt idx="48">
                  <c:v>0.43356643356643354</c:v>
                </c:pt>
                <c:pt idx="49">
                  <c:v>0.4355400696864111</c:v>
                </c:pt>
                <c:pt idx="50">
                  <c:v>0.43750000000000006</c:v>
                </c:pt>
                <c:pt idx="51">
                  <c:v>0.439446366782007</c:v>
                </c:pt>
                <c:pt idx="52">
                  <c:v>0.4413793103448277</c:v>
                </c:pt>
                <c:pt idx="53">
                  <c:v>0.44329896907216493</c:v>
                </c:pt>
                <c:pt idx="54">
                  <c:v>0.4452054794520548</c:v>
                </c:pt>
                <c:pt idx="55">
                  <c:v>0.4470989761092152</c:v>
                </c:pt>
                <c:pt idx="56">
                  <c:v>0.44897959183673475</c:v>
                </c:pt>
                <c:pt idx="57">
                  <c:v>0.4508474576271187</c:v>
                </c:pt>
                <c:pt idx="58">
                  <c:v>0.4527027027027027</c:v>
                </c:pt>
                <c:pt idx="59">
                  <c:v>0.4545454545454546</c:v>
                </c:pt>
                <c:pt idx="60">
                  <c:v>0.45637583892617456</c:v>
                </c:pt>
                <c:pt idx="61">
                  <c:v>0.4581939799331103</c:v>
                </c:pt>
                <c:pt idx="62">
                  <c:v>0.4600000000000001</c:v>
                </c:pt>
                <c:pt idx="63">
                  <c:v>0.46179401993355484</c:v>
                </c:pt>
                <c:pt idx="64">
                  <c:v>0.46357615894039744</c:v>
                </c:pt>
                <c:pt idx="65">
                  <c:v>0.4653465346534653</c:v>
                </c:pt>
                <c:pt idx="66">
                  <c:v>0.46710526315789486</c:v>
                </c:pt>
                <c:pt idx="67">
                  <c:v>0.46885245901639355</c:v>
                </c:pt>
                <c:pt idx="68">
                  <c:v>0.47058823529411775</c:v>
                </c:pt>
                <c:pt idx="69">
                  <c:v>0.472312703583062</c:v>
                </c:pt>
                <c:pt idx="70">
                  <c:v>0.47402597402597413</c:v>
                </c:pt>
                <c:pt idx="71">
                  <c:v>0.4757281553398059</c:v>
                </c:pt>
                <c:pt idx="72">
                  <c:v>0.4774193548387098</c:v>
                </c:pt>
                <c:pt idx="73">
                  <c:v>0.4790996784565918</c:v>
                </c:pt>
                <c:pt idx="74">
                  <c:v>0.48076923076923084</c:v>
                </c:pt>
                <c:pt idx="75">
                  <c:v>0.48242811501597443</c:v>
                </c:pt>
                <c:pt idx="76">
                  <c:v>0.48407643312101917</c:v>
                </c:pt>
                <c:pt idx="77">
                  <c:v>0.4857142857142858</c:v>
                </c:pt>
                <c:pt idx="78">
                  <c:v>0.48734177215189883</c:v>
                </c:pt>
                <c:pt idx="79">
                  <c:v>0.48895899053627767</c:v>
                </c:pt>
                <c:pt idx="80">
                  <c:v>0.490566037735849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B$2:$B$31</c:f>
              <c:numCache>
                <c:formatCode>General</c:formatCode>
                <c:ptCount val="30"/>
                <c:pt idx="0">
                  <c:v>170.85946275266025</c:v>
                </c:pt>
                <c:pt idx="1">
                  <c:v>166.02643689449636</c:v>
                </c:pt>
                <c:pt idx="2">
                  <c:v>161.52481810557407</c:v>
                </c:pt>
                <c:pt idx="3">
                  <c:v>157.32022243757626</c:v>
                </c:pt>
                <c:pt idx="4">
                  <c:v>153.38192234970128</c:v>
                </c:pt>
                <c:pt idx="5">
                  <c:v>149.68266626721294</c:v>
                </c:pt>
                <c:pt idx="6">
                  <c:v>146.1984147090659</c:v>
                </c:pt>
                <c:pt idx="7">
                  <c:v>142.90803670139735</c:v>
                </c:pt>
                <c:pt idx="8">
                  <c:v>139.79299686404678</c:v>
                </c:pt>
                <c:pt idx="9">
                  <c:v>136.83705239438189</c:v>
                </c:pt>
                <c:pt idx="10">
                  <c:v>129.7245865213783</c:v>
                </c:pt>
                <c:pt idx="11">
                  <c:v>122.74852297508383</c:v>
                </c:pt>
                <c:pt idx="12">
                  <c:v>116.34370327474161</c:v>
                </c:pt>
                <c:pt idx="13">
                  <c:v>110.45023900130502</c:v>
                </c:pt>
                <c:pt idx="14">
                  <c:v>105.01704810859505</c:v>
                </c:pt>
                <c:pt idx="15">
                  <c:v>100.0</c:v>
                </c:pt>
                <c:pt idx="16">
                  <c:v>95.36037745940628</c:v>
                </c:pt>
                <c:pt idx="17">
                  <c:v>91.06373068830516</c:v>
                </c:pt>
                <c:pt idx="18">
                  <c:v>87.0791026764952</c:v>
                </c:pt>
                <c:pt idx="19">
                  <c:v>83.37853886378089</c:v>
                </c:pt>
                <c:pt idx="20">
                  <c:v>80.90343078113897</c:v>
                </c:pt>
                <c:pt idx="21">
                  <c:v>78.6415883749811</c:v>
                </c:pt>
                <c:pt idx="22">
                  <c:v>76.47366983713069</c:v>
                </c:pt>
                <c:pt idx="23">
                  <c:v>74.39534295361653</c:v>
                </c:pt>
                <c:pt idx="24">
                  <c:v>72.40244893551339</c:v>
                </c:pt>
                <c:pt idx="25">
                  <c:v>70.49100397793843</c:v>
                </c:pt>
                <c:pt idx="26">
                  <c:v>68.6571985646675</c:v>
                </c:pt>
                <c:pt idx="27">
                  <c:v>66.89739462926228</c:v>
                </c:pt>
                <c:pt idx="28">
                  <c:v>65.20812087931746</c:v>
                </c:pt>
                <c:pt idx="29">
                  <c:v>63.586066719771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C$2:$C$31</c:f>
              <c:numCache>
                <c:formatCode>General</c:formatCode>
                <c:ptCount val="30"/>
                <c:pt idx="0">
                  <c:v>141.28959646996026</c:v>
                </c:pt>
                <c:pt idx="1">
                  <c:v>139.20154035152476</c:v>
                </c:pt>
                <c:pt idx="2">
                  <c:v>137.28447535315811</c:v>
                </c:pt>
                <c:pt idx="3">
                  <c:v>135.52012188061852</c:v>
                </c:pt>
                <c:pt idx="4">
                  <c:v>133.8918309291129</c:v>
                </c:pt>
                <c:pt idx="5">
                  <c:v>132.3846302163893</c:v>
                </c:pt>
                <c:pt idx="6">
                  <c:v>130.9851840337112</c:v>
                </c:pt>
                <c:pt idx="7">
                  <c:v>129.6816996219645</c:v>
                </c:pt>
                <c:pt idx="8">
                  <c:v>128.46380465620376</c:v>
                </c:pt>
                <c:pt idx="9">
                  <c:v>127.32241284708894</c:v>
                </c:pt>
                <c:pt idx="10">
                  <c:v>122.2058007808545</c:v>
                </c:pt>
                <c:pt idx="11">
                  <c:v>117.05600589591852</c:v>
                </c:pt>
                <c:pt idx="12">
                  <c:v>112.2964433550584</c:v>
                </c:pt>
                <c:pt idx="13">
                  <c:v>107.88836069943856</c:v>
                </c:pt>
                <c:pt idx="14">
                  <c:v>103.79894959690412</c:v>
                </c:pt>
                <c:pt idx="15">
                  <c:v>100.0</c:v>
                </c:pt>
                <c:pt idx="16">
                  <c:v>96.46674622465315</c:v>
                </c:pt>
                <c:pt idx="17">
                  <c:v>93.17700706167187</c:v>
                </c:pt>
                <c:pt idx="18">
                  <c:v>90.1106300432854</c:v>
                </c:pt>
                <c:pt idx="19">
                  <c:v>87.2491790133633</c:v>
                </c:pt>
                <c:pt idx="20">
                  <c:v>85.59622385694286</c:v>
                </c:pt>
                <c:pt idx="21">
                  <c:v>84.11398883995547</c:v>
                </c:pt>
                <c:pt idx="22">
                  <c:v>82.6810938015768</c:v>
                </c:pt>
                <c:pt idx="23">
                  <c:v>81.29604239867147</c:v>
                </c:pt>
                <c:pt idx="24">
                  <c:v>79.95733202427347</c:v>
                </c:pt>
                <c:pt idx="25">
                  <c:v>78.66346529135677</c:v>
                </c:pt>
                <c:pt idx="26">
                  <c:v>77.41295910847539</c:v>
                </c:pt>
                <c:pt idx="27">
                  <c:v>76.20435129115398</c:v>
                </c:pt>
                <c:pt idx="28">
                  <c:v>75.03620488735214</c:v>
                </c:pt>
                <c:pt idx="29">
                  <c:v>73.907110573247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D$2:$D$31</c:f>
              <c:numCache>
                <c:formatCode>General</c:formatCode>
                <c:ptCount val="30"/>
                <c:pt idx="0">
                  <c:v>84.13514932710326</c:v>
                </c:pt>
                <c:pt idx="1">
                  <c:v>87.37333441492807</c:v>
                </c:pt>
                <c:pt idx="2">
                  <c:v>90.47005632093673</c:v>
                </c:pt>
                <c:pt idx="3">
                  <c:v>93.43853600804417</c:v>
                </c:pt>
                <c:pt idx="4">
                  <c:v>96.28963584825571</c:v>
                </c:pt>
                <c:pt idx="5">
                  <c:v>99.03235887580001</c:v>
                </c:pt>
                <c:pt idx="6">
                  <c:v>101.67425338273799</c:v>
                </c:pt>
                <c:pt idx="7">
                  <c:v>104.22173497714977</c:v>
                </c:pt>
                <c:pt idx="8">
                  <c:v>106.68033988622803</c:v>
                </c:pt>
                <c:pt idx="9">
                  <c:v>109.05492261615876</c:v>
                </c:pt>
                <c:pt idx="10">
                  <c:v>107.77618612409402</c:v>
                </c:pt>
                <c:pt idx="11">
                  <c:v>106.13403961351442</c:v>
                </c:pt>
                <c:pt idx="12">
                  <c:v>104.53302843667905</c:v>
                </c:pt>
                <c:pt idx="13">
                  <c:v>102.9753072722241</c:v>
                </c:pt>
                <c:pt idx="14">
                  <c:v>101.46343305036017</c:v>
                </c:pt>
                <c:pt idx="15">
                  <c:v>100.0</c:v>
                </c:pt>
                <c:pt idx="16">
                  <c:v>98.5872256655022</c:v>
                </c:pt>
                <c:pt idx="17">
                  <c:v>97.2266432908071</c:v>
                </c:pt>
                <c:pt idx="18">
                  <c:v>95.91897056752902</c:v>
                </c:pt>
                <c:pt idx="19">
                  <c:v>94.66414388035169</c:v>
                </c:pt>
                <c:pt idx="20">
                  <c:v>94.59166783715595</c:v>
                </c:pt>
                <c:pt idx="21">
                  <c:v>94.60824927543923</c:v>
                </c:pt>
                <c:pt idx="22">
                  <c:v>94.58792773242828</c:v>
                </c:pt>
                <c:pt idx="23">
                  <c:v>94.5347329474498</c:v>
                </c:pt>
                <c:pt idx="24">
                  <c:v>94.45233451902726</c:v>
                </c:pt>
                <c:pt idx="25">
                  <c:v>94.34407333359803</c:v>
                </c:pt>
                <c:pt idx="26">
                  <c:v>94.21299021724408</c:v>
                </c:pt>
                <c:pt idx="27">
                  <c:v>94.06185143235957</c:v>
                </c:pt>
                <c:pt idx="28">
                  <c:v>93.89317095301774</c:v>
                </c:pt>
                <c:pt idx="29">
                  <c:v>93.7092297264018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E$2:$E$31</c:f>
              <c:numCache>
                <c:formatCode>General</c:formatCode>
                <c:ptCount val="30"/>
                <c:pt idx="0">
                  <c:v>0.20553917116687098</c:v>
                </c:pt>
                <c:pt idx="1">
                  <c:v>0.21660408521747174</c:v>
                </c:pt>
                <c:pt idx="2">
                  <c:v>0.2273650181128359</c:v>
                </c:pt>
                <c:pt idx="3">
                  <c:v>0.23783432681049413</c:v>
                </c:pt>
                <c:pt idx="4">
                  <c:v>0.24802370746810778</c:v>
                </c:pt>
                <c:pt idx="5">
                  <c:v>0.25794423903185304</c:v>
                </c:pt>
                <c:pt idx="6">
                  <c:v>0.26760642341945917</c:v>
                </c:pt>
                <c:pt idx="7">
                  <c:v>0.27702022260429904</c:v>
                </c:pt>
                <c:pt idx="8">
                  <c:v>0.286195092875818</c:v>
                </c:pt>
                <c:pt idx="9">
                  <c:v>0.29514001652399097</c:v>
                </c:pt>
                <c:pt idx="10">
                  <c:v>0.30386353117097115</c:v>
                </c:pt>
                <c:pt idx="11">
                  <c:v>0.31237375695127706</c:v>
                </c:pt>
                <c:pt idx="12">
                  <c:v>0.320678421722397</c:v>
                </c:pt>
                <c:pt idx="13">
                  <c:v>0.32878488447033966</c:v>
                </c:pt>
                <c:pt idx="14">
                  <c:v>0.3367001570591328</c:v>
                </c:pt>
                <c:pt idx="15">
                  <c:v>0.344430924459376</c:v>
                </c:pt>
                <c:pt idx="16">
                  <c:v>0.3519835635785077</c:v>
                </c:pt>
                <c:pt idx="17">
                  <c:v>0.359364160804265</c:v>
                </c:pt>
                <c:pt idx="18">
                  <c:v>0.36657852836277555</c:v>
                </c:pt>
                <c:pt idx="19">
                  <c:v>0.3736322195836802</c:v>
                </c:pt>
                <c:pt idx="20">
                  <c:v>0.38053054315654694</c:v>
                </c:pt>
                <c:pt idx="21">
                  <c:v>0.38727857645549524</c:v>
                </c:pt>
                <c:pt idx="22">
                  <c:v>0.3938811780023111</c:v>
                </c:pt>
                <c:pt idx="23">
                  <c:v>0.4003429991323504</c:v>
                </c:pt>
                <c:pt idx="24">
                  <c:v>0.4066684949220935</c:v>
                </c:pt>
                <c:pt idx="25">
                  <c:v>0.41286193443230135</c:v>
                </c:pt>
                <c:pt idx="26">
                  <c:v>0.41892741031626524</c:v>
                </c:pt>
                <c:pt idx="27">
                  <c:v>0.4248688478385937</c:v>
                </c:pt>
                <c:pt idx="28">
                  <c:v>0.43069001334630025</c:v>
                </c:pt>
                <c:pt idx="29">
                  <c:v>0.43639452223060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French Bloom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Demoiselle (3.5%)</c:v>
                </c:pt>
                <c:pt idx="3">
                  <c:v>Bottega (3.7%)</c:v>
                </c:pt>
                <c:pt idx="4">
                  <c:v>Carlo V (5.4%)</c:v>
                </c:pt>
                <c:pt idx="5">
                  <c:v>Malard (6.0%)</c:v>
                </c:pt>
                <c:pt idx="6">
                  <c:v>Patriarche (2.6%)</c:v>
                </c:pt>
                <c:pt idx="7">
                  <c:v>Nicolas Feuillatte (4.5%)</c:v>
                </c:pt>
                <c:pt idx="8">
                  <c:v>Laurent Perrier (3.9%)</c:v>
                </c:pt>
                <c:pt idx="9">
                  <c:v>Deutz (4.8%)</c:v>
                </c:pt>
              </c:strCache>
            </c:strRef>
          </c:cat>
          <c:val>
            <c:numRef>
              <c:f>Sheet1!$B$2:$B$11</c:f>
              <c:numCache>
                <c:formatCode>General</c:formatCode>
                <c:ptCount val="10"/>
                <c:pt idx="0">
                  <c:v>0.15135344019018798</c:v>
                </c:pt>
                <c:pt idx="1">
                  <c:v>0.11725208458802537</c:v>
                </c:pt>
                <c:pt idx="2">
                  <c:v>0.07071601603231127</c:v>
                </c:pt>
                <c:pt idx="3">
                  <c:v>0.056026345207909604</c:v>
                </c:pt>
                <c:pt idx="4">
                  <c:v>0.04975137763601242</c:v>
                </c:pt>
                <c:pt idx="5">
                  <c:v>0.04625098507038316</c:v>
                </c:pt>
                <c:pt idx="6">
                  <c:v>0.04421370511785439</c:v>
                </c:pt>
                <c:pt idx="7">
                  <c:v>0.03842255139946287</c:v>
                </c:pt>
                <c:pt idx="8">
                  <c:v>0.029576622384475008</c:v>
                </c:pt>
                <c:pt idx="9">
                  <c:v>0.0294739237407233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205.50001966046142</c:v>
                </c:pt>
                <c:pt idx="1">
                  <c:v>193.66019264629205</c:v>
                </c:pt>
                <c:pt idx="2">
                  <c:v>182.92473910459344</c:v>
                </c:pt>
                <c:pt idx="3">
                  <c:v>173.17307331885556</c:v>
                </c:pt>
                <c:pt idx="4">
                  <c:v>164.2947725737347</c:v>
                </c:pt>
                <c:pt idx="5">
                  <c:v>156.19080570613676</c:v>
                </c:pt>
                <c:pt idx="6">
                  <c:v>148.77366205679775</c:v>
                </c:pt>
                <c:pt idx="7">
                  <c:v>141.9667413255716</c:v>
                </c:pt>
                <c:pt idx="8">
                  <c:v>135.7033472115042</c:v>
                </c:pt>
                <c:pt idx="9">
                  <c:v>129.92553267746968</c:v>
                </c:pt>
                <c:pt idx="10">
                  <c:v>126.1633523521741</c:v>
                </c:pt>
                <c:pt idx="11">
                  <c:v>122.74149180909559</c:v>
                </c:pt>
                <c:pt idx="12">
                  <c:v>119.46365076345356</c:v>
                </c:pt>
                <c:pt idx="13">
                  <c:v>116.3226702771087</c:v>
                </c:pt>
                <c:pt idx="14">
                  <c:v>113.31182229285939</c:v>
                </c:pt>
                <c:pt idx="15">
                  <c:v>110.42477327094744</c:v>
                </c:pt>
                <c:pt idx="16">
                  <c:v>107.65555195634109</c:v>
                </c:pt>
                <c:pt idx="17">
                  <c:v>104.99852087730062</c:v>
                </c:pt>
                <c:pt idx="18">
                  <c:v>102.4483511306565</c:v>
                </c:pt>
                <c:pt idx="19">
                  <c:v>100.0</c:v>
                </c:pt>
                <c:pt idx="20">
                  <c:v>95.63402153975538</c:v>
                </c:pt>
                <c:pt idx="21">
                  <c:v>91.32269040268724</c:v>
                </c:pt>
                <c:pt idx="22">
                  <c:v>87.28321197569251</c:v>
                </c:pt>
                <c:pt idx="23">
                  <c:v>83.49846059120989</c:v>
                </c:pt>
                <c:pt idx="24">
                  <c:v>79.95148326604571</c:v>
                </c:pt>
                <c:pt idx="25">
                  <c:v>76.62583816681241</c:v>
                </c:pt>
                <c:pt idx="26">
                  <c:v>73.50582615189042</c:v>
                </c:pt>
                <c:pt idx="27">
                  <c:v>70.5766415983398</c:v>
                </c:pt>
                <c:pt idx="28">
                  <c:v>67.82446146994195</c:v>
                </c:pt>
                <c:pt idx="29">
                  <c:v>65.23648273450152</c:v>
                </c:pt>
                <c:pt idx="30">
                  <c:v>63.917882628056034</c:v>
                </c:pt>
                <c:pt idx="31">
                  <c:v>62.763119716362546</c:v>
                </c:pt>
                <c:pt idx="32">
                  <c:v>61.640911607622826</c:v>
                </c:pt>
                <c:pt idx="33">
                  <c:v>60.54983654536515</c:v>
                </c:pt>
                <c:pt idx="34">
                  <c:v>59.48856392130646</c:v>
                </c:pt>
                <c:pt idx="35">
                  <c:v>58.45585105986196</c:v>
                </c:pt>
                <c:pt idx="36">
                  <c:v>57.45053877762179</c:v>
                </c:pt>
                <c:pt idx="37">
                  <c:v>56.471546113242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66.5281904226372</c:v>
                </c:pt>
                <c:pt idx="1">
                  <c:v>158.88300947770452</c:v>
                </c:pt>
                <c:pt idx="2">
                  <c:v>151.9151790153838</c:v>
                </c:pt>
                <c:pt idx="3">
                  <c:v>145.5569832539955</c:v>
                </c:pt>
                <c:pt idx="4">
                  <c:v>139.7444969393056</c:v>
                </c:pt>
                <c:pt idx="5">
                  <c:v>134.4191227644862</c:v>
                </c:pt>
                <c:pt idx="6">
                  <c:v>129.52826348198408</c:v>
                </c:pt>
                <c:pt idx="7">
                  <c:v>125.02536213813478</c:v>
                </c:pt>
                <c:pt idx="8">
                  <c:v>120.86955850863986</c:v>
                </c:pt>
                <c:pt idx="9">
                  <c:v>117.02515360050295</c:v>
                </c:pt>
                <c:pt idx="10">
                  <c:v>114.88850920262914</c:v>
                </c:pt>
                <c:pt idx="11">
                  <c:v>112.98963863251717</c:v>
                </c:pt>
                <c:pt idx="12">
                  <c:v>111.15734604740342</c:v>
                </c:pt>
                <c:pt idx="13">
                  <c:v>109.38912699240268</c:v>
                </c:pt>
                <c:pt idx="14">
                  <c:v>107.68260801203233</c:v>
                </c:pt>
                <c:pt idx="15">
                  <c:v>106.03553263044994</c:v>
                </c:pt>
                <c:pt idx="16">
                  <c:v>104.4457492098203</c:v>
                </c:pt>
                <c:pt idx="17">
                  <c:v>102.91120057903291</c:v>
                </c:pt>
                <c:pt idx="18">
                  <c:v>101.42991525061032</c:v>
                </c:pt>
                <c:pt idx="19">
                  <c:v>100.0</c:v>
                </c:pt>
                <c:pt idx="20">
                  <c:v>96.59188060535755</c:v>
                </c:pt>
                <c:pt idx="21">
                  <c:v>93.1533185762308</c:v>
                </c:pt>
                <c:pt idx="22">
                  <c:v>89.90874779015176</c:v>
                </c:pt>
                <c:pt idx="23">
                  <c:v>86.84840417646345</c:v>
                </c:pt>
                <c:pt idx="24">
                  <c:v>83.96204686868896</c:v>
                </c:pt>
                <c:pt idx="25">
                  <c:v>81.23932102411312</c:v>
                </c:pt>
                <c:pt idx="26">
                  <c:v>78.67002689119133</c:v>
                </c:pt>
                <c:pt idx="27">
                  <c:v>76.24431594346022</c:v>
                </c:pt>
                <c:pt idx="28">
                  <c:v>73.95282915467111</c:v>
                </c:pt>
                <c:pt idx="29">
                  <c:v>71.78678431017414</c:v>
                </c:pt>
                <c:pt idx="30">
                  <c:v>70.97177008414758</c:v>
                </c:pt>
                <c:pt idx="31">
                  <c:v>70.31349327421384</c:v>
                </c:pt>
                <c:pt idx="32">
                  <c:v>69.66919863973646</c:v>
                </c:pt>
                <c:pt idx="33">
                  <c:v>69.03822350005284</c:v>
                </c:pt>
                <c:pt idx="34">
                  <c:v>68.41995451839848</c:v>
                </c:pt>
                <c:pt idx="35">
                  <c:v>67.81382838875561</c:v>
                </c:pt>
                <c:pt idx="36">
                  <c:v>67.2193309108991</c:v>
                </c:pt>
                <c:pt idx="37">
                  <c:v>66.6359948345380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2.2514359334461</c:v>
                </c:pt>
                <c:pt idx="1">
                  <c:v>92.55343685718218</c:v>
                </c:pt>
                <c:pt idx="2">
                  <c:v>92.72844865634654</c:v>
                </c:pt>
                <c:pt idx="3">
                  <c:v>92.80794214509608</c:v>
                </c:pt>
                <c:pt idx="4">
                  <c:v>92.81513935186668</c:v>
                </c:pt>
                <c:pt idx="5">
                  <c:v>92.76721706948258</c:v>
                </c:pt>
                <c:pt idx="6">
                  <c:v>92.67703922295041</c:v>
                </c:pt>
                <c:pt idx="7">
                  <c:v>92.55442982867874</c:v>
                </c:pt>
                <c:pt idx="8">
                  <c:v>92.40706996918634</c:v>
                </c:pt>
                <c:pt idx="9">
                  <c:v>92.2411142935417</c:v>
                </c:pt>
                <c:pt idx="10">
                  <c:v>93.22946159873298</c:v>
                </c:pt>
                <c:pt idx="11">
                  <c:v>94.2609206075368</c:v>
                </c:pt>
                <c:pt idx="12">
                  <c:v>95.20865890013755</c:v>
                </c:pt>
                <c:pt idx="13">
                  <c:v>96.07929508861463</c:v>
                </c:pt>
                <c:pt idx="14">
                  <c:v>96.87898560890446</c:v>
                </c:pt>
                <c:pt idx="15">
                  <c:v>97.61345506385459</c:v>
                </c:pt>
                <c:pt idx="16">
                  <c:v>98.28802400935972</c:v>
                </c:pt>
                <c:pt idx="17">
                  <c:v>98.90763464594484</c:v>
                </c:pt>
                <c:pt idx="18">
                  <c:v>99.47687474168903</c:v>
                </c:pt>
                <c:pt idx="19">
                  <c:v>100.0</c:v>
                </c:pt>
                <c:pt idx="20">
                  <c:v>98.40785082886686</c:v>
                </c:pt>
                <c:pt idx="21">
                  <c:v>96.62025186294909</c:v>
                </c:pt>
                <c:pt idx="22">
                  <c:v>94.87806344992184</c:v>
                </c:pt>
                <c:pt idx="23">
                  <c:v>93.18582798848429</c:v>
                </c:pt>
                <c:pt idx="24">
                  <c:v>91.5462987104151</c:v>
                </c:pt>
                <c:pt idx="25">
                  <c:v>89.96086209162733</c:v>
                </c:pt>
                <c:pt idx="26">
                  <c:v>88.42989053320292</c:v>
                </c:pt>
                <c:pt idx="27">
                  <c:v>86.953035893227</c:v>
                </c:pt>
                <c:pt idx="28">
                  <c:v>85.52947138618757</c:v>
                </c:pt>
                <c:pt idx="29">
                  <c:v>84.158082350842</c:v>
                </c:pt>
                <c:pt idx="30">
                  <c:v>84.31094163413218</c:v>
                </c:pt>
                <c:pt idx="31">
                  <c:v>84.6081715431813</c:v>
                </c:pt>
                <c:pt idx="32">
                  <c:v>84.88324443577633</c:v>
                </c:pt>
                <c:pt idx="33">
                  <c:v>85.13699395010478</c:v>
                </c:pt>
                <c:pt idx="34">
                  <c:v>85.37021957825841</c:v>
                </c:pt>
                <c:pt idx="35">
                  <c:v>85.58369517711502</c:v>
                </c:pt>
                <c:pt idx="36">
                  <c:v>85.77817509056327</c:v>
                </c:pt>
                <c:pt idx="37">
                  <c:v>85.954398236256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1915501937309615</c:v>
                </c:pt>
                <c:pt idx="1">
                  <c:v>0.20143344319635323</c:v>
                </c:pt>
                <c:pt idx="2">
                  <c:v>0.2110779668292474</c:v>
                </c:pt>
                <c:pt idx="3">
                  <c:v>0.22049231090049753</c:v>
                </c:pt>
                <c:pt idx="4">
                  <c:v>0.22968461855497277</c:v>
                </c:pt>
                <c:pt idx="5">
                  <c:v>0.23866265330374942</c:v>
                </c:pt>
                <c:pt idx="6">
                  <c:v>0.24743382089241575</c:v>
                </c:pt>
                <c:pt idx="7">
                  <c:v>0.25600518967496233</c:v>
                </c:pt>
                <c:pt idx="8">
                  <c:v>0.26438350961105495</c:v>
                </c:pt>
                <c:pt idx="9">
                  <c:v>0.2725752299940055</c:v>
                </c:pt>
                <c:pt idx="10">
                  <c:v>0.2805865160072873</c:v>
                </c:pt>
                <c:pt idx="11">
                  <c:v>0.2884232641989291</c:v>
                </c:pt>
                <c:pt idx="12">
                  <c:v>0.29609111695540613</c:v>
                </c:pt>
                <c:pt idx="13">
                  <c:v>0.3035954760496982</c:v>
                </c:pt>
                <c:pt idx="14">
                  <c:v>0.31094151533187436</c:v>
                </c:pt>
                <c:pt idx="15">
                  <c:v>0.31813419262486115</c:v>
                </c:pt>
                <c:pt idx="16">
                  <c:v>0.32517826088286866</c:v>
                </c:pt>
                <c:pt idx="17">
                  <c:v>0.33207827866525247</c:v>
                </c:pt>
                <c:pt idx="18">
                  <c:v>0.33883861997430853</c:v>
                </c:pt>
                <c:pt idx="19">
                  <c:v>0.34546348350162015</c:v>
                </c:pt>
                <c:pt idx="20">
                  <c:v>0.3519569013240247</c:v>
                </c:pt>
                <c:pt idx="21">
                  <c:v>0.3583227470870501</c:v>
                </c:pt>
                <c:pt idx="22">
                  <c:v>0.36456474371071673</c:v>
                </c:pt>
                <c:pt idx="23">
                  <c:v>0.3706864706499199</c:v>
                </c:pt>
                <c:pt idx="24">
                  <c:v>0.37669137073913833</c:v>
                </c:pt>
                <c:pt idx="25">
                  <c:v>0.38258275664897623</c:v>
                </c:pt>
                <c:pt idx="26">
                  <c:v>0.3883638169799783</c:v>
                </c:pt>
                <c:pt idx="27">
                  <c:v>0.3940376220172699</c:v>
                </c:pt>
                <c:pt idx="28">
                  <c:v>0.39960712916784635</c:v>
                </c:pt>
                <c:pt idx="29">
                  <c:v>0.40507518810074394</c:v>
                </c:pt>
                <c:pt idx="30">
                  <c:v>0.41044454560886</c:v>
                </c:pt>
                <c:pt idx="31">
                  <c:v>0.4157178502098541</c:v>
                </c:pt>
                <c:pt idx="32">
                  <c:v>0.42089765650231986</c:v>
                </c:pt>
                <c:pt idx="33">
                  <c:v>0.425986429292282</c:v>
                </c:pt>
                <c:pt idx="34">
                  <c:v>0.4309865475040216</c:v>
                </c:pt>
                <c:pt idx="35">
                  <c:v>0.4359003078882701</c:v>
                </c:pt>
                <c:pt idx="36">
                  <c:v>0.44072992853991166</c:v>
                </c:pt>
                <c:pt idx="37">
                  <c:v>0.445477552236516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4.8244328950663</c:v>
                </c:pt>
                <c:pt idx="1">
                  <c:v>157.33952813779672</c:v>
                </c:pt>
                <c:pt idx="2">
                  <c:v>150.57133210963934</c:v>
                </c:pt>
                <c:pt idx="3">
                  <c:v>144.42555556022106</c:v>
                </c:pt>
                <c:pt idx="4">
                  <c:v>138.8225830450173</c:v>
                </c:pt>
                <c:pt idx="5">
                  <c:v>133.69496882746282</c:v>
                </c:pt>
                <c:pt idx="6">
                  <c:v>128.98537814582141</c:v>
                </c:pt>
                <c:pt idx="7">
                  <c:v>124.64489759508615</c:v>
                </c:pt>
                <c:pt idx="8">
                  <c:v>120.63164666433104</c:v>
                </c:pt>
                <c:pt idx="9">
                  <c:v>116.9096339082967</c:v>
                </c:pt>
                <c:pt idx="10">
                  <c:v>114.76099375144987</c:v>
                </c:pt>
                <c:pt idx="11">
                  <c:v>112.84947511149686</c:v>
                </c:pt>
                <c:pt idx="12">
                  <c:v>111.01581588474065</c:v>
                </c:pt>
                <c:pt idx="13">
                  <c:v>109.25521883899978</c:v>
                </c:pt>
                <c:pt idx="14">
                  <c:v>107.5632544603276</c:v>
                </c:pt>
                <c:pt idx="15">
                  <c:v>105.93583074507058</c:v>
                </c:pt>
                <c:pt idx="16">
                  <c:v>104.36916510353052</c:v>
                </c:pt>
                <c:pt idx="17">
                  <c:v>102.85975835527354</c:v>
                </c:pt>
                <c:pt idx="18">
                  <c:v>101.40437075983964</c:v>
                </c:pt>
                <c:pt idx="19">
                  <c:v>100.0</c:v>
                </c:pt>
                <c:pt idx="20">
                  <c:v>96.884828774485</c:v>
                </c:pt>
                <c:pt idx="21">
                  <c:v>93.75512930907244</c:v>
                </c:pt>
                <c:pt idx="22">
                  <c:v>90.79844482620656</c:v>
                </c:pt>
                <c:pt idx="23">
                  <c:v>88.00116008782808</c:v>
                </c:pt>
                <c:pt idx="24">
                  <c:v>85.35124578847648</c:v>
                </c:pt>
                <c:pt idx="25">
                  <c:v>82.8379990601696</c:v>
                </c:pt>
                <c:pt idx="26">
                  <c:v>80.45182811853263</c:v>
                </c:pt>
                <c:pt idx="27">
                  <c:v>78.18407588128512</c:v>
                </c:pt>
                <c:pt idx="28">
                  <c:v>76.02687718316842</c:v>
                </c:pt>
                <c:pt idx="29">
                  <c:v>73.97304428679732</c:v>
                </c:pt>
                <c:pt idx="30">
                  <c:v>72.81663643732716</c:v>
                </c:pt>
                <c:pt idx="31">
                  <c:v>71.77615939029066</c:v>
                </c:pt>
                <c:pt idx="32">
                  <c:v>70.75841424220182</c:v>
                </c:pt>
                <c:pt idx="33">
                  <c:v>69.76272605768227</c:v>
                </c:pt>
                <c:pt idx="34">
                  <c:v>68.78845178576597</c:v>
                </c:pt>
                <c:pt idx="35">
                  <c:v>67.83497772588308</c:v>
                </c:pt>
                <c:pt idx="36">
                  <c:v>66.9017172432541</c:v>
                </c:pt>
                <c:pt idx="37">
                  <c:v>65.988108708841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33.73063425414713</c:v>
                </c:pt>
                <c:pt idx="1">
                  <c:v>129.21981606632892</c:v>
                </c:pt>
                <c:pt idx="2">
                  <c:v>125.15646170607614</c:v>
                </c:pt>
                <c:pt idx="3">
                  <c:v>121.4825256012083</c:v>
                </c:pt>
                <c:pt idx="4">
                  <c:v>118.14872526822585</c:v>
                </c:pt>
                <c:pt idx="5">
                  <c:v>115.11310880113037</c:v>
                </c:pt>
                <c:pt idx="6">
                  <c:v>112.33986245817658</c:v>
                </c:pt>
                <c:pt idx="7">
                  <c:v>109.79832170291101</c:v>
                </c:pt>
                <c:pt idx="8">
                  <c:v>107.46215053272465</c:v>
                </c:pt>
                <c:pt idx="9">
                  <c:v>105.30865892567806</c:v>
                </c:pt>
                <c:pt idx="10">
                  <c:v>104.51201610111134</c:v>
                </c:pt>
                <c:pt idx="11">
                  <c:v>103.89085855547063</c:v>
                </c:pt>
                <c:pt idx="12">
                  <c:v>103.30427504166302</c:v>
                </c:pt>
                <c:pt idx="13">
                  <c:v>102.7500617676126</c:v>
                </c:pt>
                <c:pt idx="14">
                  <c:v>102.22617530968346</c:v>
                </c:pt>
                <c:pt idx="15">
                  <c:v>101.7307216728805</c:v>
                </c:pt>
                <c:pt idx="16">
                  <c:v>101.26194562556572</c:v>
                </c:pt>
                <c:pt idx="17">
                  <c:v>100.81822043251489</c:v>
                </c:pt>
                <c:pt idx="18">
                  <c:v>100.39803807301482</c:v>
                </c:pt>
                <c:pt idx="19">
                  <c:v>100.0</c:v>
                </c:pt>
                <c:pt idx="20">
                  <c:v>97.84717454950254</c:v>
                </c:pt>
                <c:pt idx="21">
                  <c:v>95.61808129988285</c:v>
                </c:pt>
                <c:pt idx="22">
                  <c:v>93.50527962311256</c:v>
                </c:pt>
                <c:pt idx="23">
                  <c:v>91.49971728738961</c:v>
                </c:pt>
                <c:pt idx="24">
                  <c:v>89.59347363065584</c:v>
                </c:pt>
                <c:pt idx="25">
                  <c:v>87.77956210828819</c:v>
                </c:pt>
                <c:pt idx="26">
                  <c:v>86.05176483807257</c:v>
                </c:pt>
                <c:pt idx="27">
                  <c:v>84.4044965673723</c:v>
                </c:pt>
                <c:pt idx="28">
                  <c:v>82.83269486857144</c:v>
                </c:pt>
                <c:pt idx="29">
                  <c:v>81.3317330379666</c:v>
                </c:pt>
                <c:pt idx="30">
                  <c:v>80.78385334206055</c:v>
                </c:pt>
                <c:pt idx="31">
                  <c:v>80.34263691722116</c:v>
                </c:pt>
                <c:pt idx="32">
                  <c:v>79.90648481120105</c:v>
                </c:pt>
                <c:pt idx="33">
                  <c:v>79.47530167750038</c:v>
                </c:pt>
                <c:pt idx="34">
                  <c:v>79.04900219115324</c:v>
                </c:pt>
                <c:pt idx="35">
                  <c:v>78.62750968221664</c:v>
                </c:pt>
                <c:pt idx="36">
                  <c:v>78.21075491120946</c:v>
                </c:pt>
                <c:pt idx="37">
                  <c:v>77.798674974343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59.12113832308607</c:v>
                </c:pt>
                <c:pt idx="1">
                  <c:v>61.74705866428935</c:v>
                </c:pt>
                <c:pt idx="2">
                  <c:v>64.17316155710179</c:v>
                </c:pt>
                <c:pt idx="3">
                  <c:v>66.42865195246772</c:v>
                </c:pt>
                <c:pt idx="4">
                  <c:v>68.53724910813276</c:v>
                </c:pt>
                <c:pt idx="5">
                  <c:v>70.51834221505557</c:v>
                </c:pt>
                <c:pt idx="6">
                  <c:v>72.3878888409825</c:v>
                </c:pt>
                <c:pt idx="7">
                  <c:v>74.15911605241887</c:v>
                </c:pt>
                <c:pt idx="8">
                  <c:v>75.84306869907664</c:v>
                </c:pt>
                <c:pt idx="9">
                  <c:v>77.44903857168667</c:v>
                </c:pt>
                <c:pt idx="10">
                  <c:v>79.89916684191714</c:v>
                </c:pt>
                <c:pt idx="11">
                  <c:v>82.37734156728193</c:v>
                </c:pt>
                <c:pt idx="12">
                  <c:v>84.7859404835456</c:v>
                </c:pt>
                <c:pt idx="13">
                  <c:v>87.1290218701497</c:v>
                </c:pt>
                <c:pt idx="14">
                  <c:v>89.41030198133353</c:v>
                </c:pt>
                <c:pt idx="15">
                  <c:v>91.63319097474049</c:v>
                </c:pt>
                <c:pt idx="16">
                  <c:v>93.80082462014286</c:v>
                </c:pt>
                <c:pt idx="17">
                  <c:v>95.91609226858871</c:v>
                </c:pt>
                <c:pt idx="18">
                  <c:v>97.981661521817</c:v>
                </c:pt>
                <c:pt idx="19">
                  <c:v>100.0</c:v>
                </c:pt>
                <c:pt idx="20">
                  <c:v>100.15498957708022</c:v>
                </c:pt>
                <c:pt idx="21">
                  <c:v>100.0841769584712</c:v>
                </c:pt>
                <c:pt idx="22">
                  <c:v>99.99262472918413</c:v>
                </c:pt>
                <c:pt idx="23">
                  <c:v>99.88239878917209</c:v>
                </c:pt>
                <c:pt idx="24">
                  <c:v>99.75558039693333</c:v>
                </c:pt>
                <c:pt idx="25">
                  <c:v>99.61422177234685</c:v>
                </c:pt>
                <c:pt idx="26">
                  <c:v>99.46030371752637</c:v>
                </c:pt>
                <c:pt idx="27">
                  <c:v>99.29569912039791</c:v>
                </c:pt>
                <c:pt idx="28">
                  <c:v>99.12214454005675</c:v>
                </c:pt>
                <c:pt idx="29">
                  <c:v>98.94122072218077</c:v>
                </c:pt>
                <c:pt idx="30">
                  <c:v>99.85227499837436</c:v>
                </c:pt>
                <c:pt idx="31">
                  <c:v>100.84815168893675</c:v>
                </c:pt>
                <c:pt idx="32">
                  <c:v>101.80649620985636</c:v>
                </c:pt>
                <c:pt idx="33">
                  <c:v>102.72861650414838</c:v>
                </c:pt>
                <c:pt idx="34">
                  <c:v>103.61577741761947</c:v>
                </c:pt>
                <c:pt idx="35">
                  <c:v>104.46920217734213</c:v>
                </c:pt>
                <c:pt idx="36">
                  <c:v>105.29007374946764</c:v>
                </c:pt>
                <c:pt idx="37">
                  <c:v>106.079536095352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13152142446738954</c:v>
                </c:pt>
                <c:pt idx="1">
                  <c:v>0.1421385219677883</c:v>
                </c:pt>
                <c:pt idx="2">
                  <c:v>0.15249916783774267</c:v>
                </c:pt>
                <c:pt idx="3">
                  <c:v>0.16261254292321115</c:v>
                </c:pt>
                <c:pt idx="4">
                  <c:v>0.17248739501138072</c:v>
                </c:pt>
                <c:pt idx="5">
                  <c:v>0.18213206406719215</c:v>
                </c:pt>
                <c:pt idx="6">
                  <c:v>0.19155450572540406</c:v>
                </c:pt>
                <c:pt idx="7">
                  <c:v>0.20076231317727886</c:v>
                </c:pt>
                <c:pt idx="8">
                  <c:v>0.20976273757843578</c:v>
                </c:pt>
                <c:pt idx="9">
                  <c:v>0.21856270709315248</c:v>
                </c:pt>
                <c:pt idx="10">
                  <c:v>0.22716884468023224</c:v>
                </c:pt>
                <c:pt idx="11">
                  <c:v>0.23558748471639535</c:v>
                </c:pt>
                <c:pt idx="12">
                  <c:v>0.2438246885448824</c:v>
                </c:pt>
                <c:pt idx="13">
                  <c:v>0.25188625902947853</c:v>
                </c:pt>
                <c:pt idx="14">
                  <c:v>0.2597777541873955</c:v>
                </c:pt>
                <c:pt idx="15">
                  <c:v>0.2675044999683204</c:v>
                </c:pt>
                <c:pt idx="16">
                  <c:v>0.27507160224137495</c:v>
                </c:pt>
                <c:pt idx="17">
                  <c:v>0.2824839580466779</c:v>
                </c:pt>
                <c:pt idx="18">
                  <c:v>0.28974626616361404</c:v>
                </c:pt>
                <c:pt idx="19">
                  <c:v>0.29686303704373834</c:v>
                </c:pt>
                <c:pt idx="20">
                  <c:v>0.3038386021524314</c:v>
                </c:pt>
                <c:pt idx="21">
                  <c:v>0.3106771227599715</c:v>
                </c:pt>
                <c:pt idx="22">
                  <c:v>0.31738259821950465</c:v>
                </c:pt>
                <c:pt idx="23">
                  <c:v>0.323958873766523</c:v>
                </c:pt>
                <c:pt idx="24">
                  <c:v>0.33040964787180427</c:v>
                </c:pt>
                <c:pt idx="25">
                  <c:v>0.3367384791773637</c:v>
                </c:pt>
                <c:pt idx="26">
                  <c:v>0.3429487930427443</c:v>
                </c:pt>
                <c:pt idx="27">
                  <c:v>0.34904388772694883</c:v>
                </c:pt>
                <c:pt idx="28">
                  <c:v>0.3550269402294586</c:v>
                </c:pt>
                <c:pt idx="29">
                  <c:v>0.36090101181206824</c:v>
                </c:pt>
                <c:pt idx="30">
                  <c:v>0.36666905322170645</c:v>
                </c:pt>
                <c:pt idx="31">
                  <c:v>0.37233390963296137</c:v>
                </c:pt>
                <c:pt idx="32">
                  <c:v>0.3778983253277047</c:v>
                </c:pt>
                <c:pt idx="33">
                  <c:v>0.38336494812798855</c:v>
                </c:pt>
                <c:pt idx="34">
                  <c:v>0.38873633359725684</c:v>
                </c:pt>
                <c:pt idx="35">
                  <c:v>0.3940149490238782</c:v>
                </c:pt>
                <c:pt idx="36">
                  <c:v>0.3992031772000436</c:v>
                </c:pt>
                <c:pt idx="37">
                  <c:v>0.404303320008192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B$2:$B$33</c:f>
              <c:numCache>
                <c:formatCode>General</c:formatCode>
                <c:ptCount val="32"/>
                <c:pt idx="0">
                  <c:v>237.58021944111061</c:v>
                </c:pt>
                <c:pt idx="1">
                  <c:v>227.5062231310818</c:v>
                </c:pt>
                <c:pt idx="2">
                  <c:v>218.22518091536392</c:v>
                </c:pt>
                <c:pt idx="3">
                  <c:v>209.65200724648602</c:v>
                </c:pt>
                <c:pt idx="4">
                  <c:v>201.7094595737545</c:v>
                </c:pt>
                <c:pt idx="5">
                  <c:v>194.32844985659835</c:v>
                </c:pt>
                <c:pt idx="6">
                  <c:v>186.8231233954486</c:v>
                </c:pt>
                <c:pt idx="7">
                  <c:v>174.45537678172113</c:v>
                </c:pt>
                <c:pt idx="8">
                  <c:v>163.0612268856637</c:v>
                </c:pt>
                <c:pt idx="9">
                  <c:v>152.59371827801644</c:v>
                </c:pt>
                <c:pt idx="10">
                  <c:v>142.99969339933324</c:v>
                </c:pt>
                <c:pt idx="11">
                  <c:v>134.2217962681533</c:v>
                </c:pt>
                <c:pt idx="12">
                  <c:v>126.20072939200185</c:v>
                </c:pt>
                <c:pt idx="13">
                  <c:v>118.87725049449796</c:v>
                </c:pt>
                <c:pt idx="14">
                  <c:v>112.19368627730475</c:v>
                </c:pt>
                <c:pt idx="15">
                  <c:v>106.09494675262876</c:v>
                </c:pt>
                <c:pt idx="16">
                  <c:v>100.0</c:v>
                </c:pt>
                <c:pt idx="17">
                  <c:v>90.18286648859808</c:v>
                </c:pt>
                <c:pt idx="18">
                  <c:v>81.70625602545186</c:v>
                </c:pt>
                <c:pt idx="19">
                  <c:v>74.38537299829721</c:v>
                </c:pt>
                <c:pt idx="20">
                  <c:v>68.05524929674543</c:v>
                </c:pt>
                <c:pt idx="21">
                  <c:v>62.570502166500596</c:v>
                </c:pt>
                <c:pt idx="22">
                  <c:v>57.80441950955137</c:v>
                </c:pt>
                <c:pt idx="23">
                  <c:v>53.64762515246354</c:v>
                </c:pt>
                <c:pt idx="24">
                  <c:v>50.00649854529016</c:v>
                </c:pt>
                <c:pt idx="25">
                  <c:v>46.80147465026495</c:v>
                </c:pt>
                <c:pt idx="26">
                  <c:v>44.086692966555596</c:v>
                </c:pt>
                <c:pt idx="27">
                  <c:v>42.66214727977605</c:v>
                </c:pt>
                <c:pt idx="28">
                  <c:v>41.321236418106686</c:v>
                </c:pt>
                <c:pt idx="29">
                  <c:v>40.05718994246345</c:v>
                </c:pt>
                <c:pt idx="30">
                  <c:v>38.86383699854878</c:v>
                </c:pt>
                <c:pt idx="31">
                  <c:v>37.735551493299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C$2:$C$33</c:f>
              <c:numCache>
                <c:formatCode>General</c:formatCode>
                <c:ptCount val="32"/>
                <c:pt idx="0">
                  <c:v>190.28437664113466</c:v>
                </c:pt>
                <c:pt idx="1">
                  <c:v>185.0391202323837</c:v>
                </c:pt>
                <c:pt idx="2">
                  <c:v>180.1993832611396</c:v>
                </c:pt>
                <c:pt idx="3">
                  <c:v>175.72320710691628</c:v>
                </c:pt>
                <c:pt idx="4">
                  <c:v>171.571116796096</c:v>
                </c:pt>
                <c:pt idx="5">
                  <c:v>167.7068686393059</c:v>
                </c:pt>
                <c:pt idx="6">
                  <c:v>163.5509025612561</c:v>
                </c:pt>
                <c:pt idx="7">
                  <c:v>154.89251995408293</c:v>
                </c:pt>
                <c:pt idx="8">
                  <c:v>146.80441042595552</c:v>
                </c:pt>
                <c:pt idx="9">
                  <c:v>139.27965788526149</c:v>
                </c:pt>
                <c:pt idx="10">
                  <c:v>132.30334789383508</c:v>
                </c:pt>
                <c:pt idx="11">
                  <c:v>125.85405206963397</c:v>
                </c:pt>
                <c:pt idx="12">
                  <c:v>119.90570136141861</c:v>
                </c:pt>
                <c:pt idx="13">
                  <c:v>114.42937719114961</c:v>
                </c:pt>
                <c:pt idx="14">
                  <c:v>109.39478142043515</c:v>
                </c:pt>
                <c:pt idx="15">
                  <c:v>104.77132727980378</c:v>
                </c:pt>
                <c:pt idx="16">
                  <c:v>100.0</c:v>
                </c:pt>
                <c:pt idx="17">
                  <c:v>91.30999093266875</c:v>
                </c:pt>
                <c:pt idx="18">
                  <c:v>83.74868716899609</c:v>
                </c:pt>
                <c:pt idx="19">
                  <c:v>77.1745651962808</c:v>
                </c:pt>
                <c:pt idx="20">
                  <c:v>71.45771402490942</c:v>
                </c:pt>
                <c:pt idx="21">
                  <c:v>66.48080331654863</c:v>
                </c:pt>
                <c:pt idx="22">
                  <c:v>62.13931543440251</c:v>
                </c:pt>
                <c:pt idx="23">
                  <c:v>58.341255521962466</c:v>
                </c:pt>
                <c:pt idx="24">
                  <c:v>55.00649356117545</c:v>
                </c:pt>
                <c:pt idx="25">
                  <c:v>52.06585600190859</c:v>
                </c:pt>
                <c:pt idx="26">
                  <c:v>49.59655508214746</c:v>
                </c:pt>
                <c:pt idx="27">
                  <c:v>48.526581207651</c:v>
                </c:pt>
                <c:pt idx="28">
                  <c:v>47.517233206406004</c:v>
                </c:pt>
                <c:pt idx="29">
                  <c:v>46.56376991356524</c:v>
                </c:pt>
                <c:pt idx="30">
                  <c:v>45.661817117105144</c:v>
                </c:pt>
                <c:pt idx="31">
                  <c:v>44.807339785397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D$2:$D$33</c:f>
              <c:numCache>
                <c:formatCode>General</c:formatCode>
                <c:ptCount val="32"/>
                <c:pt idx="0">
                  <c:v>128.3606874062746</c:v>
                </c:pt>
                <c:pt idx="1">
                  <c:v>129.45464468485076</c:v>
                </c:pt>
                <c:pt idx="2">
                  <c:v>130.44369106898932</c:v>
                </c:pt>
                <c:pt idx="3">
                  <c:v>131.34287226215665</c:v>
                </c:pt>
                <c:pt idx="4">
                  <c:v>132.16259399250842</c:v>
                </c:pt>
                <c:pt idx="5">
                  <c:v>132.90996180666235</c:v>
                </c:pt>
                <c:pt idx="6">
                  <c:v>133.14458547218973</c:v>
                </c:pt>
                <c:pt idx="7">
                  <c:v>129.3428743812288</c:v>
                </c:pt>
                <c:pt idx="8">
                  <c:v>125.580263749562</c:v>
                </c:pt>
                <c:pt idx="9">
                  <c:v>121.90316305552523</c:v>
                </c:pt>
                <c:pt idx="10">
                  <c:v>118.34745230955342</c:v>
                </c:pt>
                <c:pt idx="11">
                  <c:v>114.93930690023515</c:v>
                </c:pt>
                <c:pt idx="12">
                  <c:v>111.69659196941426</c:v>
                </c:pt>
                <c:pt idx="13">
                  <c:v>108.63040810758203</c:v>
                </c:pt>
                <c:pt idx="14">
                  <c:v>105.74652606059107</c:v>
                </c:pt>
                <c:pt idx="15">
                  <c:v>103.04659731963459</c:v>
                </c:pt>
                <c:pt idx="16">
                  <c:v>100.0</c:v>
                </c:pt>
                <c:pt idx="17">
                  <c:v>92.7740256186109</c:v>
                </c:pt>
                <c:pt idx="18">
                  <c:v>86.4014696402527</c:v>
                </c:pt>
                <c:pt idx="19">
                  <c:v>80.79715649627417</c:v>
                </c:pt>
                <c:pt idx="20">
                  <c:v>75.87677848190873</c:v>
                </c:pt>
                <c:pt idx="21">
                  <c:v>71.55946726990614</c:v>
                </c:pt>
                <c:pt idx="22">
                  <c:v>67.7695351816866</c:v>
                </c:pt>
                <c:pt idx="23">
                  <c:v>64.4375542588335</c:v>
                </c:pt>
                <c:pt idx="24">
                  <c:v>61.50090321977337</c:v>
                </c:pt>
                <c:pt idx="25">
                  <c:v>58.903891190560806</c:v>
                </c:pt>
                <c:pt idx="26">
                  <c:v>56.75380385361174</c:v>
                </c:pt>
                <c:pt idx="27">
                  <c:v>56.14573439643911</c:v>
                </c:pt>
                <c:pt idx="28">
                  <c:v>55.56827510877436</c:v>
                </c:pt>
                <c:pt idx="29">
                  <c:v>55.01933571676708</c:v>
                </c:pt>
                <c:pt idx="30">
                  <c:v>54.49688859492886</c:v>
                </c:pt>
                <c:pt idx="31">
                  <c:v>53.998976451680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E$2:$E$33</c:f>
              <c:numCache>
                <c:formatCode>General</c:formatCode>
                <c:ptCount val="32"/>
                <c:pt idx="0">
                  <c:v>0.293813489709271</c:v>
                </c:pt>
                <c:pt idx="1">
                  <c:v>0.3046778975598978</c:v>
                </c:pt>
                <c:pt idx="2">
                  <c:v>0.3152130809302022</c:v>
                </c:pt>
                <c:pt idx="3">
                  <c:v>0.325433781214826</c:v>
                </c:pt>
                <c:pt idx="4">
                  <c:v>0.33535387266754935</c:v>
                </c:pt>
                <c:pt idx="5">
                  <c:v>0.34498642523758477</c:v>
                </c:pt>
                <c:pt idx="6">
                  <c:v>0.35434376201990503</c:v>
                </c:pt>
                <c:pt idx="7">
                  <c:v>0.36343751185061046</c:v>
                </c:pt>
                <c:pt idx="8">
                  <c:v>0.3722786575193521</c:v>
                </c:pt>
                <c:pt idx="9">
                  <c:v>0.38087758001908706</c:v>
                </c:pt>
                <c:pt idx="10">
                  <c:v>0.3892440992080184</c:v>
                </c:pt>
                <c:pt idx="11">
                  <c:v>0.3973875112185782</c:v>
                </c:pt>
                <c:pt idx="12">
                  <c:v>0.40531662291307047</c:v>
                </c:pt>
                <c:pt idx="13">
                  <c:v>0.4130397836544591</c:v>
                </c:pt>
                <c:pt idx="14">
                  <c:v>0.4205649146332481</c:v>
                </c:pt>
                <c:pt idx="15">
                  <c:v>0.42789953596700436</c:v>
                </c:pt>
                <c:pt idx="16">
                  <c:v>0.43505079176741696</c:v>
                </c:pt>
                <c:pt idx="17">
                  <c:v>0.44202547335053516</c:v>
                </c:pt>
                <c:pt idx="18">
                  <c:v>0.44883004074869937</c:v>
                </c:pt>
                <c:pt idx="19">
                  <c:v>0.4554706426673898</c:v>
                </c:pt>
                <c:pt idx="20">
                  <c:v>0.4619531350165875</c:v>
                </c:pt>
                <c:pt idx="21">
                  <c:v>0.46828309813403934</c:v>
                </c:pt>
                <c:pt idx="22">
                  <c:v>0.47446585280689935</c:v>
                </c:pt>
                <c:pt idx="23">
                  <c:v>0.4805064751884293</c:v>
                </c:pt>
                <c:pt idx="24">
                  <c:v>0.48640981069765177</c:v>
                </c:pt>
                <c:pt idx="25">
                  <c:v>0.49218048698194783</c:v>
                </c:pt>
                <c:pt idx="26">
                  <c:v>0.49782292601548167</c:v>
                </c:pt>
                <c:pt idx="27">
                  <c:v>0.503341355399927</c:v>
                </c:pt>
                <c:pt idx="28">
                  <c:v>0.5087398189281886</c:v>
                </c:pt>
                <c:pt idx="29">
                  <c:v>0.5140221864665951</c:v>
                </c:pt>
                <c:pt idx="30">
                  <c:v>0.5191921632063123</c:v>
                </c:pt>
                <c:pt idx="31">
                  <c:v>0.52425329833045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222.10829068621175</c:v>
                </c:pt>
                <c:pt idx="1">
                  <c:v>206.9733463247206</c:v>
                </c:pt>
                <c:pt idx="2">
                  <c:v>193.5371474548237</c:v>
                </c:pt>
                <c:pt idx="3">
                  <c:v>181.55839903343028</c:v>
                </c:pt>
                <c:pt idx="4">
                  <c:v>170.8345393134758</c:v>
                </c:pt>
                <c:pt idx="5">
                  <c:v>161.19541514747075</c:v>
                </c:pt>
                <c:pt idx="6">
                  <c:v>152.49781136368034</c:v>
                </c:pt>
                <c:pt idx="7">
                  <c:v>144.62083007328502</c:v>
                </c:pt>
                <c:pt idx="8">
                  <c:v>137.4620480958525</c:v>
                </c:pt>
                <c:pt idx="9">
                  <c:v>130.93435257189384</c:v>
                </c:pt>
                <c:pt idx="10">
                  <c:v>126.86618729698664</c:v>
                </c:pt>
                <c:pt idx="11">
                  <c:v>123.23008614734934</c:v>
                </c:pt>
                <c:pt idx="12">
                  <c:v>119.78442256789121</c:v>
                </c:pt>
                <c:pt idx="13">
                  <c:v>116.5159218687946</c:v>
                </c:pt>
                <c:pt idx="14">
                  <c:v>113.41230895117349</c:v>
                </c:pt>
                <c:pt idx="15">
                  <c:v>110.46224466714509</c:v>
                </c:pt>
                <c:pt idx="16">
                  <c:v>107.65526338696152</c:v>
                </c:pt>
                <c:pt idx="17">
                  <c:v>104.98171213311505</c:v>
                </c:pt>
                <c:pt idx="18">
                  <c:v>102.43269168062268</c:v>
                </c:pt>
                <c:pt idx="19">
                  <c:v>100.0</c:v>
                </c:pt>
                <c:pt idx="20">
                  <c:v>97.02965026814401</c:v>
                </c:pt>
                <c:pt idx="21">
                  <c:v>94.16974101918022</c:v>
                </c:pt>
                <c:pt idx="22">
                  <c:v>91.47925217786069</c:v>
                </c:pt>
                <c:pt idx="23">
                  <c:v>88.94275515879781</c:v>
                </c:pt>
                <c:pt idx="24">
                  <c:v>86.54661863919078</c:v>
                </c:pt>
                <c:pt idx="25">
                  <c:v>84.27877524981899</c:v>
                </c:pt>
                <c:pt idx="26">
                  <c:v>82.12851814153782</c:v>
                </c:pt>
                <c:pt idx="27">
                  <c:v>80.08632440125066</c:v>
                </c:pt>
                <c:pt idx="28">
                  <c:v>78.14370225610591</c:v>
                </c:pt>
                <c:pt idx="29">
                  <c:v>76.29305913252335</c:v>
                </c:pt>
                <c:pt idx="30">
                  <c:v>75.25988022262156</c:v>
                </c:pt>
                <c:pt idx="31">
                  <c:v>74.33098434298996</c:v>
                </c:pt>
                <c:pt idx="32">
                  <c:v>73.4212375063809</c:v>
                </c:pt>
                <c:pt idx="33">
                  <c:v>72.53003137241777</c:v>
                </c:pt>
                <c:pt idx="34">
                  <c:v>71.65678516237782</c:v>
                </c:pt>
                <c:pt idx="35">
                  <c:v>70.80094402944802</c:v>
                </c:pt>
                <c:pt idx="36">
                  <c:v>69.96197754780115</c:v>
                </c:pt>
                <c:pt idx="37">
                  <c:v>69.1393783099436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79.94392041367792</c:v>
                </c:pt>
                <c:pt idx="1">
                  <c:v>169.7556925396462</c:v>
                </c:pt>
                <c:pt idx="2">
                  <c:v>160.6740891429823</c:v>
                </c:pt>
                <c:pt idx="3">
                  <c:v>152.54756713591755</c:v>
                </c:pt>
                <c:pt idx="4">
                  <c:v>145.2478092806384</c:v>
                </c:pt>
                <c:pt idx="5">
                  <c:v>138.66623125344128</c:v>
                </c:pt>
                <c:pt idx="6">
                  <c:v>132.710851052207</c:v>
                </c:pt>
                <c:pt idx="7">
                  <c:v>127.30357657310523</c:v>
                </c:pt>
                <c:pt idx="8">
                  <c:v>122.37790699178663</c:v>
                </c:pt>
                <c:pt idx="9">
                  <c:v>117.87701268091323</c:v>
                </c:pt>
                <c:pt idx="10">
                  <c:v>115.4794275903448</c:v>
                </c:pt>
                <c:pt idx="11">
                  <c:v>113.39798471803468</c:v>
                </c:pt>
                <c:pt idx="12">
                  <c:v>111.421381045919</c:v>
                </c:pt>
                <c:pt idx="13">
                  <c:v>109.54280104715917</c:v>
                </c:pt>
                <c:pt idx="14">
                  <c:v>107.7558542609331</c:v>
                </c:pt>
                <c:pt idx="15">
                  <c:v>106.05456330846017</c:v>
                </c:pt>
                <c:pt idx="16">
                  <c:v>104.43334937484636</c:v>
                </c:pt>
                <c:pt idx="17">
                  <c:v>102.88701558127937</c:v>
                </c:pt>
                <c:pt idx="18">
                  <c:v>101.41072874067005</c:v>
                </c:pt>
                <c:pt idx="19">
                  <c:v>100.0</c:v>
                </c:pt>
                <c:pt idx="20">
                  <c:v>97.99793158579732</c:v>
                </c:pt>
                <c:pt idx="21">
                  <c:v>96.04936550314689</c:v>
                </c:pt>
                <c:pt idx="22">
                  <c:v>94.21831796412641</c:v>
                </c:pt>
                <c:pt idx="23">
                  <c:v>92.49379835137027</c:v>
                </c:pt>
                <c:pt idx="24">
                  <c:v>90.86609046597309</c:v>
                </c:pt>
                <c:pt idx="25">
                  <c:v>89.3265942226045</c:v>
                </c:pt>
                <c:pt idx="26">
                  <c:v>87.86768549986921</c:v>
                </c:pt>
                <c:pt idx="27">
                  <c:v>86.48259292590156</c:v>
                </c:pt>
                <c:pt idx="28">
                  <c:v>85.16529010895518</c:v>
                </c:pt>
                <c:pt idx="29">
                  <c:v>83.9104017263037</c:v>
                </c:pt>
                <c:pt idx="30">
                  <c:v>83.52382183247693</c:v>
                </c:pt>
                <c:pt idx="31">
                  <c:v>83.23324472819063</c:v>
                </c:pt>
                <c:pt idx="32">
                  <c:v>82.94583341285679</c:v>
                </c:pt>
                <c:pt idx="33">
                  <c:v>82.66146494734957</c:v>
                </c:pt>
                <c:pt idx="34">
                  <c:v>82.38002394282466</c:v>
                </c:pt>
                <c:pt idx="35">
                  <c:v>82.10140203608931</c:v>
                </c:pt>
                <c:pt idx="36">
                  <c:v>81.82549740720286</c:v>
                </c:pt>
                <c:pt idx="37">
                  <c:v>81.552214335080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125.52254327225126</c:v>
                </c:pt>
                <c:pt idx="1">
                  <c:v>121.70622512379758</c:v>
                </c:pt>
                <c:pt idx="2">
                  <c:v>118.23490123350655</c:v>
                </c:pt>
                <c:pt idx="3">
                  <c:v>115.07227717677151</c:v>
                </c:pt>
                <c:pt idx="4">
                  <c:v>112.18540393925029</c:v>
                </c:pt>
                <c:pt idx="5">
                  <c:v>109.54481229805897</c:v>
                </c:pt>
                <c:pt idx="6">
                  <c:v>107.12437862754084</c:v>
                </c:pt>
                <c:pt idx="7">
                  <c:v>104.90105595741042</c:v>
                </c:pt>
                <c:pt idx="8">
                  <c:v>102.85455271859266</c:v>
                </c:pt>
                <c:pt idx="9">
                  <c:v>100.96700678032443</c:v>
                </c:pt>
                <c:pt idx="10">
                  <c:v>100.7335601721887</c:v>
                </c:pt>
                <c:pt idx="11">
                  <c:v>100.6668487327844</c:v>
                </c:pt>
                <c:pt idx="12">
                  <c:v>100.59362352456822</c:v>
                </c:pt>
                <c:pt idx="13">
                  <c:v>100.51550859780782</c:v>
                </c:pt>
                <c:pt idx="14">
                  <c:v>100.43379791643969</c:v>
                </c:pt>
                <c:pt idx="15">
                  <c:v>100.3495119340431</c:v>
                </c:pt>
                <c:pt idx="16">
                  <c:v>100.26344655471779</c:v>
                </c:pt>
                <c:pt idx="17">
                  <c:v>100.17621501568495</c:v>
                </c:pt>
                <c:pt idx="18">
                  <c:v>100.08828333273021</c:v>
                </c:pt>
                <c:pt idx="19">
                  <c:v>100.0</c:v>
                </c:pt>
                <c:pt idx="20">
                  <c:v>99.25039755447892</c:v>
                </c:pt>
                <c:pt idx="21">
                  <c:v>98.48032435623806</c:v>
                </c:pt>
                <c:pt idx="22">
                  <c:v>97.76039306011204</c:v>
                </c:pt>
                <c:pt idx="23">
                  <c:v>97.08539533578285</c:v>
                </c:pt>
                <c:pt idx="24">
                  <c:v>96.45071331299926</c:v>
                </c:pt>
                <c:pt idx="25">
                  <c:v>95.85225990617533</c:v>
                </c:pt>
                <c:pt idx="26">
                  <c:v>95.28642176199281</c:v>
                </c:pt>
                <c:pt idx="27">
                  <c:v>94.75000603630687</c:v>
                </c:pt>
                <c:pt idx="28">
                  <c:v>94.24019161011795</c:v>
                </c:pt>
                <c:pt idx="29">
                  <c:v>93.7544849509739</c:v>
                </c:pt>
                <c:pt idx="30">
                  <c:v>94.20733512363783</c:v>
                </c:pt>
                <c:pt idx="31">
                  <c:v>94.74581605442518</c:v>
                </c:pt>
                <c:pt idx="32">
                  <c:v>95.26662369002361</c:v>
                </c:pt>
                <c:pt idx="33">
                  <c:v>95.77026957426037</c:v>
                </c:pt>
                <c:pt idx="34">
                  <c:v>96.25724658170725</c:v>
                </c:pt>
                <c:pt idx="35">
                  <c:v>96.72802984518937</c:v>
                </c:pt>
                <c:pt idx="36">
                  <c:v>97.1830776245424</c:v>
                </c:pt>
                <c:pt idx="37">
                  <c:v>97.62283212076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0559829396303656</c:v>
                </c:pt>
                <c:pt idx="1">
                  <c:v>0.31408731237424614</c:v>
                </c:pt>
                <c:pt idx="2">
                  <c:v>0.32237128203156207</c:v>
                </c:pt>
                <c:pt idx="3">
                  <c:v>0.3304575435824981</c:v>
                </c:pt>
                <c:pt idx="4">
                  <c:v>0.3383530914176101</c:v>
                </c:pt>
                <c:pt idx="5">
                  <c:v>0.3460645938486405</c:v>
                </c:pt>
                <c:pt idx="6">
                  <c:v>0.3535984118918587</c:v>
                </c:pt>
                <c:pt idx="7">
                  <c:v>0.36096061676780566</c:v>
                </c:pt>
                <c:pt idx="8">
                  <c:v>0.36815700621861863</c:v>
                </c:pt>
                <c:pt idx="9">
                  <c:v>0.3751931197351151</c:v>
                </c:pt>
                <c:pt idx="10">
                  <c:v>0.3820742527776799</c:v>
                </c:pt>
                <c:pt idx="11">
                  <c:v>0.38880547006768357</c:v>
                </c:pt>
                <c:pt idx="12">
                  <c:v>0.3953916180195403</c:v>
                </c:pt>
                <c:pt idx="13">
                  <c:v>0.401837336377541</c:v>
                </c:pt>
                <c:pt idx="14">
                  <c:v>0.4081470691161745</c:v>
                </c:pt>
                <c:pt idx="15">
                  <c:v>0.41432507465775936</c:v>
                </c:pt>
                <c:pt idx="16">
                  <c:v>0.42037543545674944</c:v>
                </c:pt>
                <c:pt idx="17">
                  <c:v>0.42630206699604645</c:v>
                </c:pt>
                <c:pt idx="18">
                  <c:v>0.4321087262369772</c:v>
                </c:pt>
                <c:pt idx="19">
                  <c:v>0.4377990195612559</c:v>
                </c:pt>
                <c:pt idx="20">
                  <c:v>0.44337641024021174</c:v>
                </c:pt>
                <c:pt idx="21">
                  <c:v>0.4488442254637853</c:v>
                </c:pt>
                <c:pt idx="22">
                  <c:v>0.4542056629592738</c:v>
                </c:pt>
                <c:pt idx="23">
                  <c:v>0.4594637972274888</c:v>
                </c:pt>
                <c:pt idx="24">
                  <c:v>0.46462158542188314</c:v>
                </c:pt>
                <c:pt idx="25">
                  <c:v>0.46968187289426594</c:v>
                </c:pt>
                <c:pt idx="26">
                  <c:v>0.47464739842896386</c:v>
                </c:pt>
                <c:pt idx="27">
                  <c:v>0.47952079918565255</c:v>
                </c:pt>
                <c:pt idx="28">
                  <c:v>0.48430461536960795</c:v>
                </c:pt>
                <c:pt idx="29">
                  <c:v>0.4890012946467518</c:v>
                </c:pt>
                <c:pt idx="30">
                  <c:v>0.493613196319615</c:v>
                </c:pt>
                <c:pt idx="31">
                  <c:v>0.49814259527918914</c:v>
                </c:pt>
                <c:pt idx="32">
                  <c:v>0.5025916857465722</c:v>
                </c:pt>
                <c:pt idx="33">
                  <c:v>0.5069625848173405</c:v>
                </c:pt>
                <c:pt idx="34">
                  <c:v>0.5112573358206737</c:v>
                </c:pt>
                <c:pt idx="35">
                  <c:v>0.515477911504433</c:v>
                </c:pt>
                <c:pt idx="36">
                  <c:v>0.5196262170566212</c:v>
                </c:pt>
                <c:pt idx="37">
                  <c:v>0.52370409297294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B$2:$B$43</c:f>
              <c:numCache>
                <c:formatCode>General</c:formatCode>
                <c:ptCount val="42"/>
                <c:pt idx="0">
                  <c:v>150.39452806678315</c:v>
                </c:pt>
                <c:pt idx="1">
                  <c:v>147.9512142213052</c:v>
                </c:pt>
                <c:pt idx="2">
                  <c:v>145.60627059943172</c:v>
                </c:pt>
                <c:pt idx="3">
                  <c:v>143.35354605956738</c:v>
                </c:pt>
                <c:pt idx="4">
                  <c:v>138.97691454405629</c:v>
                </c:pt>
                <c:pt idx="5">
                  <c:v>134.6894834970211</c:v>
                </c:pt>
                <c:pt idx="6">
                  <c:v>130.7135481746265</c:v>
                </c:pt>
                <c:pt idx="7">
                  <c:v>127.01428107319504</c:v>
                </c:pt>
                <c:pt idx="8">
                  <c:v>123.56034719698941</c:v>
                </c:pt>
                <c:pt idx="9">
                  <c:v>120.32406591073905</c:v>
                </c:pt>
                <c:pt idx="10">
                  <c:v>117.28130343247688</c:v>
                </c:pt>
                <c:pt idx="11">
                  <c:v>114.41119755874125</c:v>
                </c:pt>
                <c:pt idx="12">
                  <c:v>111.69579997063954</c:v>
                </c:pt>
                <c:pt idx="13">
                  <c:v>109.1196963032419</c:v>
                </c:pt>
                <c:pt idx="14">
                  <c:v>107.42212318803905</c:v>
                </c:pt>
                <c:pt idx="15">
                  <c:v>105.8568522392217</c:v>
                </c:pt>
                <c:pt idx="16">
                  <c:v>104.33412357335112</c:v>
                </c:pt>
                <c:pt idx="17">
                  <c:v>102.85173163790171</c:v>
                </c:pt>
                <c:pt idx="18">
                  <c:v>101.40764711152381</c:v>
                </c:pt>
                <c:pt idx="19">
                  <c:v>100.0</c:v>
                </c:pt>
                <c:pt idx="20">
                  <c:v>98.62706430471002</c:v>
                </c:pt>
                <c:pt idx="21">
                  <c:v>97.28724417961436</c:v>
                </c:pt>
                <c:pt idx="22">
                  <c:v>95.39786118314943</c:v>
                </c:pt>
                <c:pt idx="23">
                  <c:v>93.44125611544149</c:v>
                </c:pt>
                <c:pt idx="24">
                  <c:v>91.56346354757585</c:v>
                </c:pt>
                <c:pt idx="25">
                  <c:v>89.75996931415506</c:v>
                </c:pt>
                <c:pt idx="26">
                  <c:v>88.0265525297356</c:v>
                </c:pt>
                <c:pt idx="27">
                  <c:v>86.35926799803005</c:v>
                </c:pt>
                <c:pt idx="28">
                  <c:v>84.75442913911817</c:v>
                </c:pt>
                <c:pt idx="29">
                  <c:v>83.20859152953658</c:v>
                </c:pt>
                <c:pt idx="30">
                  <c:v>81.7185371258791</c:v>
                </c:pt>
                <c:pt idx="31">
                  <c:v>80.2812592211792</c:v>
                </c:pt>
                <c:pt idx="32">
                  <c:v>78.89394816485445</c:v>
                </c:pt>
                <c:pt idx="33">
                  <c:v>77.55397786136227</c:v>
                </c:pt>
                <c:pt idx="34">
                  <c:v>76.25889304970472</c:v>
                </c:pt>
                <c:pt idx="35">
                  <c:v>75.00639735538547</c:v>
                </c:pt>
                <c:pt idx="36">
                  <c:v>73.79434209803715</c:v>
                </c:pt>
                <c:pt idx="37">
                  <c:v>72.62071583149893</c:v>
                </c:pt>
                <c:pt idx="38">
                  <c:v>71.4836345883195</c:v>
                </c:pt>
                <c:pt idx="39">
                  <c:v>70.38133279727968</c:v>
                </c:pt>
                <c:pt idx="40">
                  <c:v>69.3121548403069</c:v>
                </c:pt>
                <c:pt idx="41">
                  <c:v>68.2745472139039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C$2:$C$43</c:f>
              <c:numCache>
                <c:formatCode>General</c:formatCode>
                <c:ptCount val="42"/>
                <c:pt idx="0">
                  <c:v>125.87194221628515</c:v>
                </c:pt>
                <c:pt idx="1">
                  <c:v>125.09560077730248</c:v>
                </c:pt>
                <c:pt idx="2">
                  <c:v>124.36138090235124</c:v>
                </c:pt>
                <c:pt idx="3">
                  <c:v>123.66650409162558</c:v>
                </c:pt>
                <c:pt idx="4">
                  <c:v>121.08335717507985</c:v>
                </c:pt>
                <c:pt idx="5">
                  <c:v>118.50392458161885</c:v>
                </c:pt>
                <c:pt idx="6">
                  <c:v>116.12785511617878</c:v>
                </c:pt>
                <c:pt idx="7">
                  <c:v>113.93188125526284</c:v>
                </c:pt>
                <c:pt idx="8">
                  <c:v>111.89471413063934</c:v>
                </c:pt>
                <c:pt idx="9">
                  <c:v>109.99733859437126</c:v>
                </c:pt>
                <c:pt idx="10">
                  <c:v>108.22306860676778</c:v>
                </c:pt>
                <c:pt idx="11">
                  <c:v>106.55744134854801</c:v>
                </c:pt>
                <c:pt idx="12">
                  <c:v>104.98802012234776</c:v>
                </c:pt>
                <c:pt idx="13">
                  <c:v>103.5041580868715</c:v>
                </c:pt>
                <c:pt idx="14">
                  <c:v>102.81529155885197</c:v>
                </c:pt>
                <c:pt idx="15">
                  <c:v>102.2249549866298</c:v>
                </c:pt>
                <c:pt idx="16">
                  <c:v>101.6492868144461</c:v>
                </c:pt>
                <c:pt idx="17">
                  <c:v>101.0872089384007</c:v>
                </c:pt>
                <c:pt idx="18">
                  <c:v>100.53774280504442</c:v>
                </c:pt>
                <c:pt idx="19">
                  <c:v>100.0</c:v>
                </c:pt>
                <c:pt idx="20">
                  <c:v>99.47317356206301</c:v>
                </c:pt>
                <c:pt idx="21">
                  <c:v>98.95653003036722</c:v>
                </c:pt>
                <c:pt idx="22">
                  <c:v>97.85428751052362</c:v>
                </c:pt>
                <c:pt idx="23">
                  <c:v>96.65040409934117</c:v>
                </c:pt>
                <c:pt idx="24">
                  <c:v>95.49517762206668</c:v>
                </c:pt>
                <c:pt idx="25">
                  <c:v>94.38588148465429</c:v>
                </c:pt>
                <c:pt idx="26">
                  <c:v>93.3199462672185</c:v>
                </c:pt>
                <c:pt idx="27">
                  <c:v>92.2949533487049</c:v>
                </c:pt>
                <c:pt idx="28">
                  <c:v>91.30862820434805</c:v>
                </c:pt>
                <c:pt idx="29">
                  <c:v>90.35883350758034</c:v>
                </c:pt>
                <c:pt idx="30">
                  <c:v>89.44356214829303</c:v>
                </c:pt>
                <c:pt idx="31">
                  <c:v>88.56093026088803</c:v>
                </c:pt>
                <c:pt idx="32">
                  <c:v>87.7091703386039</c:v>
                </c:pt>
                <c:pt idx="33">
                  <c:v>86.88662449540853</c:v>
                </c:pt>
                <c:pt idx="34">
                  <c:v>86.09173792328941</c:v>
                </c:pt>
                <c:pt idx="35">
                  <c:v>85.32305258110061</c:v>
                </c:pt>
                <c:pt idx="36">
                  <c:v>84.57920114109172</c:v>
                </c:pt>
                <c:pt idx="37">
                  <c:v>83.85890121078897</c:v>
                </c:pt>
                <c:pt idx="38">
                  <c:v>83.16094984083462</c:v>
                </c:pt>
                <c:pt idx="39">
                  <c:v>82.48421832360677</c:v>
                </c:pt>
                <c:pt idx="40">
                  <c:v>81.82764728275572</c:v>
                </c:pt>
                <c:pt idx="41">
                  <c:v>81.1902420500781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D$2:$D$43</c:f>
              <c:numCache>
                <c:formatCode>General</c:formatCode>
                <c:ptCount val="42"/>
                <c:pt idx="0">
                  <c:v>91.98148484340888</c:v>
                </c:pt>
                <c:pt idx="1">
                  <c:v>93.51157536563211</c:v>
                </c:pt>
                <c:pt idx="2">
                  <c:v>95.00595838740901</c:v>
                </c:pt>
                <c:pt idx="3">
                  <c:v>96.46652730071524</c:v>
                </c:pt>
                <c:pt idx="4">
                  <c:v>96.36234349060308</c:v>
                </c:pt>
                <c:pt idx="5">
                  <c:v>96.14289745979326</c:v>
                </c:pt>
                <c:pt idx="6">
                  <c:v>95.97688059692354</c:v>
                </c:pt>
                <c:pt idx="7">
                  <c:v>95.8571115628237</c:v>
                </c:pt>
                <c:pt idx="8">
                  <c:v>95.77626841182352</c:v>
                </c:pt>
                <c:pt idx="9">
                  <c:v>95.72737432822872</c:v>
                </c:pt>
                <c:pt idx="10">
                  <c:v>95.70408341102996</c:v>
                </c:pt>
                <c:pt idx="11">
                  <c:v>95.70081294108277</c:v>
                </c:pt>
                <c:pt idx="12">
                  <c:v>95.71277125978821</c:v>
                </c:pt>
                <c:pt idx="13">
                  <c:v>95.73592226652117</c:v>
                </c:pt>
                <c:pt idx="14">
                  <c:v>96.4424874302401</c:v>
                </c:pt>
                <c:pt idx="15">
                  <c:v>97.2011329474383</c:v>
                </c:pt>
                <c:pt idx="16">
                  <c:v>97.93571713742911</c:v>
                </c:pt>
                <c:pt idx="17">
                  <c:v>98.64673357259154</c:v>
                </c:pt>
                <c:pt idx="18">
                  <c:v>99.33466810999927</c:v>
                </c:pt>
                <c:pt idx="19">
                  <c:v>100.0</c:v>
                </c:pt>
                <c:pt idx="20">
                  <c:v>100.64320252612863</c:v>
                </c:pt>
                <c:pt idx="21">
                  <c:v>101.26474331394961</c:v>
                </c:pt>
                <c:pt idx="22">
                  <c:v>101.24824136618054</c:v>
                </c:pt>
                <c:pt idx="23">
                  <c:v>101.0817750435797</c:v>
                </c:pt>
                <c:pt idx="24">
                  <c:v>100.92218267021961</c:v>
                </c:pt>
                <c:pt idx="25">
                  <c:v>100.76922967266238</c:v>
                </c:pt>
                <c:pt idx="26">
                  <c:v>100.62264760913745</c:v>
                </c:pt>
                <c:pt idx="27">
                  <c:v>100.4821436782098</c:v>
                </c:pt>
                <c:pt idx="28">
                  <c:v>100.34740868320868</c:v>
                </c:pt>
                <c:pt idx="29">
                  <c:v>100.21812364080498</c:v>
                </c:pt>
                <c:pt idx="30">
                  <c:v>100.09396520794951</c:v>
                </c:pt>
                <c:pt idx="31">
                  <c:v>99.97461008633816</c:v>
                </c:pt>
                <c:pt idx="32">
                  <c:v>99.85973854821935</c:v>
                </c:pt>
                <c:pt idx="33">
                  <c:v>99.74903721229062</c:v>
                </c:pt>
                <c:pt idx="34">
                  <c:v>99.6422011839067</c:v>
                </c:pt>
                <c:pt idx="35">
                  <c:v>99.53893566018989</c:v>
                </c:pt>
                <c:pt idx="36">
                  <c:v>99.4389570879638</c:v>
                </c:pt>
                <c:pt idx="37">
                  <c:v>99.34199395087757</c:v>
                </c:pt>
                <c:pt idx="38">
                  <c:v>99.24778725162136</c:v>
                </c:pt>
                <c:pt idx="39">
                  <c:v>99.15609074578414</c:v>
                </c:pt>
                <c:pt idx="40">
                  <c:v>99.0666709755994</c:v>
                </c:pt>
                <c:pt idx="41">
                  <c:v>98.979307144505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E$2:$E$43</c:f>
              <c:numCache>
                <c:formatCode>General</c:formatCode>
                <c:ptCount val="42"/>
                <c:pt idx="0">
                  <c:v>0.30907852202343594</c:v>
                </c:pt>
                <c:pt idx="1">
                  <c:v>0.3161431588125624</c:v>
                </c:pt>
                <c:pt idx="2">
                  <c:v>0.32306478675980366</c:v>
                </c:pt>
                <c:pt idx="3">
                  <c:v>0.3298477047281423</c:v>
                </c:pt>
                <c:pt idx="4">
                  <c:v>0.33649604099075986</c:v>
                </c:pt>
                <c:pt idx="5">
                  <c:v>0.34301376160971137</c:v>
                </c:pt>
                <c:pt idx="6">
                  <c:v>0.34940467832556993</c:v>
                </c:pt>
                <c:pt idx="7">
                  <c:v>0.3556724559910271</c:v>
                </c:pt>
                <c:pt idx="8">
                  <c:v>0.3618206195788989</c:v>
                </c:pt>
                <c:pt idx="9">
                  <c:v>0.3678525607927089</c:v>
                </c:pt>
                <c:pt idx="10">
                  <c:v>0.3737715443058857</c:v>
                </c:pt>
                <c:pt idx="11">
                  <c:v>0.3795807136536975</c:v>
                </c:pt>
                <c:pt idx="12">
                  <c:v>0.38528309680026285</c:v>
                </c:pt>
                <c:pt idx="13">
                  <c:v>0.39088161140135336</c:v>
                </c:pt>
                <c:pt idx="14">
                  <c:v>0.3963790697822076</c:v>
                </c:pt>
                <c:pt idx="15">
                  <c:v>0.40177818364819845</c:v>
                </c:pt>
                <c:pt idx="16">
                  <c:v>0.4070815685449343</c:v>
                </c:pt>
                <c:pt idx="17">
                  <c:v>0.4122917480832039</c:v>
                </c:pt>
                <c:pt idx="18">
                  <c:v>0.4174111579431063</c:v>
                </c:pt>
                <c:pt idx="19">
                  <c:v>0.4224421496707132</c:v>
                </c:pt>
                <c:pt idx="20">
                  <c:v>0.42738699427969684</c:v>
                </c:pt>
                <c:pt idx="21">
                  <c:v>0.43224788566951267</c:v>
                </c:pt>
                <c:pt idx="22">
                  <c:v>0.43702694387094776</c:v>
                </c:pt>
                <c:pt idx="23">
                  <c:v>0.4417262181291202</c:v>
                </c:pt>
                <c:pt idx="24">
                  <c:v>0.4463476898333493</c:v>
                </c:pt>
                <c:pt idx="25">
                  <c:v>0.45089327530269785</c:v>
                </c:pt>
                <c:pt idx="26">
                  <c:v>0.455364828435412</c:v>
                </c:pt>
                <c:pt idx="27">
                  <c:v>0.45976414322995635</c:v>
                </c:pt>
                <c:pt idx="28">
                  <c:v>0.4640929561848446</c:v>
                </c:pt>
                <c:pt idx="29">
                  <c:v>0.4683529485840111</c:v>
                </c:pt>
                <c:pt idx="30">
                  <c:v>0.47254574867404264</c:v>
                </c:pt>
                <c:pt idx="31">
                  <c:v>0.476672933739191</c:v>
                </c:pt>
                <c:pt idx="32">
                  <c:v>0.48073603207972515</c:v>
                </c:pt>
                <c:pt idx="33">
                  <c:v>0.4847365248988337</c:v>
                </c:pt>
                <c:pt idx="34">
                  <c:v>0.4886758481029709</c:v>
                </c:pt>
                <c:pt idx="35">
                  <c:v>0.49255539402024745</c:v>
                </c:pt>
                <c:pt idx="36">
                  <c:v>0.4963765130411793</c:v>
                </c:pt>
                <c:pt idx="37">
                  <c:v>0.500140515185864</c:v>
                </c:pt>
                <c:pt idx="38">
                  <c:v>0.5038486716013991</c:v>
                </c:pt>
                <c:pt idx="39">
                  <c:v>0.5075022159931414</c:v>
                </c:pt>
                <c:pt idx="40">
                  <c:v>0.5111023459931915</c:v>
                </c:pt>
                <c:pt idx="41">
                  <c:v>0.51465022446929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B$2:$B$43</c:f>
              <c:numCache>
                <c:formatCode>General</c:formatCode>
                <c:ptCount val="42"/>
                <c:pt idx="0">
                  <c:v>194.65315798597976</c:v>
                </c:pt>
                <c:pt idx="1">
                  <c:v>189.66483821503388</c:v>
                </c:pt>
                <c:pt idx="2">
                  <c:v>184.97335763816122</c:v>
                </c:pt>
                <c:pt idx="3">
                  <c:v>180.55234230843726</c:v>
                </c:pt>
                <c:pt idx="4">
                  <c:v>171.70693767056326</c:v>
                </c:pt>
                <c:pt idx="5">
                  <c:v>163.1660674666476</c:v>
                </c:pt>
                <c:pt idx="6">
                  <c:v>155.3808526123873</c:v>
                </c:pt>
                <c:pt idx="7">
                  <c:v>148.26261636656187</c:v>
                </c:pt>
                <c:pt idx="8">
                  <c:v>141.7347696131032</c:v>
                </c:pt>
                <c:pt idx="9">
                  <c:v>135.7311848457015</c:v>
                </c:pt>
                <c:pt idx="10">
                  <c:v>130.19472203235983</c:v>
                </c:pt>
                <c:pt idx="11">
                  <c:v>125.07592852573713</c:v>
                </c:pt>
                <c:pt idx="12">
                  <c:v>120.33190957763466</c:v>
                </c:pt>
                <c:pt idx="13">
                  <c:v>115.92535564691282</c:v>
                </c:pt>
                <c:pt idx="14">
                  <c:v>112.87148939258071</c:v>
                </c:pt>
                <c:pt idx="15">
                  <c:v>110.06843399395395</c:v>
                </c:pt>
                <c:pt idx="16">
                  <c:v>107.38542704455358</c:v>
                </c:pt>
                <c:pt idx="17">
                  <c:v>104.81664601191636</c:v>
                </c:pt>
                <c:pt idx="18">
                  <c:v>102.356579790403</c:v>
                </c:pt>
                <c:pt idx="19">
                  <c:v>100.0</c:v>
                </c:pt>
                <c:pt idx="20">
                  <c:v>97.74193662865585</c:v>
                </c:pt>
                <c:pt idx="21">
                  <c:v>95.57765757651343</c:v>
                </c:pt>
                <c:pt idx="22">
                  <c:v>93.50265157717988</c:v>
                </c:pt>
                <c:pt idx="23">
                  <c:v>91.51261394874065</c:v>
                </c:pt>
                <c:pt idx="24">
                  <c:v>86.91553671479049</c:v>
                </c:pt>
                <c:pt idx="25">
                  <c:v>82.38911025378054</c:v>
                </c:pt>
                <c:pt idx="26">
                  <c:v>78.21950697905586</c:v>
                </c:pt>
                <c:pt idx="27">
                  <c:v>74.3776559703269</c:v>
                </c:pt>
                <c:pt idx="28">
                  <c:v>70.8351448048487</c:v>
                </c:pt>
                <c:pt idx="29">
                  <c:v>67.56493439296251</c:v>
                </c:pt>
                <c:pt idx="30">
                  <c:v>64.54178287709777</c:v>
                </c:pt>
                <c:pt idx="31">
                  <c:v>61.74245205280203</c:v>
                </c:pt>
                <c:pt idx="32">
                  <c:v>59.145762890681354</c:v>
                </c:pt>
                <c:pt idx="33">
                  <c:v>56.732553059845884</c:v>
                </c:pt>
                <c:pt idx="34">
                  <c:v>55.57382368861037</c:v>
                </c:pt>
                <c:pt idx="35">
                  <c:v>54.57420470597258</c:v>
                </c:pt>
                <c:pt idx="36">
                  <c:v>53.60491959784645</c:v>
                </c:pt>
                <c:pt idx="37">
                  <c:v>52.66456737712273</c:v>
                </c:pt>
                <c:pt idx="38">
                  <c:v>51.75182871318529</c:v>
                </c:pt>
                <c:pt idx="39">
                  <c:v>50.865461481067</c:v>
                </c:pt>
                <c:pt idx="40">
                  <c:v>50.004296391703875</c:v>
                </c:pt>
                <c:pt idx="41">
                  <c:v>49.1672327253395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C$2:$C$43</c:f>
              <c:numCache>
                <c:formatCode>General</c:formatCode>
                <c:ptCount val="42"/>
                <c:pt idx="0">
                  <c:v>156.68908754161578</c:v>
                </c:pt>
                <c:pt idx="1">
                  <c:v>154.60411067157432</c:v>
                </c:pt>
                <c:pt idx="2">
                  <c:v>152.663223868918</c:v>
                </c:pt>
                <c:pt idx="3">
                  <c:v>150.8533420923274</c:v>
                </c:pt>
                <c:pt idx="4">
                  <c:v>145.22305161063497</c:v>
                </c:pt>
                <c:pt idx="5">
                  <c:v>139.67427045429864</c:v>
                </c:pt>
                <c:pt idx="6">
                  <c:v>134.605703404534</c:v>
                </c:pt>
                <c:pt idx="7">
                  <c:v>129.96269516560915</c:v>
                </c:pt>
                <c:pt idx="8">
                  <c:v>125.69770917716076</c:v>
                </c:pt>
                <c:pt idx="9">
                  <c:v>121.76947979918947</c:v>
                </c:pt>
                <c:pt idx="10">
                  <c:v>118.14220482445404</c:v>
                </c:pt>
                <c:pt idx="11">
                  <c:v>114.78480867754747</c:v>
                </c:pt>
                <c:pt idx="12">
                  <c:v>111.67028507783205</c:v>
                </c:pt>
                <c:pt idx="13">
                  <c:v>108.7751181320747</c:v>
                </c:pt>
                <c:pt idx="14">
                  <c:v>107.06925888745631</c:v>
                </c:pt>
                <c:pt idx="15">
                  <c:v>105.54118206622863</c:v>
                </c:pt>
                <c:pt idx="16">
                  <c:v>104.07223474190562</c:v>
                </c:pt>
                <c:pt idx="17">
                  <c:v>102.6603642866085</c:v>
                </c:pt>
                <c:pt idx="18">
                  <c:v>101.30359200209993</c:v>
                </c:pt>
                <c:pt idx="19">
                  <c:v>100.0</c:v>
                </c:pt>
                <c:pt idx="20">
                  <c:v>98.74772073652368</c:v>
                </c:pt>
                <c:pt idx="21">
                  <c:v>97.54492905710205</c:v>
                </c:pt>
                <c:pt idx="22">
                  <c:v>96.3898364862556</c:v>
                </c:pt>
                <c:pt idx="23">
                  <c:v>95.28068743314843</c:v>
                </c:pt>
                <c:pt idx="24">
                  <c:v>91.39148499985657</c:v>
                </c:pt>
                <c:pt idx="25">
                  <c:v>87.48348453757325</c:v>
                </c:pt>
                <c:pt idx="26">
                  <c:v>83.86524945110776</c:v>
                </c:pt>
                <c:pt idx="27">
                  <c:v>80.5161640555615</c:v>
                </c:pt>
                <c:pt idx="28">
                  <c:v>77.41517951994958</c:v>
                </c:pt>
                <c:pt idx="29">
                  <c:v>74.54162640745756</c:v>
                </c:pt>
                <c:pt idx="30">
                  <c:v>71.87574912520066</c:v>
                </c:pt>
                <c:pt idx="31">
                  <c:v>69.39902380508973</c:v>
                </c:pt>
                <c:pt idx="32">
                  <c:v>67.09431924765428</c:v>
                </c:pt>
                <c:pt idx="33">
                  <c:v>64.94595034975693</c:v>
                </c:pt>
                <c:pt idx="34">
                  <c:v>64.19373034430683</c:v>
                </c:pt>
                <c:pt idx="35">
                  <c:v>63.60278344086952</c:v>
                </c:pt>
                <c:pt idx="36">
                  <c:v>63.026959663955374</c:v>
                </c:pt>
                <c:pt idx="37">
                  <c:v>62.465527594329785</c:v>
                </c:pt>
                <c:pt idx="38">
                  <c:v>61.91779650392579</c:v>
                </c:pt>
                <c:pt idx="39">
                  <c:v>61.38311511409268</c:v>
                </c:pt>
                <c:pt idx="40">
                  <c:v>60.860870185497376</c:v>
                </c:pt>
                <c:pt idx="41">
                  <c:v>60.3504849718487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D$2:$D$43</c:f>
              <c:numCache>
                <c:formatCode>General</c:formatCode>
                <c:ptCount val="42"/>
                <c:pt idx="0">
                  <c:v>99.24441992581872</c:v>
                </c:pt>
                <c:pt idx="1">
                  <c:v>101.59393978030735</c:v>
                </c:pt>
                <c:pt idx="2">
                  <c:v>103.8527494528869</c:v>
                </c:pt>
                <c:pt idx="3">
                  <c:v>106.02833388155332</c:v>
                </c:pt>
                <c:pt idx="4">
                  <c:v>105.26348400407952</c:v>
                </c:pt>
                <c:pt idx="5">
                  <c:v>104.23680862971862</c:v>
                </c:pt>
                <c:pt idx="6">
                  <c:v>103.27170739224152</c:v>
                </c:pt>
                <c:pt idx="7">
                  <c:v>102.36543637061509</c:v>
                </c:pt>
                <c:pt idx="8">
                  <c:v>101.51475871148705</c:v>
                </c:pt>
                <c:pt idx="9">
                  <c:v>100.7162972170486</c:v>
                </c:pt>
                <c:pt idx="10">
                  <c:v>99.96675186993743</c:v>
                </c:pt>
                <c:pt idx="11">
                  <c:v>99.26302731305431</c:v>
                </c:pt>
                <c:pt idx="12">
                  <c:v>98.60229889344059</c:v>
                </c:pt>
                <c:pt idx="13">
                  <c:v>97.98203640497444</c:v>
                </c:pt>
                <c:pt idx="14">
                  <c:v>98.31262982743094</c:v>
                </c:pt>
                <c:pt idx="15">
                  <c:v>98.71059061509791</c:v>
                </c:pt>
                <c:pt idx="16">
                  <c:v>99.0746869625429</c:v>
                </c:pt>
                <c:pt idx="17">
                  <c:v>99.40868750055184</c:v>
                </c:pt>
                <c:pt idx="18">
                  <c:v>99.7160634319195</c:v>
                </c:pt>
                <c:pt idx="19">
                  <c:v>100.0</c:v>
                </c:pt>
                <c:pt idx="20">
                  <c:v>100.26340797037432</c:v>
                </c:pt>
                <c:pt idx="21">
                  <c:v>100.50893544556902</c:v>
                </c:pt>
                <c:pt idx="22">
                  <c:v>100.73898015195341</c:v>
                </c:pt>
                <c:pt idx="23">
                  <c:v>100.95570220487595</c:v>
                </c:pt>
                <c:pt idx="24">
                  <c:v>98.12643771264186</c:v>
                </c:pt>
                <c:pt idx="25">
                  <c:v>95.1415758303846</c:v>
                </c:pt>
                <c:pt idx="26">
                  <c:v>92.3444339458958</c:v>
                </c:pt>
                <c:pt idx="27">
                  <c:v>89.72755669561222</c:v>
                </c:pt>
                <c:pt idx="28">
                  <c:v>87.2813003032231</c:v>
                </c:pt>
                <c:pt idx="29">
                  <c:v>84.99481676005664</c:v>
                </c:pt>
                <c:pt idx="30">
                  <c:v>82.85677515466399</c:v>
                </c:pt>
                <c:pt idx="31">
                  <c:v>80.85586381300133</c:v>
                </c:pt>
                <c:pt idx="32">
                  <c:v>78.98112288394421</c:v>
                </c:pt>
                <c:pt idx="33">
                  <c:v>77.22215212692423</c:v>
                </c:pt>
                <c:pt idx="34">
                  <c:v>77.07858540306117</c:v>
                </c:pt>
                <c:pt idx="35">
                  <c:v>77.10001876852618</c:v>
                </c:pt>
                <c:pt idx="36">
                  <c:v>77.11351421397681</c:v>
                </c:pt>
                <c:pt idx="37">
                  <c:v>77.11936779363838</c:v>
                </c:pt>
                <c:pt idx="38">
                  <c:v>77.1178526755926</c:v>
                </c:pt>
                <c:pt idx="39">
                  <c:v>77.10922292710192</c:v>
                </c:pt>
                <c:pt idx="40">
                  <c:v>77.09371673604934</c:v>
                </c:pt>
                <c:pt idx="41">
                  <c:v>77.071559117706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E$2:$E$43</c:f>
              <c:numCache>
                <c:formatCode>General</c:formatCode>
                <c:ptCount val="42"/>
                <c:pt idx="0">
                  <c:v>0.257341795630388</c:v>
                </c:pt>
                <c:pt idx="1">
                  <c:v>0.2668875309050616</c:v>
                </c:pt>
                <c:pt idx="2">
                  <c:v>0.27619098863469294</c:v>
                </c:pt>
                <c:pt idx="3">
                  <c:v>0.2852612769976665</c:v>
                </c:pt>
                <c:pt idx="4">
                  <c:v>0.2941070532724479</c:v>
                </c:pt>
                <c:pt idx="5">
                  <c:v>0.3027365513987018</c:v>
                </c:pt>
                <c:pt idx="6">
                  <c:v>0.3111576075412295</c:v>
                </c:pt>
                <c:pt idx="7">
                  <c:v>0.3193776838235535</c:v>
                </c:pt>
                <c:pt idx="8">
                  <c:v>0.3274038903822381</c:v>
                </c:pt>
                <c:pt idx="9">
                  <c:v>0.3352430058789485</c:v>
                </c:pt>
                <c:pt idx="10">
                  <c:v>0.3429014965946289</c:v>
                </c:pt>
                <c:pt idx="11">
                  <c:v>0.35038553421883584</c:v>
                </c:pt>
                <c:pt idx="12">
                  <c:v>0.3577010124370922</c:v>
                </c:pt>
                <c:pt idx="13">
                  <c:v>0.3648535624099531</c:v>
                </c:pt>
                <c:pt idx="14">
                  <c:v>0.3718485672292269</c:v>
                </c:pt>
                <c:pt idx="15">
                  <c:v>0.3786911754293442</c:v>
                </c:pt>
                <c:pt idx="16">
                  <c:v>0.3853863136251487</c:v>
                </c:pt>
                <c:pt idx="17">
                  <c:v>0.39193869834129846</c:v>
                </c:pt>
                <c:pt idx="18">
                  <c:v>0.39835284709297253</c:v>
                </c:pt>
                <c:pt idx="19">
                  <c:v>0.4046330887725865</c:v>
                </c:pt>
                <c:pt idx="20">
                  <c:v>0.4107835733927045</c:v>
                </c:pt>
                <c:pt idx="21">
                  <c:v>0.4168082812312249</c:v>
                </c:pt>
                <c:pt idx="22">
                  <c:v>0.42271103142119243</c:v>
                </c:pt>
                <c:pt idx="23">
                  <c:v>0.4284954900241864</c:v>
                </c:pt>
                <c:pt idx="24">
                  <c:v>0.4341651776231527</c:v>
                </c:pt>
                <c:pt idx="25">
                  <c:v>0.4397234764677189</c:v>
                </c:pt>
                <c:pt idx="26">
                  <c:v>0.4451736372024688</c:v>
                </c:pt>
                <c:pt idx="27">
                  <c:v>0.45051878520629857</c:v>
                </c:pt>
                <c:pt idx="28">
                  <c:v>0.45576192656883385</c:v>
                </c:pt>
                <c:pt idx="29">
                  <c:v>0.46090595372791865</c:v>
                </c:pt>
                <c:pt idx="30">
                  <c:v>0.4659536507903913</c:v>
                </c:pt>
                <c:pt idx="31">
                  <c:v>0.4709076985567143</c:v>
                </c:pt>
                <c:pt idx="32">
                  <c:v>0.4757706792685091</c:v>
                </c:pt>
                <c:pt idx="33">
                  <c:v>0.4805450810966648</c:v>
                </c:pt>
                <c:pt idx="34">
                  <c:v>0.48523330238640605</c:v>
                </c:pt>
                <c:pt idx="35">
                  <c:v>0.48983765567454207</c:v>
                </c:pt>
                <c:pt idx="36">
                  <c:v>0.4943603714930301</c:v>
                </c:pt>
                <c:pt idx="37">
                  <c:v>0.49880360197200174</c:v>
                </c:pt>
                <c:pt idx="38">
                  <c:v>0.5031694242544755</c:v>
                </c:pt>
                <c:pt idx="39">
                  <c:v>0.5074598437341433</c:v>
                </c:pt>
                <c:pt idx="40">
                  <c:v>0.5116767971268305</c:v>
                </c:pt>
                <c:pt idx="41">
                  <c:v>0.51582215538551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B$2:$B$69</c:f>
              <c:numCache>
                <c:formatCode>General</c:formatCode>
                <c:ptCount val="68"/>
                <c:pt idx="0">
                  <c:v>147.25075981518077</c:v>
                </c:pt>
                <c:pt idx="1">
                  <c:v>145.58970194811297</c:v>
                </c:pt>
                <c:pt idx="2">
                  <c:v>143.9624157481624</c:v>
                </c:pt>
                <c:pt idx="3">
                  <c:v>142.36798072438944</c:v>
                </c:pt>
                <c:pt idx="4">
                  <c:v>140.80550705047895</c:v>
                </c:pt>
                <c:pt idx="5">
                  <c:v>139.27413430013573</c:v>
                </c:pt>
                <c:pt idx="6">
                  <c:v>137.77303024853586</c:v>
                </c:pt>
                <c:pt idx="7">
                  <c:v>136.30138973579977</c:v>
                </c:pt>
                <c:pt idx="8">
                  <c:v>135.0559086189677</c:v>
                </c:pt>
                <c:pt idx="9">
                  <c:v>133.8819183304813</c:v>
                </c:pt>
                <c:pt idx="10">
                  <c:v>132.7288509890592</c:v>
                </c:pt>
                <c:pt idx="11">
                  <c:v>131.59618213239582</c:v>
                </c:pt>
                <c:pt idx="12">
                  <c:v>130.4834030983382</c:v>
                </c:pt>
                <c:pt idx="13">
                  <c:v>129.39002047903736</c:v>
                </c:pt>
                <c:pt idx="14">
                  <c:v>128.31555559666512</c:v>
                </c:pt>
                <c:pt idx="15">
                  <c:v>127.25954399972139</c:v>
                </c:pt>
                <c:pt idx="16">
                  <c:v>126.22153497901205</c:v>
                </c:pt>
                <c:pt idx="17">
                  <c:v>125.20109110241123</c:v>
                </c:pt>
                <c:pt idx="18">
                  <c:v>124.19778776756173</c:v>
                </c:pt>
                <c:pt idx="19">
                  <c:v>123.21121277172662</c:v>
                </c:pt>
                <c:pt idx="20">
                  <c:v>122.24096589800592</c:v>
                </c:pt>
                <c:pt idx="21">
                  <c:v>121.28665851721559</c:v>
                </c:pt>
                <c:pt idx="22">
                  <c:v>120.3479132047276</c:v>
                </c:pt>
                <c:pt idx="23">
                  <c:v>119.4243633716185</c:v>
                </c:pt>
                <c:pt idx="24">
                  <c:v>118.5156529095116</c:v>
                </c:pt>
                <c:pt idx="25">
                  <c:v>117.62143584851441</c:v>
                </c:pt>
                <c:pt idx="26">
                  <c:v>116.74137602769967</c:v>
                </c:pt>
                <c:pt idx="27">
                  <c:v>115.87514677759592</c:v>
                </c:pt>
                <c:pt idx="28">
                  <c:v>114.65322974445908</c:v>
                </c:pt>
                <c:pt idx="29">
                  <c:v>113.36797024968482</c:v>
                </c:pt>
                <c:pt idx="30">
                  <c:v>112.1124138693431</c:v>
                </c:pt>
                <c:pt idx="31">
                  <c:v>110.88554798062407</c:v>
                </c:pt>
                <c:pt idx="32">
                  <c:v>109.68640242416117</c:v>
                </c:pt>
                <c:pt idx="33">
                  <c:v>108.51404745842414</c:v>
                </c:pt>
                <c:pt idx="34">
                  <c:v>107.36759182739885</c:v>
                </c:pt>
                <c:pt idx="35">
                  <c:v>106.24618093410758</c:v>
                </c:pt>
                <c:pt idx="36">
                  <c:v>105.1489951129829</c:v>
                </c:pt>
                <c:pt idx="37">
                  <c:v>104.07524799457015</c:v>
                </c:pt>
                <c:pt idx="38">
                  <c:v>103.02418495653878</c:v>
                </c:pt>
                <c:pt idx="39">
                  <c:v>101.99508165543637</c:v>
                </c:pt>
                <c:pt idx="40">
                  <c:v>100.98724263409345</c:v>
                </c:pt>
                <c:pt idx="41">
                  <c:v>100.0</c:v>
                </c:pt>
                <c:pt idx="42">
                  <c:v>99.03271217037724</c:v>
                </c:pt>
                <c:pt idx="43">
                  <c:v>98.08476268002411</c:v>
                </c:pt>
                <c:pt idx="44">
                  <c:v>97.15555904834041</c:v>
                </c:pt>
                <c:pt idx="45">
                  <c:v>96.2445317022135</c:v>
                </c:pt>
                <c:pt idx="46">
                  <c:v>95.35113295172032</c:v>
                </c:pt>
                <c:pt idx="47">
                  <c:v>94.47483601581166</c:v>
                </c:pt>
                <c:pt idx="48">
                  <c:v>93.93590385691665</c:v>
                </c:pt>
                <c:pt idx="49">
                  <c:v>93.48246096165073</c:v>
                </c:pt>
                <c:pt idx="50">
                  <c:v>93.03302581727104</c:v>
                </c:pt>
                <c:pt idx="51">
                  <c:v>92.58753975477228</c:v>
                </c:pt>
                <c:pt idx="52">
                  <c:v>92.1459452196535</c:v>
                </c:pt>
                <c:pt idx="53">
                  <c:v>91.70818574712588</c:v>
                </c:pt>
                <c:pt idx="54">
                  <c:v>91.27420593800673</c:v>
                </c:pt>
                <c:pt idx="55">
                  <c:v>90.84395143527911</c:v>
                </c:pt>
                <c:pt idx="56">
                  <c:v>90.41736890129404</c:v>
                </c:pt>
                <c:pt idx="57">
                  <c:v>89.9944059955978</c:v>
                </c:pt>
                <c:pt idx="58">
                  <c:v>89.57501135335781</c:v>
                </c:pt>
                <c:pt idx="59">
                  <c:v>89.15913456437099</c:v>
                </c:pt>
                <c:pt idx="60">
                  <c:v>88.74672615263492</c:v>
                </c:pt>
                <c:pt idx="61">
                  <c:v>88.33773755646021</c:v>
                </c:pt>
                <c:pt idx="62">
                  <c:v>87.93212110911142</c:v>
                </c:pt>
                <c:pt idx="63">
                  <c:v>87.52983001995136</c:v>
                </c:pt>
                <c:pt idx="64">
                  <c:v>87.1308183560811</c:v>
                </c:pt>
                <c:pt idx="65">
                  <c:v>86.73504102444855</c:v>
                </c:pt>
                <c:pt idx="66">
                  <c:v>86.34245375441975</c:v>
                </c:pt>
                <c:pt idx="67">
                  <c:v>85.9530130807931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C$2:$C$69</c:f>
              <c:numCache>
                <c:formatCode>General</c:formatCode>
                <c:ptCount val="68"/>
                <c:pt idx="0">
                  <c:v>116.05426484576647</c:v>
                </c:pt>
                <c:pt idx="1">
                  <c:v>115.49625827072019</c:v>
                </c:pt>
                <c:pt idx="2">
                  <c:v>114.94815179758248</c:v>
                </c:pt>
                <c:pt idx="3">
                  <c:v>114.4097239784714</c:v>
                </c:pt>
                <c:pt idx="4">
                  <c:v>113.8807594150729</c:v>
                </c:pt>
                <c:pt idx="5">
                  <c:v>113.36104850613538</c:v>
                </c:pt>
                <c:pt idx="6">
                  <c:v>112.85038721082803</c:v>
                </c:pt>
                <c:pt idx="7">
                  <c:v>112.34857682696186</c:v>
                </c:pt>
                <c:pt idx="8">
                  <c:v>112.01962002917354</c:v>
                </c:pt>
                <c:pt idx="9">
                  <c:v>111.73759681446856</c:v>
                </c:pt>
                <c:pt idx="10">
                  <c:v>111.4610435921431</c:v>
                </c:pt>
                <c:pt idx="11">
                  <c:v>111.18983983588721</c:v>
                </c:pt>
                <c:pt idx="12">
                  <c:v>110.92386769555762</c:v>
                </c:pt>
                <c:pt idx="13">
                  <c:v>110.66301193437882</c:v>
                </c:pt>
                <c:pt idx="14">
                  <c:v>110.40715986799239</c:v>
                </c:pt>
                <c:pt idx="15">
                  <c:v>110.15620130527641</c:v>
                </c:pt>
                <c:pt idx="16">
                  <c:v>109.9100284908703</c:v>
                </c:pt>
                <c:pt idx="17">
                  <c:v>109.66853604932851</c:v>
                </c:pt>
                <c:pt idx="18">
                  <c:v>109.43162093082665</c:v>
                </c:pt>
                <c:pt idx="19">
                  <c:v>109.1991823583639</c:v>
                </c:pt>
                <c:pt idx="20">
                  <c:v>108.97112177637074</c:v>
                </c:pt>
                <c:pt idx="21">
                  <c:v>108.74734280067698</c:v>
                </c:pt>
                <c:pt idx="22">
                  <c:v>108.52775116976616</c:v>
                </c:pt>
                <c:pt idx="23">
                  <c:v>108.31225469725734</c:v>
                </c:pt>
                <c:pt idx="24">
                  <c:v>108.10076322556577</c:v>
                </c:pt>
                <c:pt idx="25">
                  <c:v>107.89318858068108</c:v>
                </c:pt>
                <c:pt idx="26">
                  <c:v>107.68944452802202</c:v>
                </c:pt>
                <c:pt idx="27">
                  <c:v>107.48944672932087</c:v>
                </c:pt>
                <c:pt idx="28">
                  <c:v>106.94834456118059</c:v>
                </c:pt>
                <c:pt idx="29">
                  <c:v>106.33516959812597</c:v>
                </c:pt>
                <c:pt idx="30">
                  <c:v>105.73679002749425</c:v>
                </c:pt>
                <c:pt idx="31">
                  <c:v>105.15270145595301</c:v>
                </c:pt>
                <c:pt idx="32">
                  <c:v>104.5824193663207</c:v>
                </c:pt>
                <c:pt idx="33">
                  <c:v>104.02547823033402</c:v>
                </c:pt>
                <c:pt idx="34">
                  <c:v>103.48143066900055</c:v>
                </c:pt>
                <c:pt idx="35">
                  <c:v>102.94984665726592</c:v>
                </c:pt>
                <c:pt idx="36">
                  <c:v>102.43031276988054</c:v>
                </c:pt>
                <c:pt idx="37">
                  <c:v>101.9224314655255</c:v>
                </c:pt>
                <c:pt idx="38">
                  <c:v>101.4258204064957</c:v>
                </c:pt>
                <c:pt idx="39">
                  <c:v>100.94011181144924</c:v>
                </c:pt>
                <c:pt idx="40">
                  <c:v>100.46495183898226</c:v>
                </c:pt>
                <c:pt idx="41">
                  <c:v>100.0</c:v>
                </c:pt>
                <c:pt idx="42">
                  <c:v>99.54492859707202</c:v>
                </c:pt>
                <c:pt idx="43">
                  <c:v>99.09942218915128</c:v>
                </c:pt>
                <c:pt idx="44">
                  <c:v>98.66317708020664</c:v>
                </c:pt>
                <c:pt idx="45">
                  <c:v>98.23590083046653</c:v>
                </c:pt>
                <c:pt idx="46">
                  <c:v>97.8173117891123</c:v>
                </c:pt>
                <c:pt idx="47">
                  <c:v>97.40713864735827</c:v>
                </c:pt>
                <c:pt idx="48">
                  <c:v>97.33753466586501</c:v>
                </c:pt>
                <c:pt idx="49">
                  <c:v>97.35138786139144</c:v>
                </c:pt>
                <c:pt idx="50">
                  <c:v>97.36473977173229</c:v>
                </c:pt>
                <c:pt idx="51">
                  <c:v>97.37759099808892</c:v>
                </c:pt>
                <c:pt idx="52">
                  <c:v>97.38994210391631</c:v>
                </c:pt>
                <c:pt idx="53">
                  <c:v>97.40179361744933</c:v>
                </c:pt>
                <c:pt idx="54">
                  <c:v>97.41314603419275</c:v>
                </c:pt>
                <c:pt idx="55">
                  <c:v>97.42399981937497</c:v>
                </c:pt>
                <c:pt idx="56">
                  <c:v>97.43435541036564</c:v>
                </c:pt>
                <c:pt idx="57">
                  <c:v>97.44421321906164</c:v>
                </c:pt>
                <c:pt idx="58">
                  <c:v>97.4535736342358</c:v>
                </c:pt>
                <c:pt idx="59">
                  <c:v>97.46243702385046</c:v>
                </c:pt>
                <c:pt idx="60">
                  <c:v>97.47080373733841</c:v>
                </c:pt>
                <c:pt idx="61">
                  <c:v>97.47867410784474</c:v>
                </c:pt>
                <c:pt idx="62">
                  <c:v>97.48604845443741</c:v>
                </c:pt>
                <c:pt idx="63">
                  <c:v>97.49292708427618</c:v>
                </c:pt>
                <c:pt idx="64">
                  <c:v>97.49931029475093</c:v>
                </c:pt>
                <c:pt idx="65">
                  <c:v>97.50519837557565</c:v>
                </c:pt>
                <c:pt idx="66">
                  <c:v>97.51059161084841</c:v>
                </c:pt>
                <c:pt idx="67">
                  <c:v>97.515490281073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D$2:$D$69</c:f>
              <c:numCache>
                <c:formatCode>General</c:formatCode>
                <c:ptCount val="68"/>
                <c:pt idx="0">
                  <c:v>68.39860553823607</c:v>
                </c:pt>
                <c:pt idx="1">
                  <c:v>69.52856549074774</c:v>
                </c:pt>
                <c:pt idx="2">
                  <c:v>70.63170497416816</c:v>
                </c:pt>
                <c:pt idx="3">
                  <c:v>71.70888361151987</c:v>
                </c:pt>
                <c:pt idx="4">
                  <c:v>72.7609287820449</c:v>
                </c:pt>
                <c:pt idx="5">
                  <c:v>73.78863695374041</c:v>
                </c:pt>
                <c:pt idx="6">
                  <c:v>74.79277495265212</c:v>
                </c:pt>
                <c:pt idx="7">
                  <c:v>75.77408117272375</c:v>
                </c:pt>
                <c:pt idx="8">
                  <c:v>76.84562829114637</c:v>
                </c:pt>
                <c:pt idx="9">
                  <c:v>77.92625265881018</c:v>
                </c:pt>
                <c:pt idx="10">
                  <c:v>78.98866187086035</c:v>
                </c:pt>
                <c:pt idx="11">
                  <c:v>80.03335677881567</c:v>
                </c:pt>
                <c:pt idx="12">
                  <c:v>81.06082065005924</c:v>
                </c:pt>
                <c:pt idx="13">
                  <c:v>82.0715198534274</c:v>
                </c:pt>
                <c:pt idx="14">
                  <c:v>83.06590451598453</c:v>
                </c:pt>
                <c:pt idx="15">
                  <c:v>84.04440915230975</c:v>
                </c:pt>
                <c:pt idx="16">
                  <c:v>85.00745326756014</c:v>
                </c:pt>
                <c:pt idx="17">
                  <c:v>85.95544193549931</c:v>
                </c:pt>
                <c:pt idx="18">
                  <c:v>86.88876635261707</c:v>
                </c:pt>
                <c:pt idx="19">
                  <c:v>87.80780436941915</c:v>
                </c:pt>
                <c:pt idx="20">
                  <c:v>88.7129209998849</c:v>
                </c:pt>
                <c:pt idx="21">
                  <c:v>89.60446891007024</c:v>
                </c:pt>
                <c:pt idx="22">
                  <c:v>90.48278888675911</c:v>
                </c:pt>
                <c:pt idx="23">
                  <c:v>91.34821028703438</c:v>
                </c:pt>
                <c:pt idx="24">
                  <c:v>92.20105146959567</c:v>
                </c:pt>
                <c:pt idx="25">
                  <c:v>93.0416202086046</c:v>
                </c:pt>
                <c:pt idx="26">
                  <c:v>93.87021409081004</c:v>
                </c:pt>
                <c:pt idx="27">
                  <c:v>94.68712089666394</c:v>
                </c:pt>
                <c:pt idx="28">
                  <c:v>95.18610520365092</c:v>
                </c:pt>
                <c:pt idx="29">
                  <c:v>95.59975613905574</c:v>
                </c:pt>
                <c:pt idx="30">
                  <c:v>96.00526953606497</c:v>
                </c:pt>
                <c:pt idx="31">
                  <c:v>96.40292887493032</c:v>
                </c:pt>
                <c:pt idx="32">
                  <c:v>96.79300220491454</c:v>
                </c:pt>
                <c:pt idx="33">
                  <c:v>97.17574308547098</c:v>
                </c:pt>
                <c:pt idx="34">
                  <c:v>97.5513914700497</c:v>
                </c:pt>
                <c:pt idx="35">
                  <c:v>97.92017453602134</c:v>
                </c:pt>
                <c:pt idx="36">
                  <c:v>98.282307463868</c:v>
                </c:pt>
                <c:pt idx="37">
                  <c:v>98.63799416849231</c:v>
                </c:pt>
                <c:pt idx="38">
                  <c:v>98.98742798530353</c:v>
                </c:pt>
                <c:pt idx="39">
                  <c:v>99.33079231355032</c:v>
                </c:pt>
                <c:pt idx="40">
                  <c:v>99.66826121925712</c:v>
                </c:pt>
                <c:pt idx="41">
                  <c:v>100.0</c:v>
                </c:pt>
                <c:pt idx="42">
                  <c:v>100.32616571368118</c:v>
                </c:pt>
                <c:pt idx="43">
                  <c:v>100.64690767337407</c:v>
                </c:pt>
                <c:pt idx="44">
                  <c:v>100.96236791024107</c:v>
                </c:pt>
                <c:pt idx="45">
                  <c:v>101.2726816064465</c:v>
                </c:pt>
                <c:pt idx="46">
                  <c:v>101.57797749992706</c:v>
                </c:pt>
                <c:pt idx="47">
                  <c:v>101.87837826279026</c:v>
                </c:pt>
                <c:pt idx="48">
                  <c:v>102.52409734541853</c:v>
                </c:pt>
                <c:pt idx="49">
                  <c:v>103.25016035856068</c:v>
                </c:pt>
                <c:pt idx="50">
                  <c:v>103.9688575061529</c:v>
                </c:pt>
                <c:pt idx="51">
                  <c:v>104.68027949066598</c:v>
                </c:pt>
                <c:pt idx="52">
                  <c:v>105.3845152241224</c:v>
                </c:pt>
                <c:pt idx="53">
                  <c:v>106.0816518722002</c:v>
                </c:pt>
                <c:pt idx="54">
                  <c:v>106.77177489719621</c:v>
                </c:pt>
                <c:pt idx="55">
                  <c:v>107.45496809988941</c:v>
                </c:pt>
                <c:pt idx="56">
                  <c:v>108.131313660334</c:v>
                </c:pt>
                <c:pt idx="57">
                  <c:v>108.80089217762236</c:v>
                </c:pt>
                <c:pt idx="58">
                  <c:v>109.46378270864243</c:v>
                </c:pt>
                <c:pt idx="59">
                  <c:v>110.1200628058626</c:v>
                </c:pt>
                <c:pt idx="60">
                  <c:v>110.76980855417527</c:v>
                </c:pt>
                <c:pt idx="61">
                  <c:v>111.41309460682163</c:v>
                </c:pt>
                <c:pt idx="62">
                  <c:v>112.04999422043133</c:v>
                </c:pt>
                <c:pt idx="63">
                  <c:v>112.68057928919318</c:v>
                </c:pt>
                <c:pt idx="64">
                  <c:v>113.30492037819238</c:v>
                </c:pt>
                <c:pt idx="65">
                  <c:v>113.92308675592598</c:v>
                </c:pt>
                <c:pt idx="66">
                  <c:v>114.53514642602781</c:v>
                </c:pt>
                <c:pt idx="67">
                  <c:v>115.14116615822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E$2:$E$69</c:f>
              <c:numCache>
                <c:formatCode>General</c:formatCode>
                <c:ptCount val="68"/>
                <c:pt idx="0">
                  <c:v>0.23583931239166808</c:v>
                </c:pt>
                <c:pt idx="1">
                  <c:v>0.24087330901622878</c:v>
                </c:pt>
                <c:pt idx="2">
                  <c:v>0.24584141563261477</c:v>
                </c:pt>
                <c:pt idx="3">
                  <c:v>0.2507449174815575</c:v>
                </c:pt>
                <c:pt idx="4">
                  <c:v>0.2555850665934336</c:v>
                </c:pt>
                <c:pt idx="5">
                  <c:v>0.2603630828540662</c:v>
                </c:pt>
                <c:pt idx="6">
                  <c:v>0.2650801550297419</c:v>
                </c:pt>
                <c:pt idx="7">
                  <c:v>0.2697374417532545</c:v>
                </c:pt>
                <c:pt idx="8">
                  <c:v>0.27433607247269226</c:v>
                </c:pt>
                <c:pt idx="9">
                  <c:v>0.27887714836460287</c:v>
                </c:pt>
                <c:pt idx="10">
                  <c:v>0.2833617432130818</c:v>
                </c:pt>
                <c:pt idx="11">
                  <c:v>0.28779090425626414</c:v>
                </c:pt>
                <c:pt idx="12">
                  <c:v>0.2921656530016187</c:v>
                </c:pt>
                <c:pt idx="13">
                  <c:v>0.2964869860113767</c:v>
                </c:pt>
                <c:pt idx="14">
                  <c:v>0.300755875659366</c:v>
                </c:pt>
                <c:pt idx="15">
                  <c:v>0.3049732708604555</c:v>
                </c:pt>
                <c:pt idx="16">
                  <c:v>0.3091400977737622</c:v>
                </c:pt>
                <c:pt idx="17">
                  <c:v>0.31325726048071234</c:v>
                </c:pt>
                <c:pt idx="18">
                  <c:v>0.31732564163900195</c:v>
                </c:pt>
                <c:pt idx="19">
                  <c:v>0.32134610311344836</c:v>
                </c:pt>
                <c:pt idx="20">
                  <c:v>0.3253194865846811</c:v>
                </c:pt>
                <c:pt idx="21">
                  <c:v>0.3292466141365748</c:v>
                </c:pt>
                <c:pt idx="22">
                  <c:v>0.3331282888232843</c:v>
                </c:pt>
                <c:pt idx="23">
                  <c:v>0.3369652952167062</c:v>
                </c:pt>
                <c:pt idx="24">
                  <c:v>0.3407583999351462</c:v>
                </c:pt>
                <c:pt idx="25">
                  <c:v>0.34450835215394493</c:v>
                </c:pt>
                <c:pt idx="26">
                  <c:v>0.34821588409877563</c:v>
                </c:pt>
                <c:pt idx="27">
                  <c:v>0.3518817115222921</c:v>
                </c:pt>
                <c:pt idx="28">
                  <c:v>0.3555065341647849</c:v>
                </c:pt>
                <c:pt idx="29">
                  <c:v>0.35909103619946336</c:v>
                </c:pt>
                <c:pt idx="30">
                  <c:v>0.362635886662962</c:v>
                </c:pt>
                <c:pt idx="31">
                  <c:v>0.36614173987163656</c:v>
                </c:pt>
                <c:pt idx="32">
                  <c:v>0.3696092358241988</c:v>
                </c:pt>
                <c:pt idx="33">
                  <c:v>0.37303900059120526</c:v>
                </c:pt>
                <c:pt idx="34">
                  <c:v>0.37643164669190227</c:v>
                </c:pt>
                <c:pt idx="35">
                  <c:v>0.3797877734588995</c:v>
                </c:pt>
                <c:pt idx="36">
                  <c:v>0.38310796739113234</c:v>
                </c:pt>
                <c:pt idx="37">
                  <c:v>0.386392802495546</c:v>
                </c:pt>
                <c:pt idx="38">
                  <c:v>0.3896428406179212</c:v>
                </c:pt>
                <c:pt idx="39">
                  <c:v>0.392858631763243</c:v>
                </c:pt>
                <c:pt idx="40">
                  <c:v>0.3960407144059934</c:v>
                </c:pt>
                <c:pt idx="41">
                  <c:v>0.39918961579073786</c:v>
                </c:pt>
                <c:pt idx="42">
                  <c:v>0.4023058522233586</c:v>
                </c:pt>
                <c:pt idx="43">
                  <c:v>0.40538992935326895</c:v>
                </c:pt>
                <c:pt idx="44">
                  <c:v>0.40844234244693806</c:v>
                </c:pt>
                <c:pt idx="45">
                  <c:v>0.4114635766530313</c:v>
                </c:pt>
                <c:pt idx="46">
                  <c:v>0.41445410725946913</c:v>
                </c:pt>
                <c:pt idx="47">
                  <c:v>0.41741439994268714</c:v>
                </c:pt>
                <c:pt idx="48">
                  <c:v>0.4203449110093739</c:v>
                </c:pt>
                <c:pt idx="49">
                  <c:v>0.4232460876309486</c:v>
                </c:pt>
                <c:pt idx="50">
                  <c:v>0.42611836807103354</c:v>
                </c:pt>
                <c:pt idx="51">
                  <c:v>0.42896218190616214</c:v>
                </c:pt>
                <c:pt idx="52">
                  <c:v>0.43177795023995813</c:v>
                </c:pt>
                <c:pt idx="53">
                  <c:v>0.4345660859110085</c:v>
                </c:pt>
                <c:pt idx="54">
                  <c:v>0.4373269936946461</c:v>
                </c:pt>
                <c:pt idx="55">
                  <c:v>0.44006107049885096</c:v>
                </c:pt>
                <c:pt idx="56">
                  <c:v>0.4427687055544658</c:v>
                </c:pt>
                <c:pt idx="57">
                  <c:v>0.4454502805999207</c:v>
                </c:pt>
                <c:pt idx="58">
                  <c:v>0.448106170060649</c:v>
                </c:pt>
                <c:pt idx="59">
                  <c:v>0.4507367412233724</c:v>
                </c:pt>
                <c:pt idx="60">
                  <c:v>0.45334235440542475</c:v>
                </c:pt>
                <c:pt idx="61">
                  <c:v>0.45592336311928006</c:v>
                </c:pt>
                <c:pt idx="62">
                  <c:v>0.4584801142324414</c:v>
                </c:pt>
                <c:pt idx="63">
                  <c:v>0.4610129481228416</c:v>
                </c:pt>
                <c:pt idx="64">
                  <c:v>0.4635221988299048</c:v>
                </c:pt>
                <c:pt idx="65">
                  <c:v>0.4660081942014066</c:v>
                </c:pt>
                <c:pt idx="66">
                  <c:v>0.4684712560362709</c:v>
                </c:pt>
                <c:pt idx="67">
                  <c:v>0.4709117002234321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B$2:$B$31</c:f>
              <c:numCache>
                <c:formatCode>General</c:formatCode>
                <c:ptCount val="30"/>
                <c:pt idx="0">
                  <c:v>211.86639602859168</c:v>
                </c:pt>
                <c:pt idx="1">
                  <c:v>202.05625746693508</c:v>
                </c:pt>
                <c:pt idx="2">
                  <c:v>193.16173112651936</c:v>
                </c:pt>
                <c:pt idx="3">
                  <c:v>185.07499843355646</c:v>
                </c:pt>
                <c:pt idx="4">
                  <c:v>177.69921356936948</c:v>
                </c:pt>
                <c:pt idx="5">
                  <c:v>170.94865812894898</c:v>
                </c:pt>
                <c:pt idx="6">
                  <c:v>164.74827360889213</c:v>
                </c:pt>
                <c:pt idx="7">
                  <c:v>159.0328218113911</c:v>
                </c:pt>
                <c:pt idx="8">
                  <c:v>153.74586556191517</c:v>
                </c:pt>
                <c:pt idx="9">
                  <c:v>148.83870297544897</c:v>
                </c:pt>
                <c:pt idx="10">
                  <c:v>143.55615107426948</c:v>
                </c:pt>
                <c:pt idx="11">
                  <c:v>132.73162378455604</c:v>
                </c:pt>
                <c:pt idx="12">
                  <c:v>123.1151319599104</c:v>
                </c:pt>
                <c:pt idx="13">
                  <c:v>114.54359154329961</c:v>
                </c:pt>
                <c:pt idx="14">
                  <c:v>106.87805058034785</c:v>
                </c:pt>
                <c:pt idx="15">
                  <c:v>100.0</c:v>
                </c:pt>
                <c:pt idx="16">
                  <c:v>93.80825118512206</c:v>
                </c:pt>
                <c:pt idx="17">
                  <c:v>88.21629343821095</c:v>
                </c:pt>
                <c:pt idx="18">
                  <c:v>83.15005555594861</c:v>
                </c:pt>
                <c:pt idx="19">
                  <c:v>78.54601003877688</c:v>
                </c:pt>
                <c:pt idx="20">
                  <c:v>74.5127370020935</c:v>
                </c:pt>
                <c:pt idx="21">
                  <c:v>72.18467211215831</c:v>
                </c:pt>
                <c:pt idx="22">
                  <c:v>69.97296826731547</c:v>
                </c:pt>
                <c:pt idx="23">
                  <c:v>67.86981224219086</c:v>
                </c:pt>
                <c:pt idx="24">
                  <c:v>65.86802560662679</c:v>
                </c:pt>
                <c:pt idx="25">
                  <c:v>63.96100805505053</c:v>
                </c:pt>
                <c:pt idx="26">
                  <c:v>62.142685803840834</c:v>
                </c:pt>
                <c:pt idx="27">
                  <c:v>60.40746464844183</c:v>
                </c:pt>
                <c:pt idx="28">
                  <c:v>58.75018729369986</c:v>
                </c:pt>
                <c:pt idx="29">
                  <c:v>57.166094595075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C$2:$C$31</c:f>
              <c:numCache>
                <c:formatCode>General</c:formatCode>
                <c:ptCount val="30"/>
                <c:pt idx="0">
                  <c:v>174.55445982877944</c:v>
                </c:pt>
                <c:pt idx="1">
                  <c:v>168.8385220651092</c:v>
                </c:pt>
                <c:pt idx="2">
                  <c:v>163.66903782280406</c:v>
                </c:pt>
                <c:pt idx="3">
                  <c:v>158.98542495497344</c:v>
                </c:pt>
                <c:pt idx="4">
                  <c:v>154.73164362708332</c:v>
                </c:pt>
                <c:pt idx="5">
                  <c:v>150.8569645546094</c:v>
                </c:pt>
                <c:pt idx="6">
                  <c:v>147.3161945064176</c:v>
                </c:pt>
                <c:pt idx="7">
                  <c:v>144.0695340664547</c:v>
                </c:pt>
                <c:pt idx="8">
                  <c:v>141.082213181752</c:v>
                </c:pt>
                <c:pt idx="9">
                  <c:v>138.32401315190626</c:v>
                </c:pt>
                <c:pt idx="10">
                  <c:v>135.098492986492</c:v>
                </c:pt>
                <c:pt idx="11">
                  <c:v>126.47605889311025</c:v>
                </c:pt>
                <c:pt idx="12">
                  <c:v>118.76362137595595</c:v>
                </c:pt>
                <c:pt idx="13">
                  <c:v>111.84470363347201</c:v>
                </c:pt>
                <c:pt idx="14">
                  <c:v>105.61897792111041</c:v>
                </c:pt>
                <c:pt idx="15">
                  <c:v>100.0</c:v>
                </c:pt>
                <c:pt idx="16">
                  <c:v>94.91325609199689</c:v>
                </c:pt>
                <c:pt idx="17">
                  <c:v>90.29448008321019</c:v>
                </c:pt>
                <c:pt idx="18">
                  <c:v>86.08820207889298</c:v>
                </c:pt>
                <c:pt idx="19">
                  <c:v>82.24649727607304</c:v>
                </c:pt>
                <c:pt idx="20">
                  <c:v>78.90050542630624</c:v>
                </c:pt>
                <c:pt idx="21">
                  <c:v>77.28367073927247</c:v>
                </c:pt>
                <c:pt idx="22">
                  <c:v>75.73811352128438</c:v>
                </c:pt>
                <c:pt idx="23">
                  <c:v>74.25938020542429</c:v>
                </c:pt>
                <c:pt idx="24">
                  <c:v>72.84335294530973</c:v>
                </c:pt>
                <c:pt idx="25">
                  <c:v>71.48622343469536</c:v>
                </c:pt>
                <c:pt idx="26">
                  <c:v>70.18446847706373</c:v>
                </c:pt>
                <c:pt idx="27">
                  <c:v>68.93482725266442</c:v>
                </c:pt>
                <c:pt idx="28">
                  <c:v>67.73428021772075</c:v>
                </c:pt>
                <c:pt idx="29">
                  <c:v>66.580029562831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D$2:$D$31</c:f>
              <c:numCache>
                <c:formatCode>General</c:formatCode>
                <c:ptCount val="30"/>
                <c:pt idx="0">
                  <c:v>134.86104420176397</c:v>
                </c:pt>
                <c:pt idx="1">
                  <c:v>133.51249944647935</c:v>
                </c:pt>
                <c:pt idx="2">
                  <c:v>132.3157340050436</c:v>
                </c:pt>
                <c:pt idx="3">
                  <c:v>131.260837676124</c:v>
                </c:pt>
                <c:pt idx="4">
                  <c:v>130.33549823292202</c:v>
                </c:pt>
                <c:pt idx="5">
                  <c:v>129.52644799935612</c:v>
                </c:pt>
                <c:pt idx="6">
                  <c:v>128.8204464217912</c:v>
                </c:pt>
                <c:pt idx="7">
                  <c:v>128.2048947148028</c:v>
                </c:pt>
                <c:pt idx="8">
                  <c:v>127.66817923377478</c:v>
                </c:pt>
                <c:pt idx="9">
                  <c:v>127.19982696129068</c:v>
                </c:pt>
                <c:pt idx="10">
                  <c:v>126.16375642116684</c:v>
                </c:pt>
                <c:pt idx="11">
                  <c:v>119.86685544668767</c:v>
                </c:pt>
                <c:pt idx="12">
                  <c:v>114.16560128445603</c:v>
                </c:pt>
                <c:pt idx="13">
                  <c:v>108.99262814898523</c:v>
                </c:pt>
                <c:pt idx="14">
                  <c:v>104.28831099547138</c:v>
                </c:pt>
                <c:pt idx="15">
                  <c:v>100.0</c:v>
                </c:pt>
                <c:pt idx="16">
                  <c:v>96.08129920726485</c:v>
                </c:pt>
                <c:pt idx="17">
                  <c:v>92.49139437628914</c:v>
                </c:pt>
                <c:pt idx="18">
                  <c:v>89.19443012646049</c:v>
                </c:pt>
                <c:pt idx="19">
                  <c:v>86.15893749495646</c:v>
                </c:pt>
                <c:pt idx="20">
                  <c:v>83.54024936520197</c:v>
                </c:pt>
                <c:pt idx="21">
                  <c:v>82.67922184103709</c:v>
                </c:pt>
                <c:pt idx="22">
                  <c:v>81.84147029990599</c:v>
                </c:pt>
                <c:pt idx="23">
                  <c:v>81.0261255115535</c:v>
                </c:pt>
                <c:pt idx="24">
                  <c:v>80.23233419275752</c:v>
                </c:pt>
                <c:pt idx="25">
                  <c:v>79.45926551290312</c:v>
                </c:pt>
                <c:pt idx="26">
                  <c:v>78.70611577932809</c:v>
                </c:pt>
                <c:pt idx="27">
                  <c:v>77.97211163509151</c:v>
                </c:pt>
                <c:pt idx="28">
                  <c:v>77.25651205125352</c:v>
                </c:pt>
                <c:pt idx="29">
                  <c:v>76.558609353201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E$2:$E$31</c:f>
              <c:numCache>
                <c:formatCode>General</c:formatCode>
                <c:ptCount val="30"/>
                <c:pt idx="0">
                  <c:v>0.37528294463326317</c:v>
                </c:pt>
                <c:pt idx="1">
                  <c:v>0.384081776398992</c:v>
                </c:pt>
                <c:pt idx="2">
                  <c:v>0.39263619617122814</c:v>
                </c:pt>
                <c:pt idx="3">
                  <c:v>0.40095624827847154</c:v>
                </c:pt>
                <c:pt idx="4">
                  <c:v>0.40905143411254624</c:v>
                </c:pt>
                <c:pt idx="5">
                  <c:v>0.416930748324379</c:v>
                </c:pt>
                <c:pt idx="6">
                  <c:v>0.4246027121622161</c:v>
                </c:pt>
                <c:pt idx="7">
                  <c:v>0.4320754042120574</c:v>
                </c:pt>
                <c:pt idx="8">
                  <c:v>0.4393564887734414</c:v>
                </c:pt>
                <c:pt idx="9">
                  <c:v>0.4464532420801067</c:v>
                </c:pt>
                <c:pt idx="10">
                  <c:v>0.4533725765541052</c:v>
                </c:pt>
                <c:pt idx="11">
                  <c:v>0.460121063263314</c:v>
                </c:pt>
                <c:pt idx="12">
                  <c:v>0.46670495273571255</c:v>
                </c:pt>
                <c:pt idx="13">
                  <c:v>0.4731301942690172</c:v>
                </c:pt>
                <c:pt idx="14">
                  <c:v>0.47940245386105274</c:v>
                </c:pt>
                <c:pt idx="15">
                  <c:v>0.4855271308744521</c:v>
                </c:pt>
                <c:pt idx="16">
                  <c:v>0.4915093735387027</c:v>
                </c:pt>
                <c:pt idx="17">
                  <c:v>0.4973540933830854</c:v>
                </c:pt>
                <c:pt idx="18">
                  <c:v>0.5030659786855504</c:v>
                </c:pt>
                <c:pt idx="19">
                  <c:v>0.5086495070149262</c:v>
                </c:pt>
                <c:pt idx="20">
                  <c:v>0.5141089569369824</c:v>
                </c:pt>
                <c:pt idx="21">
                  <c:v>0.5194484189486641</c:v>
                </c:pt>
                <c:pt idx="22">
                  <c:v>0.524671805699222</c:v>
                </c:pt>
                <c:pt idx="23">
                  <c:v>0.5297828615519187</c:v>
                </c:pt>
                <c:pt idx="24">
                  <c:v>0.5347851715354088</c:v>
                </c:pt>
                <c:pt idx="25">
                  <c:v>0.5396821697297729</c:v>
                </c:pt>
                <c:pt idx="26">
                  <c:v>0.5444771471284212</c:v>
                </c:pt>
                <c:pt idx="27">
                  <c:v>0.5491732590136952</c:v>
                </c:pt>
                <c:pt idx="28">
                  <c:v>0.5537735318809024</c:v>
                </c:pt>
                <c:pt idx="29">
                  <c:v>0.55828086994271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B$2:$B$27</c:f>
              <c:numCache>
                <c:formatCode>General</c:formatCode>
                <c:ptCount val="26"/>
                <c:pt idx="0">
                  <c:v>182.43991909334727</c:v>
                </c:pt>
                <c:pt idx="1">
                  <c:v>174.80235868203178</c:v>
                </c:pt>
                <c:pt idx="2">
                  <c:v>167.64566948902393</c:v>
                </c:pt>
                <c:pt idx="3">
                  <c:v>160.93285287626085</c:v>
                </c:pt>
                <c:pt idx="4">
                  <c:v>154.62982735798826</c:v>
                </c:pt>
                <c:pt idx="5">
                  <c:v>148.70530922862045</c:v>
                </c:pt>
                <c:pt idx="6">
                  <c:v>142.857374699213</c:v>
                </c:pt>
                <c:pt idx="7">
                  <c:v>135.07421906024726</c:v>
                </c:pt>
                <c:pt idx="8">
                  <c:v>127.93143643893343</c:v>
                </c:pt>
                <c:pt idx="9">
                  <c:v>121.3733886105497</c:v>
                </c:pt>
                <c:pt idx="10">
                  <c:v>115.34799351273443</c:v>
                </c:pt>
                <c:pt idx="11">
                  <c:v>109.80680924926831</c:v>
                </c:pt>
                <c:pt idx="12">
                  <c:v>104.70478338677125</c:v>
                </c:pt>
                <c:pt idx="13">
                  <c:v>100.0</c:v>
                </c:pt>
                <c:pt idx="14">
                  <c:v>95.65356999315975</c:v>
                </c:pt>
                <c:pt idx="15">
                  <c:v>91.62965879912926</c:v>
                </c:pt>
                <c:pt idx="16">
                  <c:v>87.86577886184035</c:v>
                </c:pt>
                <c:pt idx="17">
                  <c:v>84.12228734676931</c:v>
                </c:pt>
                <c:pt idx="18">
                  <c:v>80.66578759776878</c:v>
                </c:pt>
                <c:pt idx="19">
                  <c:v>77.47278041681457</c:v>
                </c:pt>
                <c:pt idx="20">
                  <c:v>74.51998135828639</c:v>
                </c:pt>
                <c:pt idx="21">
                  <c:v>71.78502027355191</c:v>
                </c:pt>
                <c:pt idx="22">
                  <c:v>69.24691254246534</c:v>
                </c:pt>
                <c:pt idx="23">
                  <c:v>66.88631448421388</c:v>
                </c:pt>
                <c:pt idx="24">
                  <c:v>64.68561523470125</c:v>
                </c:pt>
                <c:pt idx="25">
                  <c:v>62.6289243155488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C$2:$C$27</c:f>
              <c:numCache>
                <c:formatCode>General</c:formatCode>
                <c:ptCount val="26"/>
                <c:pt idx="0">
                  <c:v>148.30952481222116</c:v>
                </c:pt>
                <c:pt idx="1">
                  <c:v>144.5938540021018</c:v>
                </c:pt>
                <c:pt idx="2">
                  <c:v>141.0686779911484</c:v>
                </c:pt>
                <c:pt idx="3">
                  <c:v>137.72226645922456</c:v>
                </c:pt>
                <c:pt idx="4">
                  <c:v>134.5434157377138</c:v>
                </c:pt>
                <c:pt idx="5">
                  <c:v>131.5215358412321</c:v>
                </c:pt>
                <c:pt idx="6">
                  <c:v>128.40109855499574</c:v>
                </c:pt>
                <c:pt idx="7">
                  <c:v>123.34890244176589</c:v>
                </c:pt>
                <c:pt idx="8">
                  <c:v>118.67014484692278</c:v>
                </c:pt>
                <c:pt idx="9">
                  <c:v>114.33924928106525</c:v>
                </c:pt>
                <c:pt idx="10">
                  <c:v>110.33100417769963</c:v>
                </c:pt>
                <c:pt idx="11">
                  <c:v>106.62086662716676</c:v>
                </c:pt>
                <c:pt idx="12">
                  <c:v>103.18495109355707</c:v>
                </c:pt>
                <c:pt idx="13">
                  <c:v>100.0</c:v>
                </c:pt>
                <c:pt idx="14">
                  <c:v>97.0434817965075</c:v>
                </c:pt>
                <c:pt idx="15">
                  <c:v>94.2938236471029</c:v>
                </c:pt>
                <c:pt idx="16">
                  <c:v>91.69939995393233</c:v>
                </c:pt>
                <c:pt idx="17">
                  <c:v>89.01640797487573</c:v>
                </c:pt>
                <c:pt idx="18">
                  <c:v>86.53368357898921</c:v>
                </c:pt>
                <c:pt idx="19">
                  <c:v>84.23790492609167</c:v>
                </c:pt>
                <c:pt idx="20">
                  <c:v>82.114677271529</c:v>
                </c:pt>
                <c:pt idx="21">
                  <c:v>80.14932022535439</c:v>
                </c:pt>
                <c:pt idx="22">
                  <c:v>78.32745844192722</c:v>
                </c:pt>
                <c:pt idx="23">
                  <c:v>76.63540725483189</c:v>
                </c:pt>
                <c:pt idx="24">
                  <c:v>75.06039210663837</c:v>
                </c:pt>
                <c:pt idx="25">
                  <c:v>73.5906546491477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D$2:$D$27</c:f>
              <c:numCache>
                <c:formatCode>General</c:formatCode>
                <c:ptCount val="26"/>
                <c:pt idx="0">
                  <c:v>100.5994067585259</c:v>
                </c:pt>
                <c:pt idx="1">
                  <c:v>102.41984673567211</c:v>
                </c:pt>
                <c:pt idx="2">
                  <c:v>104.0115350936582</c:v>
                </c:pt>
                <c:pt idx="3">
                  <c:v>105.40002028318102</c:v>
                </c:pt>
                <c:pt idx="4">
                  <c:v>106.60775512856351</c:v>
                </c:pt>
                <c:pt idx="5">
                  <c:v>107.6545137173043</c:v>
                </c:pt>
                <c:pt idx="6">
                  <c:v>108.35048457423247</c:v>
                </c:pt>
                <c:pt idx="7">
                  <c:v>107.10831703097861</c:v>
                </c:pt>
                <c:pt idx="8">
                  <c:v>105.85889215669792</c:v>
                </c:pt>
                <c:pt idx="9">
                  <c:v>104.6205430591272</c:v>
                </c:pt>
                <c:pt idx="10">
                  <c:v>103.40711127668378</c:v>
                </c:pt>
                <c:pt idx="11">
                  <c:v>102.22863854436139</c:v>
                </c:pt>
                <c:pt idx="12">
                  <c:v>101.09175279445151</c:v>
                </c:pt>
                <c:pt idx="13">
                  <c:v>100.0</c:v>
                </c:pt>
                <c:pt idx="14">
                  <c:v>98.954271866285</c:v>
                </c:pt>
                <c:pt idx="15">
                  <c:v>97.9533576731752</c:v>
                </c:pt>
                <c:pt idx="16">
                  <c:v>96.96168843093282</c:v>
                </c:pt>
                <c:pt idx="17">
                  <c:v>95.733462609205</c:v>
                </c:pt>
                <c:pt idx="18">
                  <c:v>94.58339235837079</c:v>
                </c:pt>
                <c:pt idx="19">
                  <c:v>93.51282271463688</c:v>
                </c:pt>
                <c:pt idx="20">
                  <c:v>92.52012180787948</c:v>
                </c:pt>
                <c:pt idx="21">
                  <c:v>91.60161057090833</c:v>
                </c:pt>
                <c:pt idx="22">
                  <c:v>90.75233806480153</c:v>
                </c:pt>
                <c:pt idx="23">
                  <c:v>89.96666407495829</c:v>
                </c:pt>
                <c:pt idx="24">
                  <c:v>89.2386689809622</c:v>
                </c:pt>
                <c:pt idx="25">
                  <c:v>88.56243514822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E$2:$E$27</c:f>
              <c:numCache>
                <c:formatCode>General</c:formatCode>
                <c:ptCount val="26"/>
                <c:pt idx="0">
                  <c:v>0.29592160423001407</c:v>
                </c:pt>
                <c:pt idx="1">
                  <c:v>0.30872302960765025</c:v>
                </c:pt>
                <c:pt idx="2">
                  <c:v>0.3210672612217993</c:v>
                </c:pt>
                <c:pt idx="3">
                  <c:v>0.33297836190211844</c:v>
                </c:pt>
                <c:pt idx="4">
                  <c:v>0.34447873497277165</c:v>
                </c:pt>
                <c:pt idx="5">
                  <c:v>0.35558926488848747</c:v>
                </c:pt>
                <c:pt idx="6">
                  <c:v>0.36632944380701266</c:v>
                </c:pt>
                <c:pt idx="7">
                  <c:v>0.37671748571181574</c:v>
                </c:pt>
                <c:pt idx="8">
                  <c:v>0.3867704294906574</c:v>
                </c:pt>
                <c:pt idx="9">
                  <c:v>0.3965042321971548</c:v>
                </c:pt>
                <c:pt idx="10">
                  <c:v>0.4059338535690743</c:v>
                </c:pt>
                <c:pt idx="11">
                  <c:v>0.4150733327449348</c:v>
                </c:pt>
                <c:pt idx="12">
                  <c:v>0.423935858006375</c:v>
                </c:pt>
                <c:pt idx="13">
                  <c:v>0.4325338302749367</c:v>
                </c:pt>
                <c:pt idx="14">
                  <c:v>0.4408789210061877</c:v>
                </c:pt>
                <c:pt idx="15">
                  <c:v>0.4489821250495762</c:v>
                </c:pt>
                <c:pt idx="16">
                  <c:v>0.4568538089774393</c:v>
                </c:pt>
                <c:pt idx="17">
                  <c:v>0.4645037553298699</c:v>
                </c:pt>
                <c:pt idx="18">
                  <c:v>0.4719412031725105</c:v>
                </c:pt>
                <c:pt idx="19">
                  <c:v>0.4791748853208324</c:v>
                </c:pt>
                <c:pt idx="20">
                  <c:v>0.4862130625462264</c:v>
                </c:pt>
                <c:pt idx="21">
                  <c:v>0.4930635550456101</c:v>
                </c:pt>
                <c:pt idx="22">
                  <c:v>0.4997337714265889</c:v>
                </c:pt>
                <c:pt idx="23">
                  <c:v>0.5062307354340359</c:v>
                </c:pt>
                <c:pt idx="24">
                  <c:v>0.5125611106207791</c:v>
                </c:pt>
                <c:pt idx="25">
                  <c:v>0.51873122314456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B$2:$B$61</c:f>
              <c:numCache>
                <c:formatCode>General</c:formatCode>
                <c:ptCount val="60"/>
                <c:pt idx="0">
                  <c:v>175.7970369467087</c:v>
                </c:pt>
                <c:pt idx="1">
                  <c:v>172.94102659923198</c:v>
                </c:pt>
                <c:pt idx="2">
                  <c:v>170.16312986192096</c:v>
                </c:pt>
                <c:pt idx="3">
                  <c:v>167.4600074042188</c:v>
                </c:pt>
                <c:pt idx="4">
                  <c:v>164.82852966646337</c:v>
                </c:pt>
                <c:pt idx="5">
                  <c:v>162.2657596967951</c:v>
                </c:pt>
                <c:pt idx="6">
                  <c:v>159.7689375858963</c:v>
                </c:pt>
                <c:pt idx="7">
                  <c:v>157.33546635634343</c:v>
                </c:pt>
                <c:pt idx="8">
                  <c:v>153.94605771692366</c:v>
                </c:pt>
                <c:pt idx="9">
                  <c:v>150.43107488749393</c:v>
                </c:pt>
                <c:pt idx="10">
                  <c:v>147.04615630762464</c:v>
                </c:pt>
                <c:pt idx="11">
                  <c:v>143.78503143823627</c:v>
                </c:pt>
                <c:pt idx="12">
                  <c:v>140.6417988768723</c:v>
                </c:pt>
                <c:pt idx="13">
                  <c:v>137.61090109414377</c:v>
                </c:pt>
                <c:pt idx="14">
                  <c:v>134.6871010583363</c:v>
                </c:pt>
                <c:pt idx="15">
                  <c:v>131.86546060711004</c:v>
                </c:pt>
                <c:pt idx="16">
                  <c:v>129.14132043362244</c:v>
                </c:pt>
                <c:pt idx="17">
                  <c:v>126.51028156301003</c:v>
                </c:pt>
                <c:pt idx="18">
                  <c:v>123.96818820377922</c:v>
                </c:pt>
                <c:pt idx="19">
                  <c:v>121.51111186698544</c:v>
                </c:pt>
                <c:pt idx="20">
                  <c:v>119.13533665409422</c:v>
                </c:pt>
                <c:pt idx="21">
                  <c:v>116.83734562197152</c:v>
                </c:pt>
                <c:pt idx="22">
                  <c:v>114.6138081405651</c:v>
                </c:pt>
                <c:pt idx="23">
                  <c:v>112.46156816546589</c:v>
                </c:pt>
                <c:pt idx="24">
                  <c:v>110.37763335371193</c:v>
                </c:pt>
                <c:pt idx="25">
                  <c:v>108.35916495691067</c:v>
                </c:pt>
                <c:pt idx="26">
                  <c:v>106.40346843104946</c:v>
                </c:pt>
                <c:pt idx="27">
                  <c:v>104.50798470724992</c:v>
                </c:pt>
                <c:pt idx="28">
                  <c:v>102.25535462540245</c:v>
                </c:pt>
                <c:pt idx="29">
                  <c:v>100.0</c:v>
                </c:pt>
                <c:pt idx="30">
                  <c:v>97.84480900136218</c:v>
                </c:pt>
                <c:pt idx="31">
                  <c:v>95.78402401852102</c:v>
                </c:pt>
                <c:pt idx="32">
                  <c:v>93.81227985930994</c:v>
                </c:pt>
                <c:pt idx="33">
                  <c:v>91.92457192539952</c:v>
                </c:pt>
                <c:pt idx="34">
                  <c:v>90.11622749324798</c:v>
                </c:pt>
                <c:pt idx="35">
                  <c:v>88.38287974214431</c:v>
                </c:pt>
                <c:pt idx="36">
                  <c:v>86.7204442176574</c:v>
                </c:pt>
                <c:pt idx="37">
                  <c:v>85.12509745917298</c:v>
                </c:pt>
                <c:pt idx="38">
                  <c:v>83.59325755486672</c:v>
                </c:pt>
                <c:pt idx="39">
                  <c:v>82.1215664172381</c:v>
                </c:pt>
                <c:pt idx="40">
                  <c:v>80.99130553049085</c:v>
                </c:pt>
                <c:pt idx="41">
                  <c:v>79.95578181943924</c:v>
                </c:pt>
                <c:pt idx="42">
                  <c:v>78.9398598980606</c:v>
                </c:pt>
                <c:pt idx="43">
                  <c:v>77.94306570822886</c:v>
                </c:pt>
                <c:pt idx="44">
                  <c:v>76.96493877867073</c:v>
                </c:pt>
                <c:pt idx="45">
                  <c:v>76.00503176968427</c:v>
                </c:pt>
                <c:pt idx="46">
                  <c:v>75.06291003575151</c:v>
                </c:pt>
                <c:pt idx="47">
                  <c:v>74.13815120521919</c:v>
                </c:pt>
                <c:pt idx="48">
                  <c:v>73.42137693754745</c:v>
                </c:pt>
                <c:pt idx="49">
                  <c:v>72.76396322224447</c:v>
                </c:pt>
                <c:pt idx="50">
                  <c:v>72.11733783134862</c:v>
                </c:pt>
                <c:pt idx="51">
                  <c:v>71.481252999238</c:v>
                </c:pt>
                <c:pt idx="52">
                  <c:v>70.85546801712617</c:v>
                </c:pt>
                <c:pt idx="53">
                  <c:v>70.23974899436635</c:v>
                </c:pt>
                <c:pt idx="54">
                  <c:v>69.63386862890812</c:v>
                </c:pt>
                <c:pt idx="55">
                  <c:v>69.037605986537</c:v>
                </c:pt>
                <c:pt idx="56">
                  <c:v>68.4507462885293</c:v>
                </c:pt>
                <c:pt idx="57">
                  <c:v>67.87308070738457</c:v>
                </c:pt>
                <c:pt idx="58">
                  <c:v>67.30440617029846</c:v>
                </c:pt>
                <c:pt idx="59">
                  <c:v>66.74452517006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C$2:$C$61</c:f>
              <c:numCache>
                <c:formatCode>General</c:formatCode>
                <c:ptCount val="60"/>
                <c:pt idx="0">
                  <c:v>139.57412256050588</c:v>
                </c:pt>
                <c:pt idx="1">
                  <c:v>138.53485993373405</c:v>
                </c:pt>
                <c:pt idx="2">
                  <c:v>137.51828543950907</c:v>
                </c:pt>
                <c:pt idx="3">
                  <c:v>136.52332946827758</c:v>
                </c:pt>
                <c:pt idx="4">
                  <c:v>135.54900111901742</c:v>
                </c:pt>
                <c:pt idx="5">
                  <c:v>134.59438129861857</c:v>
                </c:pt>
                <c:pt idx="6">
                  <c:v>133.65861644003874</c:v>
                </c:pt>
                <c:pt idx="7">
                  <c:v>132.7409127961742</c:v>
                </c:pt>
                <c:pt idx="8">
                  <c:v>130.97347187488694</c:v>
                </c:pt>
                <c:pt idx="9">
                  <c:v>129.04998543416468</c:v>
                </c:pt>
                <c:pt idx="10">
                  <c:v>127.18938369327546</c:v>
                </c:pt>
                <c:pt idx="11">
                  <c:v>125.38893787339778</c:v>
                </c:pt>
                <c:pt idx="12">
                  <c:v>123.64606868150778</c:v>
                </c:pt>
                <c:pt idx="13">
                  <c:v>121.95833671553783</c:v>
                </c:pt>
                <c:pt idx="14">
                  <c:v>120.3234335132035</c:v>
                </c:pt>
                <c:pt idx="15">
                  <c:v>118.73917320759084</c:v>
                </c:pt>
                <c:pt idx="16">
                  <c:v>117.2034847526412</c:v>
                </c:pt>
                <c:pt idx="17">
                  <c:v>115.71440468238983</c:v>
                </c:pt>
                <c:pt idx="18">
                  <c:v>114.27007036904482</c:v>
                </c:pt>
                <c:pt idx="19">
                  <c:v>112.8687137464704</c:v>
                </c:pt>
                <c:pt idx="20">
                  <c:v>111.50865546731848</c:v>
                </c:pt>
                <c:pt idx="21">
                  <c:v>110.18829946377353</c:v>
                </c:pt>
                <c:pt idx="22">
                  <c:v>108.90612788364295</c:v>
                </c:pt>
                <c:pt idx="23">
                  <c:v>107.66069637524858</c:v>
                </c:pt>
                <c:pt idx="24">
                  <c:v>106.4506296962704</c:v>
                </c:pt>
                <c:pt idx="25">
                  <c:v>105.27461762330752</c:v>
                </c:pt>
                <c:pt idx="26">
                  <c:v>104.131411140489</c:v>
                </c:pt>
                <c:pt idx="27">
                  <c:v>103.01981888693656</c:v>
                </c:pt>
                <c:pt idx="28">
                  <c:v>101.52721363035822</c:v>
                </c:pt>
                <c:pt idx="29">
                  <c:v>100.0</c:v>
                </c:pt>
                <c:pt idx="30">
                  <c:v>98.54160928307843</c:v>
                </c:pt>
                <c:pt idx="31">
                  <c:v>97.14833375103721</c:v>
                </c:pt>
                <c:pt idx="32">
                  <c:v>95.81670334763938</c:v>
                </c:pt>
                <c:pt idx="33">
                  <c:v>94.54346683234598</c:v>
                </c:pt>
                <c:pt idx="34">
                  <c:v>93.32557479173578</c:v>
                </c:pt>
                <c:pt idx="35">
                  <c:v>92.16016429824542</c:v>
                </c:pt>
                <c:pt idx="36">
                  <c:v>91.0445450247396</c:v>
                </c:pt>
                <c:pt idx="37">
                  <c:v>89.97618664848667</c:v>
                </c:pt>
                <c:pt idx="38">
                  <c:v>88.9527073996832</c:v>
                </c:pt>
                <c:pt idx="39">
                  <c:v>87.97186362820092</c:v>
                </c:pt>
                <c:pt idx="40">
                  <c:v>87.33797335586475</c:v>
                </c:pt>
                <c:pt idx="41">
                  <c:v>86.79077071191178</c:v>
                </c:pt>
                <c:pt idx="42">
                  <c:v>86.25025775170974</c:v>
                </c:pt>
                <c:pt idx="43">
                  <c:v>85.71633065950462</c:v>
                </c:pt>
                <c:pt idx="44">
                  <c:v>85.18888721653072</c:v>
                </c:pt>
                <c:pt idx="45">
                  <c:v>84.66782677457229</c:v>
                </c:pt>
                <c:pt idx="46">
                  <c:v>84.1530502302881</c:v>
                </c:pt>
                <c:pt idx="47">
                  <c:v>83.64446000025025</c:v>
                </c:pt>
                <c:pt idx="48">
                  <c:v>83.35893899895869</c:v>
                </c:pt>
                <c:pt idx="49">
                  <c:v>83.13105335547402</c:v>
                </c:pt>
                <c:pt idx="50">
                  <c:v>82.90620892649318</c:v>
                </c:pt>
                <c:pt idx="51">
                  <c:v>82.68434934645988</c:v>
                </c:pt>
                <c:pt idx="52">
                  <c:v>82.46541941874686</c:v>
                </c:pt>
                <c:pt idx="53">
                  <c:v>82.24936508673466</c:v>
                </c:pt>
                <c:pt idx="54">
                  <c:v>82.03613340550926</c:v>
                </c:pt>
                <c:pt idx="55">
                  <c:v>81.82567251419403</c:v>
                </c:pt>
                <c:pt idx="56">
                  <c:v>81.61793160891618</c:v>
                </c:pt>
                <c:pt idx="57">
                  <c:v>81.41286091641764</c:v>
                </c:pt>
                <c:pt idx="58">
                  <c:v>81.21041166830712</c:v>
                </c:pt>
                <c:pt idx="59">
                  <c:v>81.010536075956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D$2:$D$61</c:f>
              <c:numCache>
                <c:formatCode>General</c:formatCode>
                <c:ptCount val="60"/>
                <c:pt idx="0">
                  <c:v>88.11528318746105</c:v>
                </c:pt>
                <c:pt idx="1">
                  <c:v>89.65814506595736</c:v>
                </c:pt>
                <c:pt idx="2">
                  <c:v>91.14460674865316</c:v>
                </c:pt>
                <c:pt idx="3">
                  <c:v>92.57685255000045</c:v>
                </c:pt>
                <c:pt idx="4">
                  <c:v>93.95695662911164</c:v>
                </c:pt>
                <c:pt idx="5">
                  <c:v>95.28689095022447</c:v>
                </c:pt>
                <c:pt idx="6">
                  <c:v>96.56853243782467</c:v>
                </c:pt>
                <c:pt idx="7">
                  <c:v>97.8036694297635</c:v>
                </c:pt>
                <c:pt idx="8">
                  <c:v>98.3444248678354</c:v>
                </c:pt>
                <c:pt idx="9">
                  <c:v>98.68621284182801</c:v>
                </c:pt>
                <c:pt idx="10">
                  <c:v>98.99465548397252</c:v>
                </c:pt>
                <c:pt idx="11">
                  <c:v>99.27213435622782</c:v>
                </c:pt>
                <c:pt idx="12">
                  <c:v>99.52086084426368</c:v>
                </c:pt>
                <c:pt idx="13">
                  <c:v>99.74288958962339</c:v>
                </c:pt>
                <c:pt idx="14">
                  <c:v>99.9401307159058</c:v>
                </c:pt>
                <c:pt idx="15">
                  <c:v>100.11436096919044</c:v>
                </c:pt>
                <c:pt idx="16">
                  <c:v>100.26723388003028</c:v>
                </c:pt>
                <c:pt idx="17">
                  <c:v>100.40028904291853</c:v>
                </c:pt>
                <c:pt idx="18">
                  <c:v>100.51496059904888</c:v>
                </c:pt>
                <c:pt idx="19">
                  <c:v>100.6125849991988</c:v>
                </c:pt>
                <c:pt idx="20">
                  <c:v>100.69440811560403</c:v>
                </c:pt>
                <c:pt idx="21">
                  <c:v>100.76159176456602</c:v>
                </c:pt>
                <c:pt idx="22">
                  <c:v>100.81521969519831</c:v>
                </c:pt>
                <c:pt idx="23">
                  <c:v>100.85630309404326</c:v>
                </c:pt>
                <c:pt idx="24">
                  <c:v>100.8857856502264</c:v>
                </c:pt>
                <c:pt idx="25">
                  <c:v>100.90454822127619</c:v>
                </c:pt>
                <c:pt idx="26">
                  <c:v>100.91341313569625</c:v>
                </c:pt>
                <c:pt idx="27">
                  <c:v>100.91314816473923</c:v>
                </c:pt>
                <c:pt idx="28">
                  <c:v>100.49667902513846</c:v>
                </c:pt>
                <c:pt idx="29">
                  <c:v>100.0</c:v>
                </c:pt>
                <c:pt idx="30">
                  <c:v>99.52762824181713</c:v>
                </c:pt>
                <c:pt idx="31">
                  <c:v>99.07877619171651</c:v>
                </c:pt>
                <c:pt idx="32">
                  <c:v>98.65267285969882</c:v>
                </c:pt>
                <c:pt idx="33">
                  <c:v>98.24856355604373</c:v>
                </c:pt>
                <c:pt idx="34">
                  <c:v>97.86570971160177</c:v>
                </c:pt>
                <c:pt idx="35">
                  <c:v>97.5033887650499</c:v>
                </c:pt>
                <c:pt idx="36">
                  <c:v>97.16089409862882</c:v>
                </c:pt>
                <c:pt idx="37">
                  <c:v>96.83753500691518</c:v>
                </c:pt>
                <c:pt idx="38">
                  <c:v>96.53263668588559</c:v>
                </c:pt>
                <c:pt idx="39">
                  <c:v>96.24554023186398</c:v>
                </c:pt>
                <c:pt idx="40">
                  <c:v>96.31384553154692</c:v>
                </c:pt>
                <c:pt idx="41">
                  <c:v>96.45756206568613</c:v>
                </c:pt>
                <c:pt idx="42">
                  <c:v>96.5896434032291</c:v>
                </c:pt>
                <c:pt idx="43">
                  <c:v>96.71051272576456</c:v>
                </c:pt>
                <c:pt idx="44">
                  <c:v>96.82057769387127</c:v>
                </c:pt>
                <c:pt idx="45">
                  <c:v>96.920231034943</c:v>
                </c:pt>
                <c:pt idx="46">
                  <c:v>97.00985110715857</c:v>
                </c:pt>
                <c:pt idx="47">
                  <c:v>97.08980244066706</c:v>
                </c:pt>
                <c:pt idx="48">
                  <c:v>97.41389359338939</c:v>
                </c:pt>
                <c:pt idx="49">
                  <c:v>97.7931085743393</c:v>
                </c:pt>
                <c:pt idx="50">
                  <c:v>98.16439483053205</c:v>
                </c:pt>
                <c:pt idx="51">
                  <c:v>98.52796748871107</c:v>
                </c:pt>
                <c:pt idx="52">
                  <c:v>98.88403447880808</c:v>
                </c:pt>
                <c:pt idx="53">
                  <c:v>99.23279680356868</c:v>
                </c:pt>
                <c:pt idx="54">
                  <c:v>99.57444879663326</c:v>
                </c:pt>
                <c:pt idx="55">
                  <c:v>99.90917836964029</c:v>
                </c:pt>
                <c:pt idx="56">
                  <c:v>100.23716724887244</c:v>
                </c:pt>
                <c:pt idx="57">
                  <c:v>100.55859120195794</c:v>
                </c:pt>
                <c:pt idx="58">
                  <c:v>100.87362025509235</c:v>
                </c:pt>
                <c:pt idx="59">
                  <c:v>101.182418901244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E$2:$E$61</c:f>
              <c:numCache>
                <c:formatCode>General</c:formatCode>
                <c:ptCount val="60"/>
                <c:pt idx="0">
                  <c:v>0.2630269512570859</c:v>
                </c:pt>
                <c:pt idx="1">
                  <c:v>0.26961883899181677</c:v>
                </c:pt>
                <c:pt idx="2">
                  <c:v>0.27609384928444264</c:v>
                </c:pt>
                <c:pt idx="3">
                  <c:v>0.28245506326261105</c:v>
                </c:pt>
                <c:pt idx="4">
                  <c:v>0.28870545469760556</c:v>
                </c:pt>
                <c:pt idx="5">
                  <c:v>0.2948478946397679</c:v>
                </c:pt>
                <c:pt idx="6">
                  <c:v>0.3008851558157973</c:v>
                </c:pt>
                <c:pt idx="7">
                  <c:v>0.30681991680208104</c:v>
                </c:pt>
                <c:pt idx="8">
                  <c:v>0.3126547659872485</c:v>
                </c:pt>
                <c:pt idx="9">
                  <c:v>0.31839220533626983</c:v>
                </c:pt>
                <c:pt idx="10">
                  <c:v>0.3240346539675922</c:v>
                </c:pt>
                <c:pt idx="11">
                  <c:v>0.3295844515540652</c:v>
                </c:pt>
                <c:pt idx="12">
                  <c:v>0.33504386155769633</c:v>
                </c:pt>
                <c:pt idx="13">
                  <c:v>0.3404150743076343</c:v>
                </c:pt>
                <c:pt idx="14">
                  <c:v>0.3457002099301693</c:v>
                </c:pt>
                <c:pt idx="15">
                  <c:v>0.3509013211389914</c:v>
                </c:pt>
                <c:pt idx="16">
                  <c:v>0.3560203958934157</c:v>
                </c:pt>
                <c:pt idx="17">
                  <c:v>0.3610593599318084</c:v>
                </c:pt>
                <c:pt idx="18">
                  <c:v>0.3660200791869963</c:v>
                </c:pt>
                <c:pt idx="19">
                  <c:v>0.37090436209002414</c:v>
                </c:pt>
                <c:pt idx="20">
                  <c:v>0.37571396176823496</c:v>
                </c:pt>
                <c:pt idx="21">
                  <c:v>0.3804505781432862</c:v>
                </c:pt>
                <c:pt idx="22">
                  <c:v>0.38511585993437597</c:v>
                </c:pt>
                <c:pt idx="23">
                  <c:v>0.38971140657163755</c:v>
                </c:pt>
                <c:pt idx="24">
                  <c:v>0.3942387700243704</c:v>
                </c:pt>
                <c:pt idx="25">
                  <c:v>0.3986994565484913</c:v>
                </c:pt>
                <c:pt idx="26">
                  <c:v>0.4030949283573474</c:v>
                </c:pt>
                <c:pt idx="27">
                  <c:v>0.407426605219776</c:v>
                </c:pt>
                <c:pt idx="28">
                  <c:v>0.41169586598908586</c:v>
                </c:pt>
                <c:pt idx="29">
                  <c:v>0.4159040500664173</c:v>
                </c:pt>
                <c:pt idx="30">
                  <c:v>0.42005245880174097</c:v>
                </c:pt>
                <c:pt idx="31">
                  <c:v>0.42414235683557916</c:v>
                </c:pt>
                <c:pt idx="32">
                  <c:v>0.42817497338434957</c:v>
                </c:pt>
                <c:pt idx="33">
                  <c:v>0.4321515034720801</c:v>
                </c:pt>
                <c:pt idx="34">
                  <c:v>0.4360731091110852</c:v>
                </c:pt>
                <c:pt idx="35">
                  <c:v>0.4399409204340544</c:v>
                </c:pt>
                <c:pt idx="36">
                  <c:v>0.4437560367798715</c:v>
                </c:pt>
                <c:pt idx="37">
                  <c:v>0.4475195277353527</c:v>
                </c:pt>
                <c:pt idx="38">
                  <c:v>0.45123243413498065</c:v>
                </c:pt>
                <c:pt idx="39">
                  <c:v>0.4548957690205951</c:v>
                </c:pt>
                <c:pt idx="40">
                  <c:v>0.45851051856289887</c:v>
                </c:pt>
                <c:pt idx="41">
                  <c:v>0.46207764294654224</c:v>
                </c:pt>
                <c:pt idx="42">
                  <c:v>0.4655980772204524</c:v>
                </c:pt>
                <c:pt idx="43">
                  <c:v>0.46907273211498784</c:v>
                </c:pt>
                <c:pt idx="44">
                  <c:v>0.47250249482742335</c:v>
                </c:pt>
                <c:pt idx="45">
                  <c:v>0.475888229777183</c:v>
                </c:pt>
                <c:pt idx="46">
                  <c:v>0.47923077933217545</c:v>
                </c:pt>
                <c:pt idx="47">
                  <c:v>0.48253096450751026</c:v>
                </c:pt>
                <c:pt idx="48">
                  <c:v>0.48578958563781555</c:v>
                </c:pt>
                <c:pt idx="49">
                  <c:v>0.4890074230243125</c:v>
                </c:pt>
                <c:pt idx="50">
                  <c:v>0.4921852375577433</c:v>
                </c:pt>
                <c:pt idx="51">
                  <c:v>0.49532377131820216</c:v>
                </c:pt>
                <c:pt idx="52">
                  <c:v>0.49842374815285706</c:v>
                </c:pt>
                <c:pt idx="53">
                  <c:v>0.5014858742325099</c:v>
                </c:pt>
                <c:pt idx="54">
                  <c:v>0.5045108385878952</c:v>
                </c:pt>
                <c:pt idx="55">
                  <c:v>0.5074993136265689</c:v>
                </c:pt>
                <c:pt idx="56">
                  <c:v>0.5104519556312056</c:v>
                </c:pt>
                <c:pt idx="57">
                  <c:v>0.5133694052400782</c:v>
                </c:pt>
                <c:pt idx="58">
                  <c:v>0.5162522879104569</c:v>
                </c:pt>
                <c:pt idx="59">
                  <c:v>0.51910121436563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French Bloom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Demoiselle (3.5%)</c:v>
                </c:pt>
                <c:pt idx="3">
                  <c:v>Bottega (3.7%)</c:v>
                </c:pt>
                <c:pt idx="4">
                  <c:v>Malard (6.0%)</c:v>
                </c:pt>
                <c:pt idx="5">
                  <c:v>Patriarche (2.6%)</c:v>
                </c:pt>
                <c:pt idx="6">
                  <c:v>Carlo V (5.4%)</c:v>
                </c:pt>
                <c:pt idx="7">
                  <c:v>Nicolas Feuillatte (4.5%)</c:v>
                </c:pt>
                <c:pt idx="8">
                  <c:v>Laurent Perrier (3.9%)</c:v>
                </c:pt>
                <c:pt idx="9">
                  <c:v>Muré (1.3%)</c:v>
                </c:pt>
              </c:strCache>
            </c:strRef>
          </c:cat>
          <c:val>
            <c:numRef>
              <c:f>Sheet1!$B$2:$B$11</c:f>
              <c:numCache>
                <c:formatCode>General</c:formatCode>
                <c:ptCount val="10"/>
                <c:pt idx="0">
                  <c:v>0.15618656594707978</c:v>
                </c:pt>
                <c:pt idx="1">
                  <c:v>0.10864630435651056</c:v>
                </c:pt>
                <c:pt idx="2">
                  <c:v>0.08804856535656914</c:v>
                </c:pt>
                <c:pt idx="3">
                  <c:v>0.05830901968169041</c:v>
                </c:pt>
                <c:pt idx="4">
                  <c:v>0.05277583818628411</c:v>
                </c:pt>
                <c:pt idx="5">
                  <c:v>0.0457557475838073</c:v>
                </c:pt>
                <c:pt idx="6">
                  <c:v>0.0422510295468592</c:v>
                </c:pt>
                <c:pt idx="7">
                  <c:v>0.03958332982049115</c:v>
                </c:pt>
                <c:pt idx="8">
                  <c:v>0.028598712585151818</c:v>
                </c:pt>
                <c:pt idx="9">
                  <c:v>0.0275363101216841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B$2:$B$31</c:f>
              <c:numCache>
                <c:formatCode>General</c:formatCode>
                <c:ptCount val="30"/>
                <c:pt idx="0">
                  <c:v>193.5307290672903</c:v>
                </c:pt>
                <c:pt idx="1">
                  <c:v>183.29616618277012</c:v>
                </c:pt>
                <c:pt idx="2">
                  <c:v>173.92388197029527</c:v>
                </c:pt>
                <c:pt idx="3">
                  <c:v>165.3272352794857</c:v>
                </c:pt>
                <c:pt idx="4">
                  <c:v>157.42539054636575</c:v>
                </c:pt>
                <c:pt idx="5">
                  <c:v>150.14426232242354</c:v>
                </c:pt>
                <c:pt idx="6">
                  <c:v>143.41708784747456</c:v>
                </c:pt>
                <c:pt idx="7">
                  <c:v>137.18457408509593</c:v>
                </c:pt>
                <c:pt idx="8">
                  <c:v>131.39467239238354</c:v>
                </c:pt>
                <c:pt idx="9">
                  <c:v>126.00208092365288</c:v>
                </c:pt>
                <c:pt idx="10">
                  <c:v>120.78519580728371</c:v>
                </c:pt>
                <c:pt idx="11">
                  <c:v>115.95167293426837</c:v>
                </c:pt>
                <c:pt idx="12">
                  <c:v>111.48938717771004</c:v>
                </c:pt>
                <c:pt idx="13">
                  <c:v>107.3639570752155</c:v>
                </c:pt>
                <c:pt idx="14">
                  <c:v>103.54376043785602</c:v>
                </c:pt>
                <c:pt idx="15">
                  <c:v>100.0</c:v>
                </c:pt>
                <c:pt idx="16">
                  <c:v>96.70656979875706</c:v>
                </c:pt>
                <c:pt idx="17">
                  <c:v>93.63983255870578</c:v>
                </c:pt>
                <c:pt idx="18">
                  <c:v>90.77838537967835</c:v>
                </c:pt>
                <c:pt idx="19">
                  <c:v>88.10285290151162</c:v>
                </c:pt>
                <c:pt idx="20">
                  <c:v>82.43163787914216</c:v>
                </c:pt>
                <c:pt idx="21">
                  <c:v>76.99060833954938</c:v>
                </c:pt>
                <c:pt idx="22">
                  <c:v>72.08304175911813</c:v>
                </c:pt>
                <c:pt idx="23">
                  <c:v>67.64491498877464</c:v>
                </c:pt>
                <c:pt idx="24">
                  <c:v>63.620257757745314</c:v>
                </c:pt>
                <c:pt idx="25">
                  <c:v>59.96026212471426</c:v>
                </c:pt>
                <c:pt idx="26">
                  <c:v>56.622456551784104</c:v>
                </c:pt>
                <c:pt idx="27">
                  <c:v>53.569945802144645</c:v>
                </c:pt>
                <c:pt idx="28">
                  <c:v>50.77071654775528</c:v>
                </c:pt>
                <c:pt idx="29">
                  <c:v>48.1970067758821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C$2:$C$31</c:f>
              <c:numCache>
                <c:formatCode>General</c:formatCode>
                <c:ptCount val="30"/>
                <c:pt idx="0">
                  <c:v>155.48590350471525</c:v>
                </c:pt>
                <c:pt idx="1">
                  <c:v>149.66007983299846</c:v>
                </c:pt>
                <c:pt idx="2">
                  <c:v>144.28296754257622</c:v>
                </c:pt>
                <c:pt idx="3">
                  <c:v>139.3151280306162</c:v>
                </c:pt>
                <c:pt idx="4">
                  <c:v>134.717616973904</c:v>
                </c:pt>
                <c:pt idx="5">
                  <c:v>130.4531725364724</c:v>
                </c:pt>
                <c:pt idx="6">
                  <c:v>126.48715137863962</c:v>
                </c:pt>
                <c:pt idx="7">
                  <c:v>122.78813052261816</c:v>
                </c:pt>
                <c:pt idx="8">
                  <c:v>119.32818434448407</c:v>
                </c:pt>
                <c:pt idx="9">
                  <c:v>116.08289464041634</c:v>
                </c:pt>
                <c:pt idx="10">
                  <c:v>112.86057394575447</c:v>
                </c:pt>
                <c:pt idx="11">
                  <c:v>109.8650594982005</c:v>
                </c:pt>
                <c:pt idx="12">
                  <c:v>107.09970650856152</c:v>
                </c:pt>
                <c:pt idx="13">
                  <c:v>104.54556011371987</c:v>
                </c:pt>
                <c:pt idx="14">
                  <c:v>102.18460340076965</c:v>
                </c:pt>
                <c:pt idx="15">
                  <c:v>100.0</c:v>
                </c:pt>
                <c:pt idx="16">
                  <c:v>97.97614082837771</c:v>
                </c:pt>
                <c:pt idx="17">
                  <c:v>96.09858968665421</c:v>
                </c:pt>
                <c:pt idx="18">
                  <c:v>94.35399970320931</c:v>
                </c:pt>
                <c:pt idx="19">
                  <c:v>92.73004063932173</c:v>
                </c:pt>
                <c:pt idx="20">
                  <c:v>87.84750380061945</c:v>
                </c:pt>
                <c:pt idx="21">
                  <c:v>83.06429113926546</c:v>
                </c:pt>
                <c:pt idx="22">
                  <c:v>78.72020839794804</c:v>
                </c:pt>
                <c:pt idx="23">
                  <c:v>74.765576478512</c:v>
                </c:pt>
                <c:pt idx="24">
                  <c:v>71.156353736134</c:v>
                </c:pt>
                <c:pt idx="25">
                  <c:v>67.85365650497486</c:v>
                </c:pt>
                <c:pt idx="26">
                  <c:v>64.82328397150508</c:v>
                </c:pt>
                <c:pt idx="27">
                  <c:v>62.03525451005213</c:v>
                </c:pt>
                <c:pt idx="28">
                  <c:v>59.46335925127252</c:v>
                </c:pt>
                <c:pt idx="29">
                  <c:v>57.084736563498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D$2:$D$31</c:f>
              <c:numCache>
                <c:formatCode>General</c:formatCode>
                <c:ptCount val="30"/>
                <c:pt idx="0">
                  <c:v>106.61508586459854</c:v>
                </c:pt>
                <c:pt idx="1">
                  <c:v>106.46486757367228</c:v>
                </c:pt>
                <c:pt idx="2">
                  <c:v>106.2284553907724</c:v>
                </c:pt>
                <c:pt idx="3">
                  <c:v>105.9277877085815</c:v>
                </c:pt>
                <c:pt idx="4">
                  <c:v>105.57832020982897</c:v>
                </c:pt>
                <c:pt idx="5">
                  <c:v>105.19055670733346</c:v>
                </c:pt>
                <c:pt idx="6">
                  <c:v>104.77147793344568</c:v>
                </c:pt>
                <c:pt idx="7">
                  <c:v>104.32574957611878</c:v>
                </c:pt>
                <c:pt idx="8">
                  <c:v>103.85666240433618</c:v>
                </c:pt>
                <c:pt idx="9">
                  <c:v>103.3668085591302</c:v>
                </c:pt>
                <c:pt idx="10">
                  <c:v>102.70344545933592</c:v>
                </c:pt>
                <c:pt idx="11">
                  <c:v>102.06514196721497</c:v>
                </c:pt>
                <c:pt idx="12">
                  <c:v>101.47529603722214</c:v>
                </c:pt>
                <c:pt idx="13">
                  <c:v>100.93492989112487</c:v>
                </c:pt>
                <c:pt idx="14">
                  <c:v>100.44362483959577</c:v>
                </c:pt>
                <c:pt idx="15">
                  <c:v>100.0</c:v>
                </c:pt>
                <c:pt idx="16">
                  <c:v>99.60199757104373</c:v>
                </c:pt>
                <c:pt idx="17">
                  <c:v>99.2470497797687</c:v>
                </c:pt>
                <c:pt idx="18">
                  <c:v>98.93219308990838</c:v>
                </c:pt>
                <c:pt idx="19">
                  <c:v>98.65417108556362</c:v>
                </c:pt>
                <c:pt idx="20">
                  <c:v>94.77179502291348</c:v>
                </c:pt>
                <c:pt idx="21">
                  <c:v>90.82135920097312</c:v>
                </c:pt>
                <c:pt idx="22">
                  <c:v>87.1903782118744</c:v>
                </c:pt>
                <c:pt idx="23">
                  <c:v>83.84741009702243</c:v>
                </c:pt>
                <c:pt idx="24">
                  <c:v>80.76356822958104</c:v>
                </c:pt>
                <c:pt idx="25">
                  <c:v>77.91256966191341</c:v>
                </c:pt>
                <c:pt idx="26">
                  <c:v>75.27070939892062</c:v>
                </c:pt>
                <c:pt idx="27">
                  <c:v>72.81677577345246</c:v>
                </c:pt>
                <c:pt idx="28">
                  <c:v>70.5319205613325</c:v>
                </c:pt>
                <c:pt idx="29">
                  <c:v>68.3994948954105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E$2:$E$31</c:f>
              <c:numCache>
                <c:formatCode>General</c:formatCode>
                <c:ptCount val="30"/>
                <c:pt idx="0">
                  <c:v>0.30262750153638196</c:v>
                </c:pt>
                <c:pt idx="1">
                  <c:v>0.3139118461717157</c:v>
                </c:pt>
                <c:pt idx="2">
                  <c:v>0.3248368167740769</c:v>
                </c:pt>
                <c:pt idx="3">
                  <c:v>0.33541931180896595</c:v>
                </c:pt>
                <c:pt idx="4">
                  <c:v>0.3456751866267289</c:v>
                </c:pt>
                <c:pt idx="5">
                  <c:v>0.3556193327266267</c:v>
                </c:pt>
                <c:pt idx="6">
                  <c:v>0.36526574990137767</c:v>
                </c:pt>
                <c:pt idx="7">
                  <c:v>0.37462761199722755</c:v>
                </c:pt>
                <c:pt idx="8">
                  <c:v>0.38371732693912836</c:v>
                </c:pt>
                <c:pt idx="9">
                  <c:v>0.39254659159616084</c:v>
                </c:pt>
                <c:pt idx="10">
                  <c:v>0.401126441997345</c:v>
                </c:pt>
                <c:pt idx="11">
                  <c:v>0.40946729935114246</c:v>
                </c:pt>
                <c:pt idx="12">
                  <c:v>0.4175790122721433</c:v>
                </c:pt>
                <c:pt idx="13">
                  <c:v>0.4254708955746887</c:v>
                </c:pt>
                <c:pt idx="14">
                  <c:v>0.43315176595470634</c:v>
                </c:pt>
                <c:pt idx="15">
                  <c:v>0.4406299748471244</c:v>
                </c:pt>
                <c:pt idx="16">
                  <c:v>0.4479134387163024</c:v>
                </c:pt>
                <c:pt idx="17">
                  <c:v>0.45500966701043744</c:v>
                </c:pt>
                <c:pt idx="18">
                  <c:v>0.46192578798746226</c:v>
                </c:pt>
                <c:pt idx="19">
                  <c:v>0.4686685725991483</c:v>
                </c:pt>
                <c:pt idx="20">
                  <c:v>0.475244456601634</c:v>
                </c:pt>
                <c:pt idx="21">
                  <c:v>0.48165956104415686</c:v>
                </c:pt>
                <c:pt idx="22">
                  <c:v>0.4879197112730921</c:v>
                </c:pt>
                <c:pt idx="23">
                  <c:v>0.4940304545753226</c:v>
                </c:pt>
                <c:pt idx="24">
                  <c:v>0.49999707657325504</c:v>
                </c:pt>
                <c:pt idx="25">
                  <c:v>0.5058246164733337</c:v>
                </c:pt>
                <c:pt idx="26">
                  <c:v>0.5115178812605072</c:v>
                </c:pt>
                <c:pt idx="27">
                  <c:v>0.5170814589226882</c:v>
                </c:pt>
                <c:pt idx="28">
                  <c:v>0.522519730781667</c:v>
                </c:pt>
                <c:pt idx="29">
                  <c:v>0.5278368830001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B$2:$B$27</c:f>
              <c:numCache>
                <c:formatCode>General</c:formatCode>
                <c:ptCount val="26"/>
                <c:pt idx="0">
                  <c:v>194.17722874412837</c:v>
                </c:pt>
                <c:pt idx="1">
                  <c:v>184.4081730640219</c:v>
                </c:pt>
                <c:pt idx="2">
                  <c:v>175.36894579500347</c:v>
                </c:pt>
                <c:pt idx="3">
                  <c:v>166.9901263965267</c:v>
                </c:pt>
                <c:pt idx="4">
                  <c:v>159.20956963962956</c:v>
                </c:pt>
                <c:pt idx="5">
                  <c:v>151.9717048862367</c:v>
                </c:pt>
                <c:pt idx="6">
                  <c:v>143.1336746815571</c:v>
                </c:pt>
                <c:pt idx="7">
                  <c:v>134.98609484742374</c:v>
                </c:pt>
                <c:pt idx="8">
                  <c:v>127.66087298962879</c:v>
                </c:pt>
                <c:pt idx="9">
                  <c:v>121.0468420613759</c:v>
                </c:pt>
                <c:pt idx="10">
                  <c:v>115.04886538862613</c:v>
                </c:pt>
                <c:pt idx="11">
                  <c:v>109.58590160048954</c:v>
                </c:pt>
                <c:pt idx="12">
                  <c:v>104.58909479593166</c:v>
                </c:pt>
                <c:pt idx="13">
                  <c:v>100.0</c:v>
                </c:pt>
                <c:pt idx="14">
                  <c:v>95.76899537782612</c:v>
                </c:pt>
                <c:pt idx="15">
                  <c:v>91.85389656081529</c:v>
                </c:pt>
                <c:pt idx="16">
                  <c:v>88.2747568538353</c:v>
                </c:pt>
                <c:pt idx="17">
                  <c:v>84.98380847847076</c:v>
                </c:pt>
                <c:pt idx="18">
                  <c:v>81.94513653296217</c:v>
                </c:pt>
                <c:pt idx="19">
                  <c:v>79.1311886915006</c:v>
                </c:pt>
                <c:pt idx="20">
                  <c:v>76.51791783964964</c:v>
                </c:pt>
                <c:pt idx="21">
                  <c:v>74.08431018767257</c:v>
                </c:pt>
                <c:pt idx="22">
                  <c:v>71.81197574340571</c:v>
                </c:pt>
                <c:pt idx="23">
                  <c:v>69.68479419054256</c:v>
                </c:pt>
                <c:pt idx="24">
                  <c:v>67.6886094171284</c:v>
                </c:pt>
                <c:pt idx="25">
                  <c:v>65.810966411503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C$2:$C$27</c:f>
              <c:numCache>
                <c:formatCode>General</c:formatCode>
                <c:ptCount val="26"/>
                <c:pt idx="0">
                  <c:v>157.32572422809147</c:v>
                </c:pt>
                <c:pt idx="1">
                  <c:v>152.0926573292678</c:v>
                </c:pt>
                <c:pt idx="2">
                  <c:v>147.18969216460144</c:v>
                </c:pt>
                <c:pt idx="3">
                  <c:v>142.5890255740212</c:v>
                </c:pt>
                <c:pt idx="4">
                  <c:v>138.26520478685163</c:v>
                </c:pt>
                <c:pt idx="5">
                  <c:v>134.19502412963496</c:v>
                </c:pt>
                <c:pt idx="6">
                  <c:v>128.4800897020094</c:v>
                </c:pt>
                <c:pt idx="7">
                  <c:v>123.13832172012337</c:v>
                </c:pt>
                <c:pt idx="8">
                  <c:v>118.32169753999754</c:v>
                </c:pt>
                <c:pt idx="9">
                  <c:v>113.96132484209586</c:v>
                </c:pt>
                <c:pt idx="10">
                  <c:v>109.99721560082283</c:v>
                </c:pt>
                <c:pt idx="11">
                  <c:v>106.37755793717506</c:v>
                </c:pt>
                <c:pt idx="12">
                  <c:v>103.05784900789669</c:v>
                </c:pt>
                <c:pt idx="13">
                  <c:v>100.0</c:v>
                </c:pt>
                <c:pt idx="14">
                  <c:v>97.17147810469704</c:v>
                </c:pt>
                <c:pt idx="15">
                  <c:v>94.54451950337601</c:v>
                </c:pt>
                <c:pt idx="16">
                  <c:v>92.15361399931975</c:v>
                </c:pt>
                <c:pt idx="17">
                  <c:v>89.96320349108146</c:v>
                </c:pt>
                <c:pt idx="18">
                  <c:v>87.94737209849146</c:v>
                </c:pt>
                <c:pt idx="19">
                  <c:v>86.08717843833678</c:v>
                </c:pt>
                <c:pt idx="20">
                  <c:v>84.36594297549586</c:v>
                </c:pt>
                <c:pt idx="21">
                  <c:v>82.76897498025738</c:v>
                </c:pt>
                <c:pt idx="22">
                  <c:v>81.28332918618814</c:v>
                </c:pt>
                <c:pt idx="23">
                  <c:v>79.89759043007109</c:v>
                </c:pt>
                <c:pt idx="24">
                  <c:v>78.60168400496651</c:v>
                </c:pt>
                <c:pt idx="25">
                  <c:v>77.386709246780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D$2:$D$27</c:f>
              <c:numCache>
                <c:formatCode>General</c:formatCode>
                <c:ptCount val="26"/>
                <c:pt idx="0">
                  <c:v>94.33437914304803</c:v>
                </c:pt>
                <c:pt idx="1">
                  <c:v>96.88224426720112</c:v>
                </c:pt>
                <c:pt idx="2">
                  <c:v>99.06962127406723</c:v>
                </c:pt>
                <c:pt idx="3">
                  <c:v>100.94114715885753</c:v>
                </c:pt>
                <c:pt idx="4">
                  <c:v>102.53516135074283</c:v>
                </c:pt>
                <c:pt idx="5">
                  <c:v>103.8846655032758</c:v>
                </c:pt>
                <c:pt idx="6">
                  <c:v>103.50448631048297</c:v>
                </c:pt>
                <c:pt idx="7">
                  <c:v>102.95176814197265</c:v>
                </c:pt>
                <c:pt idx="8">
                  <c:v>102.41425951760586</c:v>
                </c:pt>
                <c:pt idx="9">
                  <c:v>101.89596043592543</c:v>
                </c:pt>
                <c:pt idx="10">
                  <c:v>101.3974113439836</c:v>
                </c:pt>
                <c:pt idx="11">
                  <c:v>100.91708135854908</c:v>
                </c:pt>
                <c:pt idx="12">
                  <c:v>100.45232150296476</c:v>
                </c:pt>
                <c:pt idx="13">
                  <c:v>100.0</c:v>
                </c:pt>
                <c:pt idx="14">
                  <c:v>99.55691058204748</c:v>
                </c:pt>
                <c:pt idx="15">
                  <c:v>99.1200220950139</c:v>
                </c:pt>
                <c:pt idx="16">
                  <c:v>98.74925203830728</c:v>
                </c:pt>
                <c:pt idx="17">
                  <c:v>98.4291394638585</c:v>
                </c:pt>
                <c:pt idx="18">
                  <c:v>98.15086299801543</c:v>
                </c:pt>
                <c:pt idx="19">
                  <c:v>97.91026629945331</c:v>
                </c:pt>
                <c:pt idx="20">
                  <c:v>97.70330965311483</c:v>
                </c:pt>
                <c:pt idx="21">
                  <c:v>97.5261419702463</c:v>
                </c:pt>
                <c:pt idx="22">
                  <c:v>97.37514536019195</c:v>
                </c:pt>
                <c:pt idx="23">
                  <c:v>97.24695983465543</c:v>
                </c:pt>
                <c:pt idx="24">
                  <c:v>97.13849379018895</c:v>
                </c:pt>
                <c:pt idx="25">
                  <c:v>97.0469244738580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E$2:$E$27</c:f>
              <c:numCache>
                <c:formatCode>General</c:formatCode>
                <c:ptCount val="26"/>
                <c:pt idx="0">
                  <c:v>0.22413816995149907</c:v>
                </c:pt>
                <c:pt idx="1">
                  <c:v>0.23804250382333614</c:v>
                </c:pt>
                <c:pt idx="2">
                  <c:v>0.2514572484743335</c:v>
                </c:pt>
                <c:pt idx="3">
                  <c:v>0.26440781510972583</c:v>
                </c:pt>
                <c:pt idx="4">
                  <c:v>0.27691788628132896</c:v>
                </c:pt>
                <c:pt idx="5">
                  <c:v>0.28900956042378173</c:v>
                </c:pt>
                <c:pt idx="6">
                  <c:v>0.3007034821273379</c:v>
                </c:pt>
                <c:pt idx="7">
                  <c:v>0.31201895976281807</c:v>
                </c:pt>
                <c:pt idx="8">
                  <c:v>0.3229740718685054</c:v>
                </c:pt>
                <c:pt idx="9">
                  <c:v>0.33358576353200853</c:v>
                </c:pt>
                <c:pt idx="10">
                  <c:v>0.3438699338478726</c:v>
                </c:pt>
                <c:pt idx="11">
                  <c:v>0.35384151540033654</c:v>
                </c:pt>
                <c:pt idx="12">
                  <c:v>0.36351454660691834</c:v>
                </c:pt>
                <c:pt idx="13">
                  <c:v>0.3729022376599137</c:v>
                </c:pt>
                <c:pt idx="14">
                  <c:v>0.38201703071718235</c:v>
                </c:pt>
                <c:pt idx="15">
                  <c:v>0.39087065491894185</c:v>
                </c:pt>
                <c:pt idx="16">
                  <c:v>0.3994741767421208</c:v>
                </c:pt>
                <c:pt idx="17">
                  <c:v>0.40783804614682667</c:v>
                </c:pt>
                <c:pt idx="18">
                  <c:v>0.415972138919535</c:v>
                </c:pt>
                <c:pt idx="19">
                  <c:v>0.4238857955737419</c:v>
                </c:pt>
                <c:pt idx="20">
                  <c:v>0.4315878571302427</c:v>
                </c:pt>
                <c:pt idx="21">
                  <c:v>0.43908669806519984</c:v>
                </c:pt>
                <c:pt idx="22">
                  <c:v>0.44639025668414245</c:v>
                </c:pt>
                <c:pt idx="23">
                  <c:v>0.45350606315349806</c:v>
                </c:pt>
                <c:pt idx="24">
                  <c:v>0.46044126539774294</c:v>
                </c:pt>
                <c:pt idx="25">
                  <c:v>0.467202653049400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B$2:$B$21</c:f>
              <c:numCache>
                <c:formatCode>General</c:formatCode>
                <c:ptCount val="20"/>
                <c:pt idx="0">
                  <c:v>133.55538863002002</c:v>
                </c:pt>
                <c:pt idx="1">
                  <c:v>126.84955854395119</c:v>
                </c:pt>
                <c:pt idx="2">
                  <c:v>122.76918621821349</c:v>
                </c:pt>
                <c:pt idx="3">
                  <c:v>119.09898744478093</c:v>
                </c:pt>
                <c:pt idx="4">
                  <c:v>115.58087956922446</c:v>
                </c:pt>
                <c:pt idx="5">
                  <c:v>112.20658634764149</c:v>
                </c:pt>
                <c:pt idx="6">
                  <c:v>108.96836617374719</c:v>
                </c:pt>
                <c:pt idx="7">
                  <c:v>105.85897575459231</c:v>
                </c:pt>
                <c:pt idx="8">
                  <c:v>102.87163599124409</c:v>
                </c:pt>
                <c:pt idx="9">
                  <c:v>100.0</c:v>
                </c:pt>
                <c:pt idx="10">
                  <c:v>97.23812319695075</c:v>
                </c:pt>
                <c:pt idx="11">
                  <c:v>94.58043535952598</c:v>
                </c:pt>
                <c:pt idx="12">
                  <c:v>88.06639076830021</c:v>
                </c:pt>
                <c:pt idx="13">
                  <c:v>81.80180110247686</c:v>
                </c:pt>
                <c:pt idx="14">
                  <c:v>76.16636020482132</c:v>
                </c:pt>
                <c:pt idx="15">
                  <c:v>71.07966439196093</c:v>
                </c:pt>
                <c:pt idx="16">
                  <c:v>66.47317180769349</c:v>
                </c:pt>
                <c:pt idx="17">
                  <c:v>62.2883319658874</c:v>
                </c:pt>
                <c:pt idx="18">
                  <c:v>58.4750089020199</c:v>
                </c:pt>
                <c:pt idx="19">
                  <c:v>54.990157155579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C$2:$C$21</c:f>
              <c:numCache>
                <c:formatCode>General</c:formatCode>
                <c:ptCount val="20"/>
                <c:pt idx="0">
                  <c:v>108.42975344058077</c:v>
                </c:pt>
                <c:pt idx="1">
                  <c:v>105.63762295699549</c:v>
                </c:pt>
                <c:pt idx="2">
                  <c:v>104.8056889146342</c:v>
                </c:pt>
                <c:pt idx="3">
                  <c:v>104.16186835021837</c:v>
                </c:pt>
                <c:pt idx="4">
                  <c:v>103.50085969699485</c:v>
                </c:pt>
                <c:pt idx="5">
                  <c:v>102.82461320509945</c:v>
                </c:pt>
                <c:pt idx="6">
                  <c:v>102.13488825689423</c:v>
                </c:pt>
                <c:pt idx="7">
                  <c:v>101.43327446626114</c:v>
                </c:pt>
                <c:pt idx="8">
                  <c:v>100.72121037414735</c:v>
                </c:pt>
                <c:pt idx="9">
                  <c:v>100.0</c:v>
                </c:pt>
                <c:pt idx="10">
                  <c:v>99.27082748465347</c:v>
                </c:pt>
                <c:pt idx="11">
                  <c:v>98.53477003752802</c:v>
                </c:pt>
                <c:pt idx="12">
                  <c:v>93.59229256553606</c:v>
                </c:pt>
                <c:pt idx="13">
                  <c:v>88.64759590053868</c:v>
                </c:pt>
                <c:pt idx="14">
                  <c:v>84.13544672573929</c:v>
                </c:pt>
                <c:pt idx="15">
                  <c:v>80.0048876011062</c:v>
                </c:pt>
                <c:pt idx="16">
                  <c:v>76.21182173122857</c:v>
                </c:pt>
                <c:pt idx="17">
                  <c:v>72.71807215796052</c:v>
                </c:pt>
                <c:pt idx="18">
                  <c:v>69.49055469824398</c:v>
                </c:pt>
                <c:pt idx="19">
                  <c:v>66.5005583745535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D$2:$D$21</c:f>
              <c:numCache>
                <c:formatCode>General</c:formatCode>
                <c:ptCount val="20"/>
                <c:pt idx="0">
                  <c:v>82.21960958298729</c:v>
                </c:pt>
                <c:pt idx="1">
                  <c:v>83.50893259642864</c:v>
                </c:pt>
                <c:pt idx="2">
                  <c:v>86.06600995976774</c:v>
                </c:pt>
                <c:pt idx="3">
                  <c:v>88.57961833055303</c:v>
                </c:pt>
                <c:pt idx="4">
                  <c:v>90.89934083549011</c:v>
                </c:pt>
                <c:pt idx="5">
                  <c:v>93.03780190896111</c:v>
                </c:pt>
                <c:pt idx="6">
                  <c:v>95.00667825187114</c:v>
                </c:pt>
                <c:pt idx="7">
                  <c:v>96.81677977844704</c:v>
                </c:pt>
                <c:pt idx="8">
                  <c:v>98.47812336565478</c:v>
                </c:pt>
                <c:pt idx="9">
                  <c:v>100.0</c:v>
                </c:pt>
                <c:pt idx="10">
                  <c:v>101.39103588116991</c:v>
                </c:pt>
                <c:pt idx="11">
                  <c:v>102.65924800563127</c:v>
                </c:pt>
                <c:pt idx="12">
                  <c:v>99.34999083946671</c:v>
                </c:pt>
                <c:pt idx="13">
                  <c:v>95.77639157055357</c:v>
                </c:pt>
                <c:pt idx="14">
                  <c:v>92.43118684923985</c:v>
                </c:pt>
                <c:pt idx="15">
                  <c:v>89.29397973279846</c:v>
                </c:pt>
                <c:pt idx="16">
                  <c:v>86.34604558384757</c:v>
                </c:pt>
                <c:pt idx="17">
                  <c:v>83.57035555048874</c:v>
                </c:pt>
                <c:pt idx="18">
                  <c:v>80.95152720322612</c:v>
                </c:pt>
                <c:pt idx="19">
                  <c:v>78.475731912720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E$2:$E$21</c:f>
              <c:numCache>
                <c:formatCode>General</c:formatCode>
                <c:ptCount val="20"/>
                <c:pt idx="0">
                  <c:v>0.3715061751846771</c:v>
                </c:pt>
                <c:pt idx="1">
                  <c:v>0.38729747731571557</c:v>
                </c:pt>
                <c:pt idx="2">
                  <c:v>0.40231469600895775</c:v>
                </c:pt>
                <c:pt idx="3">
                  <c:v>0.416613387491997</c:v>
                </c:pt>
                <c:pt idx="4">
                  <c:v>0.4302439158216232</c:v>
                </c:pt>
                <c:pt idx="5">
                  <c:v>0.44325204559738535</c:v>
                </c:pt>
                <c:pt idx="6">
                  <c:v>0.45567945529387205</c:v>
                </c:pt>
                <c:pt idx="7">
                  <c:v>0.4675641833442243</c:v>
                </c:pt>
                <c:pt idx="8">
                  <c:v>0.47894101703345027</c:v>
                </c:pt>
                <c:pt idx="9">
                  <c:v>0.4898418325766836</c:v>
                </c:pt>
                <c:pt idx="10">
                  <c:v>0.5002958933845384</c:v>
                </c:pt>
                <c:pt idx="11">
                  <c:v>0.510330112392881</c:v>
                </c:pt>
                <c:pt idx="12">
                  <c:v>0.5199692834087691</c:v>
                </c:pt>
                <c:pt idx="13">
                  <c:v>0.5292362856595652</c:v>
                </c:pt>
                <c:pt idx="14">
                  <c:v>0.5381522650978309</c:v>
                </c:pt>
                <c:pt idx="15">
                  <c:v>0.5467367954863471</c:v>
                </c:pt>
                <c:pt idx="16">
                  <c:v>0.5550080218460852</c:v>
                </c:pt>
                <c:pt idx="17">
                  <c:v>0.562982788479668</c:v>
                </c:pt>
                <c:pt idx="18">
                  <c:v>0.5706767534712232</c:v>
                </c:pt>
                <c:pt idx="19">
                  <c:v>0.57810449130044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B$2:$B$31</c:f>
              <c:numCache>
                <c:formatCode>General</c:formatCode>
                <c:ptCount val="30"/>
                <c:pt idx="0">
                  <c:v>183.39834885297194</c:v>
                </c:pt>
                <c:pt idx="1">
                  <c:v>174.08101950948532</c:v>
                </c:pt>
                <c:pt idx="2">
                  <c:v>165.75565253863408</c:v>
                </c:pt>
                <c:pt idx="3">
                  <c:v>158.31410485782024</c:v>
                </c:pt>
                <c:pt idx="4">
                  <c:v>151.65312171589375</c:v>
                </c:pt>
                <c:pt idx="5">
                  <c:v>145.67652499378914</c:v>
                </c:pt>
                <c:pt idx="6">
                  <c:v>140.29688170158525</c:v>
                </c:pt>
                <c:pt idx="7">
                  <c:v>135.43635416255177</c:v>
                </c:pt>
                <c:pt idx="8">
                  <c:v>131.02677950378475</c:v>
                </c:pt>
                <c:pt idx="9">
                  <c:v>127.00918301042401</c:v>
                </c:pt>
                <c:pt idx="10">
                  <c:v>122.95563595146133</c:v>
                </c:pt>
                <c:pt idx="11">
                  <c:v>116.13944144801837</c:v>
                </c:pt>
                <c:pt idx="12">
                  <c:v>110.11929187490807</c:v>
                </c:pt>
                <c:pt idx="13">
                  <c:v>104.77302248839464</c:v>
                </c:pt>
                <c:pt idx="14">
                  <c:v>100.0</c:v>
                </c:pt>
                <c:pt idx="15">
                  <c:v>95.71708127799002</c:v>
                </c:pt>
                <c:pt idx="16">
                  <c:v>91.85533022271437</c:v>
                </c:pt>
                <c:pt idx="17">
                  <c:v>88.35736424615719</c:v>
                </c:pt>
                <c:pt idx="18">
                  <c:v>85.1752149761818</c:v>
                </c:pt>
                <c:pt idx="19">
                  <c:v>82.26860489071679</c:v>
                </c:pt>
                <c:pt idx="20">
                  <c:v>79.68172268568529</c:v>
                </c:pt>
                <c:pt idx="21">
                  <c:v>77.94727777896158</c:v>
                </c:pt>
                <c:pt idx="22">
                  <c:v>76.29744377524538</c:v>
                </c:pt>
                <c:pt idx="23">
                  <c:v>74.72662712053835</c:v>
                </c:pt>
                <c:pt idx="24">
                  <c:v>73.22965586360233</c:v>
                </c:pt>
                <c:pt idx="25">
                  <c:v>71.80174564586446</c:v>
                </c:pt>
                <c:pt idx="26">
                  <c:v>70.43846867487159</c:v>
                </c:pt>
                <c:pt idx="27">
                  <c:v>69.13572534734091</c:v>
                </c:pt>
                <c:pt idx="28">
                  <c:v>67.88971824300586</c:v>
                </c:pt>
                <c:pt idx="29">
                  <c:v>66.6969282542896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C$2:$C$31</c:f>
              <c:numCache>
                <c:formatCode>General</c:formatCode>
                <c:ptCount val="30"/>
                <c:pt idx="0">
                  <c:v>152.91742885548058</c:v>
                </c:pt>
                <c:pt idx="1">
                  <c:v>147.21352703426876</c:v>
                </c:pt>
                <c:pt idx="2">
                  <c:v>142.1396481196325</c:v>
                </c:pt>
                <c:pt idx="3">
                  <c:v>137.63694526614543</c:v>
                </c:pt>
                <c:pt idx="4">
                  <c:v>133.64578154888892</c:v>
                </c:pt>
                <c:pt idx="5">
                  <c:v>130.107966851829</c:v>
                </c:pt>
                <c:pt idx="6">
                  <c:v>126.96868123728396</c:v>
                </c:pt>
                <c:pt idx="7">
                  <c:v>124.17776800533389</c:v>
                </c:pt>
                <c:pt idx="8">
                  <c:v>121.69037265757649</c:v>
                </c:pt>
                <c:pt idx="9">
                  <c:v>119.4670560182084</c:v>
                </c:pt>
                <c:pt idx="10">
                  <c:v>117.11417207662453</c:v>
                </c:pt>
                <c:pt idx="11">
                  <c:v>112.00103524181604</c:v>
                </c:pt>
                <c:pt idx="12">
                  <c:v>107.50326396203617</c:v>
                </c:pt>
                <c:pt idx="13">
                  <c:v>103.52846904762309</c:v>
                </c:pt>
                <c:pt idx="14">
                  <c:v>100.0</c:v>
                </c:pt>
                <c:pt idx="15">
                  <c:v>96.8541310638545</c:v>
                </c:pt>
                <c:pt idx="16">
                  <c:v>94.0377365076267</c:v>
                </c:pt>
                <c:pt idx="17">
                  <c:v>91.50638467649188</c:v>
                </c:pt>
                <c:pt idx="18">
                  <c:v>89.22278207728097</c:v>
                </c:pt>
                <c:pt idx="19">
                  <c:v>87.15550596602067</c:v>
                </c:pt>
                <c:pt idx="20">
                  <c:v>85.36168794044741</c:v>
                </c:pt>
                <c:pt idx="21">
                  <c:v>84.42957053565053</c:v>
                </c:pt>
                <c:pt idx="22">
                  <c:v>83.5489204050354</c:v>
                </c:pt>
                <c:pt idx="23">
                  <c:v>82.7165577906028</c:v>
                </c:pt>
                <c:pt idx="24">
                  <c:v>81.92950930630488</c:v>
                </c:pt>
                <c:pt idx="25">
                  <c:v>81.18499446125311</c:v>
                </c:pt>
                <c:pt idx="26">
                  <c:v>80.48041317646953</c:v>
                </c:pt>
                <c:pt idx="27">
                  <c:v>79.81333415653563</c:v>
                </c:pt>
                <c:pt idx="28">
                  <c:v>79.18148401025744</c:v>
                </c:pt>
                <c:pt idx="29">
                  <c:v>78.582737039759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D$2:$D$31</c:f>
              <c:numCache>
                <c:formatCode>General</c:formatCode>
                <c:ptCount val="30"/>
                <c:pt idx="0">
                  <c:v>116.15491685036451</c:v>
                </c:pt>
                <c:pt idx="1">
                  <c:v>114.81289455866128</c:v>
                </c:pt>
                <c:pt idx="2">
                  <c:v>113.66305572376278</c:v>
                </c:pt>
                <c:pt idx="3">
                  <c:v>112.70634840540295</c:v>
                </c:pt>
                <c:pt idx="4">
                  <c:v>111.93599993517837</c:v>
                </c:pt>
                <c:pt idx="5">
                  <c:v>111.33982953724552</c:v>
                </c:pt>
                <c:pt idx="6">
                  <c:v>110.90249391477587</c:v>
                </c:pt>
                <c:pt idx="7">
                  <c:v>110.60732672372855</c:v>
                </c:pt>
                <c:pt idx="8">
                  <c:v>110.43766205256895</c:v>
                </c:pt>
                <c:pt idx="9">
                  <c:v>110.37767839047832</c:v>
                </c:pt>
                <c:pt idx="10">
                  <c:v>110.07507296283225</c:v>
                </c:pt>
                <c:pt idx="11">
                  <c:v>107.01455640639692</c:v>
                </c:pt>
                <c:pt idx="12">
                  <c:v>104.35136401913287</c:v>
                </c:pt>
                <c:pt idx="13">
                  <c:v>102.02907442690932</c:v>
                </c:pt>
                <c:pt idx="14">
                  <c:v>100.0</c:v>
                </c:pt>
                <c:pt idx="15">
                  <c:v>98.22385920026349</c:v>
                </c:pt>
                <c:pt idx="16">
                  <c:v>96.66661177812861</c:v>
                </c:pt>
                <c:pt idx="17">
                  <c:v>95.29945714134061</c:v>
                </c:pt>
                <c:pt idx="18">
                  <c:v>94.09798385197227</c:v>
                </c:pt>
                <c:pt idx="19">
                  <c:v>93.0414533563601</c:v>
                </c:pt>
                <c:pt idx="20">
                  <c:v>92.20264667774141</c:v>
                </c:pt>
                <c:pt idx="21">
                  <c:v>92.23705330284037</c:v>
                </c:pt>
                <c:pt idx="22">
                  <c:v>92.28294981266512</c:v>
                </c:pt>
                <c:pt idx="23">
                  <c:v>92.34007196377583</c:v>
                </c:pt>
                <c:pt idx="24">
                  <c:v>92.40810156248668</c:v>
                </c:pt>
                <c:pt idx="25">
                  <c:v>92.48667786473382</c:v>
                </c:pt>
                <c:pt idx="26">
                  <c:v>92.57540755290935</c:v>
                </c:pt>
                <c:pt idx="27">
                  <c:v>92.67387338897039</c:v>
                </c:pt>
                <c:pt idx="28">
                  <c:v>92.78164164854073</c:v>
                </c:pt>
                <c:pt idx="29">
                  <c:v>92.898268443361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E$2:$E$31</c:f>
              <c:numCache>
                <c:formatCode>General</c:formatCode>
                <c:ptCount val="30"/>
                <c:pt idx="0">
                  <c:v>0.3454758729324239</c:v>
                </c:pt>
                <c:pt idx="1">
                  <c:v>0.35469452260943196</c:v>
                </c:pt>
                <c:pt idx="2">
                  <c:v>0.36365709868430096</c:v>
                </c:pt>
                <c:pt idx="3">
                  <c:v>0.37237412472972165</c:v>
                </c:pt>
                <c:pt idx="4">
                  <c:v>0.38085555547661726</c:v>
                </c:pt>
                <c:pt idx="5">
                  <c:v>0.3891108147369289</c:v>
                </c:pt>
                <c:pt idx="6">
                  <c:v>0.39714883033249576</c:v>
                </c:pt>
                <c:pt idx="7">
                  <c:v>0.4049780663022035</c:v>
                </c:pt>
                <c:pt idx="8">
                  <c:v>0.41260655263166246</c:v>
                </c:pt>
                <c:pt idx="9">
                  <c:v>0.4200419127249326</c:v>
                </c:pt>
                <c:pt idx="10">
                  <c:v>0.42729138881587087</c:v>
                </c:pt>
                <c:pt idx="11">
                  <c:v>0.4343618654971565</c:v>
                </c:pt>
                <c:pt idx="12">
                  <c:v>0.44125989152767897</c:v>
                </c:pt>
                <c:pt idx="13">
                  <c:v>0.44799170006349</c:v>
                </c:pt>
                <c:pt idx="14">
                  <c:v>0.4545632274436866</c:v>
                </c:pt>
                <c:pt idx="15">
                  <c:v>0.4609801306502314</c:v>
                </c:pt>
                <c:pt idx="16">
                  <c:v>0.46724780354964734</c:v>
                </c:pt>
                <c:pt idx="17">
                  <c:v>0.4733713920145939</c:v>
                </c:pt>
                <c:pt idx="18">
                  <c:v>0.47935580801442806</c:v>
                </c:pt>
                <c:pt idx="19">
                  <c:v>0.48520574275583905</c:v>
                </c:pt>
                <c:pt idx="20">
                  <c:v>0.49092567894744077</c:v>
                </c:pt>
                <c:pt idx="21">
                  <c:v>0.4965199022557106</c:v>
                </c:pt>
                <c:pt idx="22">
                  <c:v>0.5019925120138008</c:v>
                </c:pt>
                <c:pt idx="23">
                  <c:v>0.5073474312394589</c:v>
                </c:pt>
                <c:pt idx="24">
                  <c:v>0.5125884160135072</c:v>
                </c:pt>
                <c:pt idx="25">
                  <c:v>0.5177190642659963</c:v>
                </c:pt>
                <c:pt idx="26">
                  <c:v>0.5227428240132256</c:v>
                </c:pt>
                <c:pt idx="27">
                  <c:v>0.5276630010852544</c:v>
                </c:pt>
                <c:pt idx="28">
                  <c:v>0.5324827663803028</c:v>
                </c:pt>
                <c:pt idx="29">
                  <c:v>0.53720516267949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B$2:$B$62</c:f>
              <c:numCache>
                <c:formatCode>General</c:formatCode>
                <c:ptCount val="61"/>
                <c:pt idx="0">
                  <c:v>173.02100874732787</c:v>
                </c:pt>
                <c:pt idx="1">
                  <c:v>169.61971442059144</c:v>
                </c:pt>
                <c:pt idx="2">
                  <c:v>166.32558319746238</c:v>
                </c:pt>
                <c:pt idx="3">
                  <c:v>163.13398259821827</c:v>
                </c:pt>
                <c:pt idx="4">
                  <c:v>160.04054130464286</c:v>
                </c:pt>
                <c:pt idx="5">
                  <c:v>157.04113066074305</c:v>
                </c:pt>
                <c:pt idx="6">
                  <c:v>154.131847725369</c:v>
                </c:pt>
                <c:pt idx="7">
                  <c:v>151.3089997320771</c:v>
                </c:pt>
                <c:pt idx="8">
                  <c:v>148.56908982577252</c:v>
                </c:pt>
                <c:pt idx="9">
                  <c:v>145.14666728958886</c:v>
                </c:pt>
                <c:pt idx="10">
                  <c:v>141.87608899914025</c:v>
                </c:pt>
                <c:pt idx="11">
                  <c:v>138.74817851109685</c:v>
                </c:pt>
                <c:pt idx="12">
                  <c:v>135.75443732140755</c:v>
                </c:pt>
                <c:pt idx="13">
                  <c:v>132.88698495223542</c:v>
                </c:pt>
                <c:pt idx="14">
                  <c:v>130.1385052771471</c:v>
                </c:pt>
                <c:pt idx="15">
                  <c:v>127.50219834191547</c:v>
                </c:pt>
                <c:pt idx="16">
                  <c:v>124.97173703581919</c:v>
                </c:pt>
                <c:pt idx="17">
                  <c:v>122.54122805214492</c:v>
                </c:pt>
                <c:pt idx="18">
                  <c:v>120.20517664872234</c:v>
                </c:pt>
                <c:pt idx="19">
                  <c:v>117.95845478147437</c:v>
                </c:pt>
                <c:pt idx="20">
                  <c:v>115.7962722375965</c:v>
                </c:pt>
                <c:pt idx="21">
                  <c:v>114.34806352103932</c:v>
                </c:pt>
                <c:pt idx="22">
                  <c:v>112.92690883259635</c:v>
                </c:pt>
                <c:pt idx="23">
                  <c:v>111.53215003352616</c:v>
                </c:pt>
                <c:pt idx="24">
                  <c:v>110.16314854740894</c:v>
                </c:pt>
                <c:pt idx="25">
                  <c:v>108.81928465121027</c:v>
                </c:pt>
                <c:pt idx="26">
                  <c:v>107.49995679815972</c:v>
                </c:pt>
                <c:pt idx="27">
                  <c:v>106.20458097070396</c:v>
                </c:pt>
                <c:pt idx="28">
                  <c:v>104.9325900618836</c:v>
                </c:pt>
                <c:pt idx="29">
                  <c:v>104.08016700195921</c:v>
                </c:pt>
                <c:pt idx="30">
                  <c:v>103.24020939032226</c:v>
                </c:pt>
                <c:pt idx="31">
                  <c:v>102.41246067369725</c:v>
                </c:pt>
                <c:pt idx="32">
                  <c:v>101.59667089007823</c:v>
                </c:pt>
                <c:pt idx="33">
                  <c:v>100.79259646238887</c:v>
                </c:pt>
                <c:pt idx="34">
                  <c:v>100.0</c:v>
                </c:pt>
                <c:pt idx="35">
                  <c:v>99.21865010775892</c:v>
                </c:pt>
                <c:pt idx="36">
                  <c:v>98.44832120217521</c:v>
                </c:pt>
                <c:pt idx="37">
                  <c:v>97.68879333445761</c:v>
                </c:pt>
                <c:pt idx="38">
                  <c:v>96.9398520200885</c:v>
                </c:pt>
                <c:pt idx="39">
                  <c:v>96.2012880746496</c:v>
                </c:pt>
                <c:pt idx="40">
                  <c:v>95.47289745562489</c:v>
                </c:pt>
                <c:pt idx="41">
                  <c:v>94.75448110992075</c:v>
                </c:pt>
                <c:pt idx="42">
                  <c:v>94.04584482685462</c:v>
                </c:pt>
                <c:pt idx="43">
                  <c:v>93.34679909637869</c:v>
                </c:pt>
                <c:pt idx="44">
                  <c:v>92.65715897231391</c:v>
                </c:pt>
                <c:pt idx="45">
                  <c:v>91.97674394038357</c:v>
                </c:pt>
                <c:pt idx="46">
                  <c:v>91.30537779084324</c:v>
                </c:pt>
                <c:pt idx="47">
                  <c:v>90.64288849551743</c:v>
                </c:pt>
                <c:pt idx="48">
                  <c:v>89.9891080890574</c:v>
                </c:pt>
                <c:pt idx="49">
                  <c:v>88.77122275276649</c:v>
                </c:pt>
                <c:pt idx="50">
                  <c:v>87.58004362809034</c:v>
                </c:pt>
                <c:pt idx="51">
                  <c:v>86.41476264751307</c:v>
                </c:pt>
                <c:pt idx="52">
                  <c:v>85.2746021869569</c:v>
                </c:pt>
                <c:pt idx="53">
                  <c:v>84.15881371282333</c:v>
                </c:pt>
                <c:pt idx="54">
                  <c:v>83.06667649700103</c:v>
                </c:pt>
                <c:pt idx="55">
                  <c:v>81.99749639620646</c:v>
                </c:pt>
                <c:pt idx="56">
                  <c:v>80.9506046922049</c:v>
                </c:pt>
                <c:pt idx="57">
                  <c:v>79.92535698963685</c:v>
                </c:pt>
                <c:pt idx="58">
                  <c:v>78.9211321683571</c:v>
                </c:pt>
                <c:pt idx="59">
                  <c:v>77.93733138734497</c:v>
                </c:pt>
                <c:pt idx="60">
                  <c:v>76.973377137417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C$2:$C$62</c:f>
              <c:numCache>
                <c:formatCode>General</c:formatCode>
                <c:ptCount val="61"/>
                <c:pt idx="0">
                  <c:v>137.16071858225857</c:v>
                </c:pt>
                <c:pt idx="1">
                  <c:v>135.49822672393245</c:v>
                </c:pt>
                <c:pt idx="2">
                  <c:v>133.88054020688395</c:v>
                </c:pt>
                <c:pt idx="3">
                  <c:v>132.30586059285787</c:v>
                </c:pt>
                <c:pt idx="4">
                  <c:v>130.77248998314687</c:v>
                </c:pt>
                <c:pt idx="5">
                  <c:v>129.27882374092172</c:v>
                </c:pt>
                <c:pt idx="6">
                  <c:v>127.8233438248642</c:v>
                </c:pt>
                <c:pt idx="7">
                  <c:v>126.40461267937202</c:v>
                </c:pt>
                <c:pt idx="8">
                  <c:v>125.02126763150838</c:v>
                </c:pt>
                <c:pt idx="9">
                  <c:v>123.02606348574568</c:v>
                </c:pt>
                <c:pt idx="10">
                  <c:v>121.11877001142966</c:v>
                </c:pt>
                <c:pt idx="11">
                  <c:v>119.2942734346462</c:v>
                </c:pt>
                <c:pt idx="12">
                  <c:v>117.54782333689771</c:v>
                </c:pt>
                <c:pt idx="13">
                  <c:v>115.87500106459873</c:v>
                </c:pt>
                <c:pt idx="14">
                  <c:v>114.27169142622392</c:v>
                </c:pt>
                <c:pt idx="15">
                  <c:v>112.73405728650121</c:v>
                </c:pt>
                <c:pt idx="16">
                  <c:v>111.25851671767242</c:v>
                </c:pt>
                <c:pt idx="17">
                  <c:v>109.8417224115494</c:v>
                </c:pt>
                <c:pt idx="18">
                  <c:v>108.48054309381448</c:v>
                </c:pt>
                <c:pt idx="19">
                  <c:v>107.17204671465888</c:v>
                </c:pt>
                <c:pt idx="20">
                  <c:v>105.91348521808432</c:v>
                </c:pt>
                <c:pt idx="21">
                  <c:v>105.28594353731826</c:v>
                </c:pt>
                <c:pt idx="22">
                  <c:v>104.66582186136395</c:v>
                </c:pt>
                <c:pt idx="23">
                  <c:v>104.05300085743055</c:v>
                </c:pt>
                <c:pt idx="24">
                  <c:v>103.44736351885359</c:v>
                </c:pt>
                <c:pt idx="25">
                  <c:v>102.84879509109801</c:v>
                </c:pt>
                <c:pt idx="26">
                  <c:v>102.25718300210369</c:v>
                </c:pt>
                <c:pt idx="27">
                  <c:v>101.67241679666719</c:v>
                </c:pt>
                <c:pt idx="28">
                  <c:v>101.09438807455253</c:v>
                </c:pt>
                <c:pt idx="29">
                  <c:v>100.90764757682568</c:v>
                </c:pt>
                <c:pt idx="30">
                  <c:v>100.72267568182076</c:v>
                </c:pt>
                <c:pt idx="31">
                  <c:v>100.53944849280437</c:v>
                </c:pt>
                <c:pt idx="32">
                  <c:v>100.35794236840925</c:v>
                </c:pt>
                <c:pt idx="33">
                  <c:v>100.17813391844153</c:v>
                </c:pt>
                <c:pt idx="34">
                  <c:v>100.0</c:v>
                </c:pt>
                <c:pt idx="35">
                  <c:v>99.82351771389266</c:v>
                </c:pt>
                <c:pt idx="36">
                  <c:v>99.64866440131287</c:v>
                </c:pt>
                <c:pt idx="37">
                  <c:v>99.47541764076963</c:v>
                </c:pt>
                <c:pt idx="38">
                  <c:v>99.30375524524267</c:v>
                </c:pt>
                <c:pt idx="39">
                  <c:v>99.13365525954522</c:v>
                </c:pt>
                <c:pt idx="40">
                  <c:v>98.96509595787985</c:v>
                </c:pt>
                <c:pt idx="41">
                  <c:v>98.79805584156809</c:v>
                </c:pt>
                <c:pt idx="42">
                  <c:v>98.63251363694042</c:v>
                </c:pt>
                <c:pt idx="43">
                  <c:v>98.46844829336887</c:v>
                </c:pt>
                <c:pt idx="44">
                  <c:v>98.30583898143371</c:v>
                </c:pt>
                <c:pt idx="45">
                  <c:v>98.14466509120649</c:v>
                </c:pt>
                <c:pt idx="46">
                  <c:v>97.98490623064093</c:v>
                </c:pt>
                <c:pt idx="47">
                  <c:v>97.82654222406066</c:v>
                </c:pt>
                <c:pt idx="48">
                  <c:v>97.6695531107312</c:v>
                </c:pt>
                <c:pt idx="49">
                  <c:v>96.88889672958356</c:v>
                </c:pt>
                <c:pt idx="50">
                  <c:v>96.12270381894734</c:v>
                </c:pt>
                <c:pt idx="51">
                  <c:v>95.3705708923143</c:v>
                </c:pt>
                <c:pt idx="52">
                  <c:v>94.63210854871848</c:v>
                </c:pt>
                <c:pt idx="53">
                  <c:v>93.90694089060358</c:v>
                </c:pt>
                <c:pt idx="54">
                  <c:v>93.19470496848838</c:v>
                </c:pt>
                <c:pt idx="55">
                  <c:v>92.49505025122383</c:v>
                </c:pt>
                <c:pt idx="56">
                  <c:v>91.80763812067416</c:v>
                </c:pt>
                <c:pt idx="57">
                  <c:v>91.1321413896819</c:v>
                </c:pt>
                <c:pt idx="58">
                  <c:v>90.46824384222735</c:v>
                </c:pt>
                <c:pt idx="59">
                  <c:v>89.81563979471981</c:v>
                </c:pt>
                <c:pt idx="60">
                  <c:v>89.17403367740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D$2:$D$62</c:f>
              <c:numCache>
                <c:formatCode>General</c:formatCode>
                <c:ptCount val="61"/>
                <c:pt idx="0">
                  <c:v>85.98368763443425</c:v>
                </c:pt>
                <c:pt idx="1">
                  <c:v>86.80299435636138</c:v>
                </c:pt>
                <c:pt idx="2">
                  <c:v>87.57808012502485</c:v>
                </c:pt>
                <c:pt idx="3">
                  <c:v>88.31119376135926</c:v>
                </c:pt>
                <c:pt idx="4">
                  <c:v>89.00445516963384</c:v>
                </c:pt>
                <c:pt idx="5">
                  <c:v>89.65986409560433</c:v>
                </c:pt>
                <c:pt idx="6">
                  <c:v>90.27930815142838</c:v>
                </c:pt>
                <c:pt idx="7">
                  <c:v>90.86457018119887</c:v>
                </c:pt>
                <c:pt idx="8">
                  <c:v>91.41733503256586</c:v>
                </c:pt>
                <c:pt idx="9">
                  <c:v>91.45896272558282</c:v>
                </c:pt>
                <c:pt idx="10">
                  <c:v>91.4972437566379</c:v>
                </c:pt>
                <c:pt idx="11">
                  <c:v>91.5328641856987</c:v>
                </c:pt>
                <c:pt idx="12">
                  <c:v>91.56642426514846</c:v>
                </c:pt>
                <c:pt idx="13">
                  <c:v>91.59844729399431</c:v>
                </c:pt>
                <c:pt idx="14">
                  <c:v>91.62938754573652</c:v>
                </c:pt>
                <c:pt idx="15">
                  <c:v>91.65963738210816</c:v>
                </c:pt>
                <c:pt idx="16">
                  <c:v>91.689533648543</c:v>
                </c:pt>
                <c:pt idx="17">
                  <c:v>91.71936343361608</c:v>
                </c:pt>
                <c:pt idx="18">
                  <c:v>91.74936926330574</c:v>
                </c:pt>
                <c:pt idx="19">
                  <c:v>91.77975379139501</c:v>
                </c:pt>
                <c:pt idx="20">
                  <c:v>91.81068403930188</c:v>
                </c:pt>
                <c:pt idx="21">
                  <c:v>92.35428104887</c:v>
                </c:pt>
                <c:pt idx="22">
                  <c:v>92.87727501506842</c:v>
                </c:pt>
                <c:pt idx="23">
                  <c:v>93.38031573949932</c:v>
                </c:pt>
                <c:pt idx="24">
                  <c:v>93.86403074195799</c:v>
                </c:pt>
                <c:pt idx="25">
                  <c:v>94.32902609306363</c:v>
                </c:pt>
                <c:pt idx="26">
                  <c:v>94.77588721200372</c:v>
                </c:pt>
                <c:pt idx="27">
                  <c:v>95.20517963113014</c:v>
                </c:pt>
                <c:pt idx="28">
                  <c:v>95.61744972901427</c:v>
                </c:pt>
                <c:pt idx="29">
                  <c:v>96.38060991075157</c:v>
                </c:pt>
                <c:pt idx="30">
                  <c:v>97.13027387268181</c:v>
                </c:pt>
                <c:pt idx="31">
                  <c:v>97.86674974419792</c:v>
                </c:pt>
                <c:pt idx="32">
                  <c:v>98.59033686765093</c:v>
                </c:pt>
                <c:pt idx="33">
                  <c:v>99.30132608266587</c:v>
                </c:pt>
                <c:pt idx="34">
                  <c:v>100.0</c:v>
                </c:pt>
                <c:pt idx="35">
                  <c:v>100.686633265401</c:v>
                </c:pt>
                <c:pt idx="36">
                  <c:v>101.36149281388278</c:v>
                </c:pt>
                <c:pt idx="37">
                  <c:v>102.02483811483746</c:v>
                </c:pt>
                <c:pt idx="38">
                  <c:v>102.67692140836387</c:v>
                </c:pt>
                <c:pt idx="39">
                  <c:v>103.3179879331783</c:v>
                </c:pt>
                <c:pt idx="40">
                  <c:v>103.94827614646162</c:v>
                </c:pt>
                <c:pt idx="41">
                  <c:v>104.56801793596948</c:v>
                </c:pt>
                <c:pt idx="42">
                  <c:v>105.17743882472521</c:v>
                </c:pt>
                <c:pt idx="43">
                  <c:v>105.77675816859042</c:v>
                </c:pt>
                <c:pt idx="44">
                  <c:v>106.36618934700604</c:v>
                </c:pt>
                <c:pt idx="45">
                  <c:v>106.94593994716838</c:v>
                </c:pt>
                <c:pt idx="46">
                  <c:v>107.51621194190646</c:v>
                </c:pt>
                <c:pt idx="47">
                  <c:v>108.0772018615038</c:v>
                </c:pt>
                <c:pt idx="48">
                  <c:v>108.62910095970155</c:v>
                </c:pt>
                <c:pt idx="49">
                  <c:v>108.47235652290286</c:v>
                </c:pt>
                <c:pt idx="50">
                  <c:v>108.31260208994603</c:v>
                </c:pt>
                <c:pt idx="51">
                  <c:v>108.1500117363387</c:v>
                </c:pt>
                <c:pt idx="52">
                  <c:v>107.98475026581349</c:v>
                </c:pt>
                <c:pt idx="53">
                  <c:v>107.81697372915382</c:v>
                </c:pt>
                <c:pt idx="54">
                  <c:v>107.64682991099399</c:v>
                </c:pt>
                <c:pt idx="55">
                  <c:v>107.47445878686621</c:v>
                </c:pt>
                <c:pt idx="56">
                  <c:v>107.29999295258517</c:v>
                </c:pt>
                <c:pt idx="57">
                  <c:v>107.12355802788367</c:v>
                </c:pt>
                <c:pt idx="58">
                  <c:v>106.94527303607467</c:v>
                </c:pt>
                <c:pt idx="59">
                  <c:v>106.76525076135701</c:v>
                </c:pt>
                <c:pt idx="60">
                  <c:v>106.58359808527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E$2:$E$62</c:f>
              <c:numCache>
                <c:formatCode>General</c:formatCode>
                <c:ptCount val="61"/>
                <c:pt idx="0">
                  <c:v>0.2583723981135055</c:v>
                </c:pt>
                <c:pt idx="1">
                  <c:v>0.264033677517219</c:v>
                </c:pt>
                <c:pt idx="2">
                  <c:v>0.2696091799602705</c:v>
                </c:pt>
                <c:pt idx="3">
                  <c:v>0.2751008402613211</c:v>
                </c:pt>
                <c:pt idx="4">
                  <c:v>0.28051053548325167</c:v>
                </c:pt>
                <c:pt idx="5">
                  <c:v>0.28584008707226444</c:v>
                </c:pt>
                <c:pt idx="6">
                  <c:v>0.2910912629026155</c:v>
                </c:pt>
                <c:pt idx="7">
                  <c:v>0.2962657792317935</c:v>
                </c:pt>
                <c:pt idx="8">
                  <c:v>0.30136530257069355</c:v>
                </c:pt>
                <c:pt idx="9">
                  <c:v>0.3063914514730626</c:v>
                </c:pt>
                <c:pt idx="10">
                  <c:v>0.311345798248255</c:v>
                </c:pt>
                <c:pt idx="11">
                  <c:v>0.3162298706011042</c:v>
                </c:pt>
                <c:pt idx="12">
                  <c:v>0.321045153202505</c:v>
                </c:pt>
                <c:pt idx="13">
                  <c:v>0.3257930891940959</c:v>
                </c:pt>
                <c:pt idx="14">
                  <c:v>0.33047508163024797</c:v>
                </c:pt>
                <c:pt idx="15">
                  <c:v>0.33509249486038417</c:v>
                </c:pt>
                <c:pt idx="16">
                  <c:v>0.33964665585449105</c:v>
                </c:pt>
                <c:pt idx="17">
                  <c:v>0.34413885547452877</c:v>
                </c:pt>
                <c:pt idx="18">
                  <c:v>0.3485703496942953</c:v>
                </c:pt>
                <c:pt idx="19">
                  <c:v>0.35294236077017255</c:v>
                </c:pt>
                <c:pt idx="20">
                  <c:v>0.35725607836503814</c:v>
                </c:pt>
                <c:pt idx="21">
                  <c:v>0.36151266062752124</c:v>
                </c:pt>
                <c:pt idx="22">
                  <c:v>0.36571323522865595</c:v>
                </c:pt>
                <c:pt idx="23">
                  <c:v>0.3698589003578805</c:v>
                </c:pt>
                <c:pt idx="24">
                  <c:v>0.37395072568023185</c:v>
                </c:pt>
                <c:pt idx="25">
                  <c:v>0.37798975325648854</c:v>
                </c:pt>
                <c:pt idx="26">
                  <c:v>0.38197699842792104</c:v>
                </c:pt>
                <c:pt idx="27">
                  <c:v>0.3859134506672337</c:v>
                </c:pt>
                <c:pt idx="28">
                  <c:v>0.38980007439718795</c:v>
                </c:pt>
                <c:pt idx="29">
                  <c:v>0.39363780977833773</c:v>
                </c:pt>
                <c:pt idx="30">
                  <c:v>0.3974275734672231</c:v>
                </c:pt>
                <c:pt idx="31">
                  <c:v>0.40117025934630873</c:v>
                </c:pt>
                <c:pt idx="32">
                  <c:v>0.40486673922688715</c:v>
                </c:pt>
                <c:pt idx="33">
                  <c:v>0.4085178635261086</c:v>
                </c:pt>
                <c:pt idx="34">
                  <c:v>0.412124461919242</c:v>
                </c:pt>
                <c:pt idx="35">
                  <c:v>0.4156873439682163</c:v>
                </c:pt>
                <c:pt idx="36">
                  <c:v>0.419207299727444</c:v>
                </c:pt>
                <c:pt idx="37">
                  <c:v>0.4226851003278784</c:v>
                </c:pt>
                <c:pt idx="38">
                  <c:v>0.4261214985402126</c:v>
                </c:pt>
                <c:pt idx="39">
                  <c:v>0.4295172293180811</c:v>
                </c:pt>
                <c:pt idx="40">
                  <c:v>0.4328730103220924</c:v>
                </c:pt>
                <c:pt idx="41">
                  <c:v>0.43618954242547187</c:v>
                </c:pt>
                <c:pt idx="42">
                  <c:v>0.4394675102020681</c:v>
                </c:pt>
                <c:pt idx="43">
                  <c:v>0.4427075823974317</c:v>
                </c:pt>
                <c:pt idx="44">
                  <c:v>0.44591041238365353</c:v>
                </c:pt>
                <c:pt idx="45">
                  <c:v>0.44907663859860397</c:v>
                </c:pt>
                <c:pt idx="46">
                  <c:v>0.45220688497020295</c:v>
                </c:pt>
                <c:pt idx="47">
                  <c:v>0.45530176132630346</c:v>
                </c:pt>
                <c:pt idx="48">
                  <c:v>0.4583618637907624</c:v>
                </c:pt>
                <c:pt idx="49">
                  <c:v>0.4613877751662329</c:v>
                </c:pt>
                <c:pt idx="50">
                  <c:v>0.46438006530419834</c:v>
                </c:pt>
                <c:pt idx="51">
                  <c:v>0.46733929146273867</c:v>
                </c:pt>
                <c:pt idx="52">
                  <c:v>0.4702659986525039</c:v>
                </c:pt>
                <c:pt idx="53">
                  <c:v>0.4731607199713426</c:v>
                </c:pt>
                <c:pt idx="54">
                  <c:v>0.4760239769280201</c:v>
                </c:pt>
                <c:pt idx="55">
                  <c:v>0.4788562797554362</c:v>
                </c:pt>
                <c:pt idx="56">
                  <c:v>0.48165812771374034</c:v>
                </c:pt>
                <c:pt idx="57">
                  <c:v>0.48443000938372033</c:v>
                </c:pt>
                <c:pt idx="58">
                  <c:v>0.48717240295082825</c:v>
                </c:pt>
                <c:pt idx="59">
                  <c:v>0.48988577648018894</c:v>
                </c:pt>
                <c:pt idx="60">
                  <c:v>0.49257058818292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B$2:$B$29</c:f>
              <c:numCache>
                <c:formatCode>General</c:formatCode>
                <c:ptCount val="28"/>
                <c:pt idx="0">
                  <c:v>242.84438914848394</c:v>
                </c:pt>
                <c:pt idx="1">
                  <c:v>228.81158465585233</c:v>
                </c:pt>
                <c:pt idx="2">
                  <c:v>215.89668316284104</c:v>
                </c:pt>
                <c:pt idx="3">
                  <c:v>204.00876111194387</c:v>
                </c:pt>
                <c:pt idx="4">
                  <c:v>193.05979283436508</c:v>
                </c:pt>
                <c:pt idx="5">
                  <c:v>182.96622736626298</c:v>
                </c:pt>
                <c:pt idx="6">
                  <c:v>173.65002211051825</c:v>
                </c:pt>
                <c:pt idx="7">
                  <c:v>165.03919451241083</c:v>
                </c:pt>
                <c:pt idx="8">
                  <c:v>156.54445871181426</c:v>
                </c:pt>
                <c:pt idx="9">
                  <c:v>144.35639052502472</c:v>
                </c:pt>
                <c:pt idx="10">
                  <c:v>133.43360128171025</c:v>
                </c:pt>
                <c:pt idx="11">
                  <c:v>123.64842474192181</c:v>
                </c:pt>
                <c:pt idx="12">
                  <c:v>114.88401248514973</c:v>
                </c:pt>
                <c:pt idx="13">
                  <c:v>107.03373699376715</c:v>
                </c:pt>
                <c:pt idx="14">
                  <c:v>100.0</c:v>
                </c:pt>
                <c:pt idx="15">
                  <c:v>93.693183660967</c:v>
                </c:pt>
                <c:pt idx="16">
                  <c:v>88.03102470468411</c:v>
                </c:pt>
                <c:pt idx="17">
                  <c:v>82.93836529722172</c:v>
                </c:pt>
                <c:pt idx="18">
                  <c:v>78.30318026557988</c:v>
                </c:pt>
                <c:pt idx="19">
                  <c:v>73.72656984829167</c:v>
                </c:pt>
                <c:pt idx="20">
                  <c:v>69.56515379821141</c:v>
                </c:pt>
                <c:pt idx="21">
                  <c:v>65.776391539361</c:v>
                </c:pt>
                <c:pt idx="22">
                  <c:v>62.32204382069747</c:v>
                </c:pt>
                <c:pt idx="23">
                  <c:v>59.16775075758586</c:v>
                </c:pt>
                <c:pt idx="24">
                  <c:v>56.28263666324243</c:v>
                </c:pt>
                <c:pt idx="25">
                  <c:v>53.63895125112522</c:v>
                </c:pt>
                <c:pt idx="26">
                  <c:v>51.2117506495272</c:v>
                </c:pt>
                <c:pt idx="27">
                  <c:v>48.978617216157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C$2:$C$29</c:f>
              <c:numCache>
                <c:formatCode>General</c:formatCode>
                <c:ptCount val="28"/>
                <c:pt idx="0">
                  <c:v>191.89597504846873</c:v>
                </c:pt>
                <c:pt idx="1">
                  <c:v>184.2154786231528</c:v>
                </c:pt>
                <c:pt idx="2">
                  <c:v>177.03703383954044</c:v>
                </c:pt>
                <c:pt idx="3">
                  <c:v>170.33381774159284</c:v>
                </c:pt>
                <c:pt idx="4">
                  <c:v>164.0762337842296</c:v>
                </c:pt>
                <c:pt idx="5">
                  <c:v>158.23345786345314</c:v>
                </c:pt>
                <c:pt idx="6">
                  <c:v>152.77465165068344</c:v>
                </c:pt>
                <c:pt idx="7">
                  <c:v>147.66984179314866</c:v>
                </c:pt>
                <c:pt idx="8">
                  <c:v>142.41458226553684</c:v>
                </c:pt>
                <c:pt idx="9">
                  <c:v>133.49418833433376</c:v>
                </c:pt>
                <c:pt idx="10">
                  <c:v>125.39869427219577</c:v>
                </c:pt>
                <c:pt idx="11">
                  <c:v>118.06253757736873</c:v>
                </c:pt>
                <c:pt idx="12">
                  <c:v>111.42316112457374</c:v>
                </c:pt>
                <c:pt idx="13">
                  <c:v>105.42119511142083</c:v>
                </c:pt>
                <c:pt idx="14">
                  <c:v>100.0</c:v>
                </c:pt>
                <c:pt idx="15">
                  <c:v>95.10525378463198</c:v>
                </c:pt>
                <c:pt idx="16">
                  <c:v>90.68488539445325</c:v>
                </c:pt>
                <c:pt idx="17">
                  <c:v>86.68934947245648</c:v>
                </c:pt>
                <c:pt idx="18">
                  <c:v>83.02544678013555</c:v>
                </c:pt>
                <c:pt idx="19">
                  <c:v>79.2844159785935</c:v>
                </c:pt>
                <c:pt idx="20">
                  <c:v>75.85850249420899</c:v>
                </c:pt>
                <c:pt idx="21">
                  <c:v>72.71934654194266</c:v>
                </c:pt>
                <c:pt idx="22">
                  <c:v>69.84087048189002</c:v>
                </c:pt>
                <c:pt idx="23">
                  <c:v>67.19911730104667</c:v>
                </c:pt>
                <c:pt idx="24">
                  <c:v>64.7720832789785</c:v>
                </c:pt>
                <c:pt idx="25">
                  <c:v>62.53955848664421</c:v>
                </c:pt>
                <c:pt idx="26">
                  <c:v>60.48298274617853</c:v>
                </c:pt>
                <c:pt idx="27">
                  <c:v>58.5853198300089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D$2:$D$29</c:f>
              <c:numCache>
                <c:formatCode>General</c:formatCode>
                <c:ptCount val="28"/>
                <c:pt idx="0">
                  <c:v>132.03124488875036</c:v>
                </c:pt>
                <c:pt idx="1">
                  <c:v>131.8596388440391</c:v>
                </c:pt>
                <c:pt idx="2">
                  <c:v>131.453929935169</c:v>
                </c:pt>
                <c:pt idx="3">
                  <c:v>130.865103768013</c:v>
                </c:pt>
                <c:pt idx="4">
                  <c:v>130.134245123034</c:v>
                </c:pt>
                <c:pt idx="5">
                  <c:v>129.29412448765794</c:v>
                </c:pt>
                <c:pt idx="6">
                  <c:v>128.370691428696</c:v>
                </c:pt>
                <c:pt idx="7">
                  <c:v>127.38439809289844</c:v>
                </c:pt>
                <c:pt idx="8">
                  <c:v>125.93017390089219</c:v>
                </c:pt>
                <c:pt idx="9">
                  <c:v>120.83076458795736</c:v>
                </c:pt>
                <c:pt idx="10">
                  <c:v>116.03716192895357</c:v>
                </c:pt>
                <c:pt idx="11">
                  <c:v>111.55790386810507</c:v>
                </c:pt>
                <c:pt idx="12">
                  <c:v>107.39499646294182</c:v>
                </c:pt>
                <c:pt idx="13">
                  <c:v>103.54509939344511</c:v>
                </c:pt>
                <c:pt idx="14">
                  <c:v>100.0</c:v>
                </c:pt>
                <c:pt idx="15">
                  <c:v>96.74700176163327</c:v>
                </c:pt>
                <c:pt idx="16">
                  <c:v>93.76955820646248</c:v>
                </c:pt>
                <c:pt idx="17">
                  <c:v>91.04819798582456</c:v>
                </c:pt>
                <c:pt idx="18">
                  <c:v>88.51197710185954</c:v>
                </c:pt>
                <c:pt idx="19">
                  <c:v>85.74171997476495</c:v>
                </c:pt>
                <c:pt idx="20">
                  <c:v>83.1695154525234</c:v>
                </c:pt>
                <c:pt idx="21">
                  <c:v>80.78371534472846</c:v>
                </c:pt>
                <c:pt idx="22">
                  <c:v>78.57254812025</c:v>
                </c:pt>
                <c:pt idx="23">
                  <c:v>76.52427415247321</c:v>
                </c:pt>
                <c:pt idx="24">
                  <c:v>74.62729396695602</c:v>
                </c:pt>
                <c:pt idx="25">
                  <c:v>72.87022861988144</c:v>
                </c:pt>
                <c:pt idx="26">
                  <c:v>71.24198529279565</c:v>
                </c:pt>
                <c:pt idx="27">
                  <c:v>69.73181574594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E$2:$E$29</c:f>
              <c:numCache>
                <c:formatCode>General</c:formatCode>
                <c:ptCount val="28"/>
                <c:pt idx="0">
                  <c:v>0.3207821045180027</c:v>
                </c:pt>
                <c:pt idx="1">
                  <c:v>0.33359753650822904</c:v>
                </c:pt>
                <c:pt idx="2">
                  <c:v>0.3459383228691878</c:v>
                </c:pt>
                <c:pt idx="3">
                  <c:v>0.35783035336247526</c:v>
                </c:pt>
                <c:pt idx="4">
                  <c:v>0.3692976684810025</c:v>
                </c:pt>
                <c:pt idx="5">
                  <c:v>0.38036262166554635</c:v>
                </c:pt>
                <c:pt idx="6">
                  <c:v>0.39104602474027833</c:v>
                </c:pt>
                <c:pt idx="7">
                  <c:v>0.40136727855823967</c:v>
                </c:pt>
                <c:pt idx="8">
                  <c:v>0.41134449058226896</c:v>
                </c:pt>
                <c:pt idx="9">
                  <c:v>0.4209945809005925</c:v>
                </c:pt>
                <c:pt idx="10">
                  <c:v>0.430333377982841</c:v>
                </c:pt>
                <c:pt idx="11">
                  <c:v>0.43937570531644665</c:v>
                </c:pt>
                <c:pt idx="12">
                  <c:v>0.44813545992087717</c:v>
                </c:pt>
                <c:pt idx="13">
                  <c:v>0.4566256836144021</c:v>
                </c:pt>
                <c:pt idx="14">
                  <c:v>0.46485862780206266</c:v>
                </c:pt>
                <c:pt idx="15">
                  <c:v>0.4728458124617335</c:v>
                </c:pt>
                <c:pt idx="16">
                  <c:v>0.4805980799255315</c:v>
                </c:pt>
                <c:pt idx="17">
                  <c:v>0.4881256439845817</c:v>
                </c:pt>
                <c:pt idx="18">
                  <c:v>0.4954381347848019</c:v>
                </c:pt>
                <c:pt idx="19">
                  <c:v>0.5025446399286779</c:v>
                </c:pt>
                <c:pt idx="20">
                  <c:v>0.5094537421518908</c:v>
                </c:pt>
                <c:pt idx="21">
                  <c:v>0.5161735539032347</c:v>
                </c:pt>
                <c:pt idx="22">
                  <c:v>0.5227117491207587</c:v>
                </c:pt>
                <c:pt idx="23">
                  <c:v>0.5290755924658153</c:v>
                </c:pt>
                <c:pt idx="24">
                  <c:v>0.5352719662491596</c:v>
                </c:pt>
                <c:pt idx="25">
                  <c:v>0.5413073952589108</c:v>
                </c:pt>
                <c:pt idx="26">
                  <c:v>0.5471880696786684</c:v>
                </c:pt>
                <c:pt idx="27">
                  <c:v>0.55291986626501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51.67360080606178</c:v>
                </c:pt>
                <c:pt idx="1">
                  <c:v>145.65026556612912</c:v>
                </c:pt>
                <c:pt idx="2">
                  <c:v>139.98607677825726</c:v>
                </c:pt>
                <c:pt idx="3">
                  <c:v>134.65382451782267</c:v>
                </c:pt>
                <c:pt idx="4">
                  <c:v>129.62895283405783</c:v>
                </c:pt>
                <c:pt idx="5">
                  <c:v>124.88919298672067</c:v>
                </c:pt>
                <c:pt idx="6">
                  <c:v>121.6839004244558</c:v>
                </c:pt>
                <c:pt idx="7">
                  <c:v>118.78340300343362</c:v>
                </c:pt>
                <c:pt idx="8">
                  <c:v>116.02932050106361</c:v>
                </c:pt>
                <c:pt idx="9">
                  <c:v>113.41000430284518</c:v>
                </c:pt>
                <c:pt idx="10">
                  <c:v>110.91490485479993</c:v>
                </c:pt>
                <c:pt idx="11">
                  <c:v>108.53449209482211</c:v>
                </c:pt>
                <c:pt idx="12">
                  <c:v>106.26017039891158</c:v>
                </c:pt>
                <c:pt idx="13">
                  <c:v>104.0841917132201</c:v>
                </c:pt>
                <c:pt idx="14">
                  <c:v>101.99957006015852</c:v>
                </c:pt>
                <c:pt idx="15">
                  <c:v>100.0</c:v>
                </c:pt>
                <c:pt idx="16">
                  <c:v>95.50773942947566</c:v>
                </c:pt>
                <c:pt idx="17">
                  <c:v>91.06614058465003</c:v>
                </c:pt>
                <c:pt idx="18">
                  <c:v>86.94516519245173</c:v>
                </c:pt>
                <c:pt idx="19">
                  <c:v>83.11711510972464</c:v>
                </c:pt>
                <c:pt idx="20">
                  <c:v>79.55687990315832</c:v>
                </c:pt>
                <c:pt idx="21">
                  <c:v>76.24170823326875</c:v>
                </c:pt>
                <c:pt idx="22">
                  <c:v>73.15099958195121</c:v>
                </c:pt>
                <c:pt idx="23">
                  <c:v>70.26610916402275</c:v>
                </c:pt>
                <c:pt idx="24">
                  <c:v>67.57016352440304</c:v>
                </c:pt>
                <c:pt idx="25">
                  <c:v>65.04788658248216</c:v>
                </c:pt>
                <c:pt idx="26">
                  <c:v>63.660757117473196</c:v>
                </c:pt>
                <c:pt idx="27">
                  <c:v>62.43156337185126</c:v>
                </c:pt>
                <c:pt idx="28">
                  <c:v>61.24452982583464</c:v>
                </c:pt>
                <c:pt idx="29">
                  <c:v>60.097832956308764</c:v>
                </c:pt>
                <c:pt idx="30">
                  <c:v>58.98974323069407</c:v>
                </c:pt>
                <c:pt idx="31">
                  <c:v>57.918619404970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23.74322018223542</c:v>
                </c:pt>
                <c:pt idx="1">
                  <c:v>120.61151513575258</c:v>
                </c:pt>
                <c:pt idx="2">
                  <c:v>117.63558823681264</c:v>
                </c:pt>
                <c:pt idx="3">
                  <c:v>114.80519447563981</c:v>
                </c:pt>
                <c:pt idx="4">
                  <c:v>112.1110839163186</c:v>
                </c:pt>
                <c:pt idx="5">
                  <c:v>109.54483850583769</c:v>
                </c:pt>
                <c:pt idx="6">
                  <c:v>108.22674058389549</c:v>
                </c:pt>
                <c:pt idx="7">
                  <c:v>107.10516004588959</c:v>
                </c:pt>
                <c:pt idx="8">
                  <c:v>106.04660934239509</c:v>
                </c:pt>
                <c:pt idx="9">
                  <c:v>105.04562676064833</c:v>
                </c:pt>
                <c:pt idx="10">
                  <c:v>104.0972210210886</c:v>
                </c:pt>
                <c:pt idx="11">
                  <c:v>103.19686111262962</c:v>
                </c:pt>
                <c:pt idx="12">
                  <c:v>102.340455302802</c:v>
                </c:pt>
                <c:pt idx="13">
                  <c:v>101.5243224013768</c:v>
                </c:pt>
                <c:pt idx="14">
                  <c:v>100.74515823564461</c:v>
                </c:pt>
                <c:pt idx="15">
                  <c:v>100.0</c:v>
                </c:pt>
                <c:pt idx="16">
                  <c:v>96.68974799121838</c:v>
                </c:pt>
                <c:pt idx="17">
                  <c:v>93.32165271649218</c:v>
                </c:pt>
                <c:pt idx="18">
                  <c:v>90.17660884953088</c:v>
                </c:pt>
                <c:pt idx="19">
                  <c:v>87.23732665457449</c:v>
                </c:pt>
                <c:pt idx="20">
                  <c:v>84.4879196056727</c:v>
                </c:pt>
                <c:pt idx="21">
                  <c:v>81.9138134706726</c:v>
                </c:pt>
                <c:pt idx="22">
                  <c:v>79.50166157566285</c:v>
                </c:pt>
                <c:pt idx="23">
                  <c:v>77.23925998282127</c:v>
                </c:pt>
                <c:pt idx="24">
                  <c:v>75.11546079548997</c:v>
                </c:pt>
                <c:pt idx="25">
                  <c:v>73.12008410926566</c:v>
                </c:pt>
                <c:pt idx="26">
                  <c:v>72.34908152039596</c:v>
                </c:pt>
                <c:pt idx="27">
                  <c:v>71.72494636885502</c:v>
                </c:pt>
                <c:pt idx="28">
                  <c:v>71.11945151911085</c:v>
                </c:pt>
                <c:pt idx="29">
                  <c:v>70.53201017962851</c:v>
                </c:pt>
                <c:pt idx="30">
                  <c:v>69.96205784044697</c:v>
                </c:pt>
                <c:pt idx="31">
                  <c:v>69.40905116005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82.29673806228628</c:v>
                </c:pt>
                <c:pt idx="1">
                  <c:v>83.46997929919638</c:v>
                </c:pt>
                <c:pt idx="2">
                  <c:v>84.49264343194213</c:v>
                </c:pt>
                <c:pt idx="3">
                  <c:v>85.38033274680608</c:v>
                </c:pt>
                <c:pt idx="4">
                  <c:v>86.1470943227415</c:v>
                </c:pt>
                <c:pt idx="5">
                  <c:v>86.8055697590617</c:v>
                </c:pt>
                <c:pt idx="6">
                  <c:v>88.28831722602224</c:v>
                </c:pt>
                <c:pt idx="7">
                  <c:v>89.80602068557087</c:v>
                </c:pt>
                <c:pt idx="8">
                  <c:v>91.26199056839641</c:v>
                </c:pt>
                <c:pt idx="9">
                  <c:v>92.66010383110783</c:v>
                </c:pt>
                <c:pt idx="10">
                  <c:v>94.00374806931653</c:v>
                </c:pt>
                <c:pt idx="11">
                  <c:v>95.29591922780372</c:v>
                </c:pt>
                <c:pt idx="12">
                  <c:v>96.5392997691944</c:v>
                </c:pt>
                <c:pt idx="13">
                  <c:v>97.73631957734487</c:v>
                </c:pt>
                <c:pt idx="14">
                  <c:v>98.88920229922074</c:v>
                </c:pt>
                <c:pt idx="15">
                  <c:v>100.0</c:v>
                </c:pt>
                <c:pt idx="16">
                  <c:v>98.42014576085799</c:v>
                </c:pt>
                <c:pt idx="17">
                  <c:v>96.62006963788936</c:v>
                </c:pt>
                <c:pt idx="18">
                  <c:v>94.89906456549345</c:v>
                </c:pt>
                <c:pt idx="19">
                  <c:v>93.25538510701826</c:v>
                </c:pt>
                <c:pt idx="20">
                  <c:v>91.68688958190668</c:v>
                </c:pt>
                <c:pt idx="21">
                  <c:v>90.19116416848789</c:v>
                </c:pt>
                <c:pt idx="22">
                  <c:v>88.76562986442337</c:v>
                </c:pt>
                <c:pt idx="23">
                  <c:v>87.4076277411232</c:v>
                </c:pt>
                <c:pt idx="24">
                  <c:v>86.11448212234177</c:v>
                </c:pt>
                <c:pt idx="25">
                  <c:v>84.88354365671867</c:v>
                </c:pt>
                <c:pt idx="26">
                  <c:v>85.0146905805379</c:v>
                </c:pt>
                <c:pt idx="27">
                  <c:v>85.27696813528924</c:v>
                </c:pt>
                <c:pt idx="28">
                  <c:v>85.52315318564179</c:v>
                </c:pt>
                <c:pt idx="29">
                  <c:v>85.7545006096123</c:v>
                </c:pt>
                <c:pt idx="30">
                  <c:v>85.97217984231862</c:v>
                </c:pt>
                <c:pt idx="31">
                  <c:v>86.177280722699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2745896844328069</c:v>
                </c:pt>
                <c:pt idx="1">
                  <c:v>0.2856141573137672</c:v>
                </c:pt>
                <c:pt idx="2">
                  <c:v>0.2963085561563756</c:v>
                </c:pt>
                <c:pt idx="3">
                  <c:v>0.3066874860065763</c:v>
                </c:pt>
                <c:pt idx="4">
                  <c:v>0.31676470277973656</c:v>
                </c:pt>
                <c:pt idx="5">
                  <c:v>0.32655317408661727</c:v>
                </c:pt>
                <c:pt idx="6">
                  <c:v>0.3360651349046029</c:v>
                </c:pt>
                <c:pt idx="7">
                  <c:v>0.34531213859673926</c:v>
                </c:pt>
                <c:pt idx="8">
                  <c:v>0.354305103725905</c:v>
                </c:pt>
                <c:pt idx="9">
                  <c:v>0.36305435706295225</c:v>
                </c:pt>
                <c:pt idx="10">
                  <c:v>0.37156967314499834</c:v>
                </c:pt>
                <c:pt idx="11">
                  <c:v>0.37986031070245224</c:v>
                </c:pt>
                <c:pt idx="12">
                  <c:v>0.38793504624018077</c:v>
                </c:pt>
                <c:pt idx="13">
                  <c:v>0.3958022050288673</c:v>
                </c:pt>
                <c:pt idx="14">
                  <c:v>0.40346968973662284</c:v>
                </c:pt>
                <c:pt idx="15">
                  <c:v>0.4109450069078432</c:v>
                </c:pt>
                <c:pt idx="16">
                  <c:v>0.4182352914758154</c:v>
                </c:pt>
                <c:pt idx="17">
                  <c:v>0.42534732947733356</c:v>
                </c:pt>
                <c:pt idx="18">
                  <c:v>0.43228757912132704</c:v>
                </c:pt>
                <c:pt idx="19">
                  <c:v>0.43906219034899624</c:v>
                </c:pt>
                <c:pt idx="20">
                  <c:v>0.445677023009975</c:v>
                </c:pt>
                <c:pt idx="21">
                  <c:v>0.45213766376743453</c:v>
                </c:pt>
                <c:pt idx="22">
                  <c:v>0.45844944183463</c:v>
                </c:pt>
                <c:pt idx="23">
                  <c:v>0.4646174436360579</c:v>
                </c:pt>
                <c:pt idx="24">
                  <c:v>0.47064652647799415</c:v>
                </c:pt>
                <c:pt idx="25">
                  <c:v>0.4765413313056335</c:v>
                </c:pt>
                <c:pt idx="26">
                  <c:v>0.48230629461724533</c:v>
                </c:pt>
                <c:pt idx="27">
                  <c:v>0.4879456595996285</c:v>
                </c:pt>
                <c:pt idx="28">
                  <c:v>0.49346348654359784</c:v>
                </c:pt>
                <c:pt idx="29">
                  <c:v>0.4988636625932396</c:v>
                </c:pt>
                <c:pt idx="30">
                  <c:v>0.5041499108781211</c:v>
                </c:pt>
                <c:pt idx="31">
                  <c:v>0.50932579907354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203.30344952204783</c:v>
                </c:pt>
                <c:pt idx="1">
                  <c:v>193.39012829351967</c:v>
                </c:pt>
                <c:pt idx="2">
                  <c:v>184.23907781677295</c:v>
                </c:pt>
                <c:pt idx="3">
                  <c:v>175.76904869894108</c:v>
                </c:pt>
                <c:pt idx="4">
                  <c:v>167.90832955438907</c:v>
                </c:pt>
                <c:pt idx="5">
                  <c:v>160.59406888717913</c:v>
                </c:pt>
                <c:pt idx="6">
                  <c:v>152.14974087581584</c:v>
                </c:pt>
                <c:pt idx="7">
                  <c:v>144.22733292575032</c:v>
                </c:pt>
                <c:pt idx="8">
                  <c:v>136.96138925208015</c:v>
                </c:pt>
                <c:pt idx="9">
                  <c:v>130.29382229608996</c:v>
                </c:pt>
                <c:pt idx="10">
                  <c:v>124.16912313662824</c:v>
                </c:pt>
                <c:pt idx="11">
                  <c:v>118.53510215354328</c:v>
                </c:pt>
                <c:pt idx="12">
                  <c:v>113.34339105643278</c:v>
                </c:pt>
                <c:pt idx="13">
                  <c:v>108.54971112650816</c:v>
                </c:pt>
                <c:pt idx="14">
                  <c:v>104.1139371162805</c:v>
                </c:pt>
                <c:pt idx="15">
                  <c:v>100.0</c:v>
                </c:pt>
                <c:pt idx="16">
                  <c:v>92.1442021350868</c:v>
                </c:pt>
                <c:pt idx="17">
                  <c:v>84.73906202115391</c:v>
                </c:pt>
                <c:pt idx="18">
                  <c:v>78.15175920306228</c:v>
                </c:pt>
                <c:pt idx="19">
                  <c:v>72.27911875583113</c:v>
                </c:pt>
                <c:pt idx="20">
                  <c:v>67.03099904310834</c:v>
                </c:pt>
                <c:pt idx="21">
                  <c:v>62.32887244376675</c:v>
                </c:pt>
                <c:pt idx="22">
                  <c:v>58.10450058426023</c:v>
                </c:pt>
                <c:pt idx="23">
                  <c:v>54.29871037685929</c:v>
                </c:pt>
                <c:pt idx="24">
                  <c:v>50.86027246368373</c:v>
                </c:pt>
                <c:pt idx="25">
                  <c:v>47.744882204995974</c:v>
                </c:pt>
                <c:pt idx="26">
                  <c:v>46.0635891791156</c:v>
                </c:pt>
                <c:pt idx="27">
                  <c:v>44.59615001871274</c:v>
                </c:pt>
                <c:pt idx="28">
                  <c:v>43.200408330739506</c:v>
                </c:pt>
                <c:pt idx="29">
                  <c:v>41.87187593809507</c:v>
                </c:pt>
                <c:pt idx="30">
                  <c:v>40.60639932421444</c:v>
                </c:pt>
                <c:pt idx="31">
                  <c:v>39.400131859328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65.72562998024978</c:v>
                </c:pt>
                <c:pt idx="1">
                  <c:v>160.01128068508024</c:v>
                </c:pt>
                <c:pt idx="2">
                  <c:v>154.69684044465964</c:v>
                </c:pt>
                <c:pt idx="3">
                  <c:v>149.74056880023352</c:v>
                </c:pt>
                <c:pt idx="4">
                  <c:v>145.1050928036346</c:v>
                </c:pt>
                <c:pt idx="5">
                  <c:v>140.75737259833716</c:v>
                </c:pt>
                <c:pt idx="6">
                  <c:v>135.22696044985898</c:v>
                </c:pt>
                <c:pt idx="7">
                  <c:v>129.961512079973</c:v>
                </c:pt>
                <c:pt idx="8">
                  <c:v>125.10262434100763</c:v>
                </c:pt>
                <c:pt idx="9">
                  <c:v>120.62024992352178</c:v>
                </c:pt>
                <c:pt idx="10">
                  <c:v>116.48401410408475</c:v>
                </c:pt>
                <c:pt idx="11">
                  <c:v>112.66405539335732</c:v>
                </c:pt>
                <c:pt idx="12">
                  <c:v>109.13169420997536</c:v>
                </c:pt>
                <c:pt idx="13">
                  <c:v>105.85991379425086</c:v>
                </c:pt>
                <c:pt idx="14">
                  <c:v>102.82366211233247</c:v>
                </c:pt>
                <c:pt idx="15">
                  <c:v>100.0</c:v>
                </c:pt>
                <c:pt idx="16">
                  <c:v>93.2917445053873</c:v>
                </c:pt>
                <c:pt idx="17">
                  <c:v>86.85101201276318</c:v>
                </c:pt>
                <c:pt idx="18">
                  <c:v>81.07464193317912</c:v>
                </c:pt>
                <c:pt idx="19">
                  <c:v>75.88466935802413</c:v>
                </c:pt>
                <c:pt idx="20">
                  <c:v>71.21190544734651</c:v>
                </c:pt>
                <c:pt idx="21">
                  <c:v>66.99520167263869</c:v>
                </c:pt>
                <c:pt idx="22">
                  <c:v>63.18071710242334</c:v>
                </c:pt>
                <c:pt idx="23">
                  <c:v>59.72120221110543</c:v>
                </c:pt>
                <c:pt idx="24">
                  <c:v>56.5753084925392</c:v>
                </c:pt>
                <c:pt idx="25">
                  <c:v>53.706931993922645</c:v>
                </c:pt>
                <c:pt idx="26">
                  <c:v>52.390221650961756</c:v>
                </c:pt>
                <c:pt idx="27">
                  <c:v>51.277400544931325</c:v>
                </c:pt>
                <c:pt idx="28">
                  <c:v>50.211412956084764</c:v>
                </c:pt>
                <c:pt idx="29">
                  <c:v>49.1896532333577</c:v>
                </c:pt>
                <c:pt idx="30">
                  <c:v>48.20969122912025</c:v>
                </c:pt>
                <c:pt idx="31">
                  <c:v>47.269259567725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05.23824328217857</c:v>
                </c:pt>
                <c:pt idx="1">
                  <c:v>106.32559494162193</c:v>
                </c:pt>
                <c:pt idx="2">
                  <c:v>107.21898406749789</c:v>
                </c:pt>
                <c:pt idx="3">
                  <c:v>107.94205195384947</c:v>
                </c:pt>
                <c:pt idx="4">
                  <c:v>108.51415299569065</c:v>
                </c:pt>
                <c:pt idx="5">
                  <c:v>108.95142821598844</c:v>
                </c:pt>
                <c:pt idx="6">
                  <c:v>108.11528178501293</c:v>
                </c:pt>
                <c:pt idx="7">
                  <c:v>107.12369451189939</c:v>
                </c:pt>
                <c:pt idx="8">
                  <c:v>106.13127515142264</c:v>
                </c:pt>
                <c:pt idx="9">
                  <c:v>105.15447402573754</c:v>
                </c:pt>
                <c:pt idx="10">
                  <c:v>104.2044337398281</c:v>
                </c:pt>
                <c:pt idx="11">
                  <c:v>103.28804918363875</c:v>
                </c:pt>
                <c:pt idx="12">
                  <c:v>102.40895482723373</c:v>
                </c:pt>
                <c:pt idx="13">
                  <c:v>101.56839012815178</c:v>
                </c:pt>
                <c:pt idx="14">
                  <c:v>100.76591892319502</c:v>
                </c:pt>
                <c:pt idx="15">
                  <c:v>100.0</c:v>
                </c:pt>
                <c:pt idx="16">
                  <c:v>95.1073065347511</c:v>
                </c:pt>
                <c:pt idx="17">
                  <c:v>90.18901289554965</c:v>
                </c:pt>
                <c:pt idx="18">
                  <c:v>85.69119682920623</c:v>
                </c:pt>
                <c:pt idx="19">
                  <c:v>81.57631032412002</c:v>
                </c:pt>
                <c:pt idx="20">
                  <c:v>77.80866294253312</c:v>
                </c:pt>
                <c:pt idx="21">
                  <c:v>74.35482428131023</c:v>
                </c:pt>
                <c:pt idx="22">
                  <c:v>71.18386837219506</c:v>
                </c:pt>
                <c:pt idx="23">
                  <c:v>68.2674892157398</c:v>
                </c:pt>
                <c:pt idx="24">
                  <c:v>65.58001220334675</c:v>
                </c:pt>
                <c:pt idx="25">
                  <c:v>63.0983246620342</c:v>
                </c:pt>
                <c:pt idx="26">
                  <c:v>62.3576524688437</c:v>
                </c:pt>
                <c:pt idx="27">
                  <c:v>61.80522604519674</c:v>
                </c:pt>
                <c:pt idx="28">
                  <c:v>61.26009218863171</c:v>
                </c:pt>
                <c:pt idx="29">
                  <c:v>60.72265891904289</c:v>
                </c:pt>
                <c:pt idx="30">
                  <c:v>60.19325303353005</c:v>
                </c:pt>
                <c:pt idx="31">
                  <c:v>59.6721318514409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2484133302476369</c:v>
                </c:pt>
                <c:pt idx="1">
                  <c:v>0.2598356200615025</c:v>
                </c:pt>
                <c:pt idx="2">
                  <c:v>0.2709159251504022</c:v>
                </c:pt>
                <c:pt idx="3">
                  <c:v>0.28166937758181204</c:v>
                </c:pt>
                <c:pt idx="4">
                  <c:v>0.29211022965184386</c:v>
                </c:pt>
                <c:pt idx="5">
                  <c:v>0.30225191690611547</c:v>
                </c:pt>
                <c:pt idx="6">
                  <c:v>0.31210711581987094</c:v>
                </c:pt>
                <c:pt idx="7">
                  <c:v>0.3216877966580343</c:v>
                </c:pt>
                <c:pt idx="8">
                  <c:v>0.3310052719786656</c:v>
                </c:pt>
                <c:pt idx="9">
                  <c:v>0.340070241193047</c:v>
                </c:pt>
                <c:pt idx="10">
                  <c:v>0.3488928315514287</c:v>
                </c:pt>
                <c:pt idx="11">
                  <c:v>0.35748263588452334</c:v>
                </c:pt>
                <c:pt idx="12">
                  <c:v>0.36584874739644363</c:v>
                </c:pt>
                <c:pt idx="13">
                  <c:v>0.37399979177438136</c:v>
                </c:pt>
                <c:pt idx="14">
                  <c:v>0.38194395685338656</c:v>
                </c:pt>
                <c:pt idx="15">
                  <c:v>0.38968902005071254</c:v>
                </c:pt>
                <c:pt idx="16">
                  <c:v>0.3972423737629563</c:v>
                </c:pt>
                <c:pt idx="17">
                  <c:v>0.40461104890032856</c:v>
                </c:pt>
                <c:pt idx="18">
                  <c:v>0.4118017367155419</c:v>
                </c:pt>
                <c:pt idx="19">
                  <c:v>0.41882080906977154</c:v>
                </c:pt>
                <c:pt idx="20">
                  <c:v>0.42567433726470366</c:v>
                </c:pt>
                <c:pt idx="21">
                  <c:v>0.4323681095576557</c:v>
                </c:pt>
                <c:pt idx="22">
                  <c:v>0.43890764746597777</c:v>
                </c:pt>
                <c:pt idx="23">
                  <c:v>0.44529822095725347</c:v>
                </c:pt>
                <c:pt idx="24">
                  <c:v>0.4515448626131404</c:v>
                </c:pt>
                <c:pt idx="25">
                  <c:v>0.4576523808468471</c:v>
                </c:pt>
                <c:pt idx="26">
                  <c:v>0.4636253722472121</c:v>
                </c:pt>
                <c:pt idx="27">
                  <c:v>0.46946823311597885</c:v>
                </c:pt>
                <c:pt idx="28">
                  <c:v>0.47518517025912566</c:v>
                </c:pt>
                <c:pt idx="29">
                  <c:v>0.48078021108791963</c:v>
                </c:pt>
                <c:pt idx="30">
                  <c:v>0.48625721308066316</c:v>
                </c:pt>
                <c:pt idx="31">
                  <c:v>0.491619872651846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B$2:$B$31</c:f>
              <c:numCache>
                <c:formatCode>General</c:formatCode>
                <c:ptCount val="30"/>
                <c:pt idx="0">
                  <c:v>159.85891714933197</c:v>
                </c:pt>
                <c:pt idx="1">
                  <c:v>154.88783072708813</c:v>
                </c:pt>
                <c:pt idx="2">
                  <c:v>150.10648455638398</c:v>
                </c:pt>
                <c:pt idx="3">
                  <c:v>145.50480522125255</c:v>
                </c:pt>
                <c:pt idx="4">
                  <c:v>139.70642000849787</c:v>
                </c:pt>
                <c:pt idx="5">
                  <c:v>134.06641257577368</c:v>
                </c:pt>
                <c:pt idx="6">
                  <c:v>128.7493424622214</c:v>
                </c:pt>
                <c:pt idx="7">
                  <c:v>123.75697277658509</c:v>
                </c:pt>
                <c:pt idx="8">
                  <c:v>119.08511757131714</c:v>
                </c:pt>
                <c:pt idx="9">
                  <c:v>114.7230369316895</c:v>
                </c:pt>
                <c:pt idx="10">
                  <c:v>110.65439345059104</c:v>
                </c:pt>
                <c:pt idx="11">
                  <c:v>106.85905045242623</c:v>
                </c:pt>
                <c:pt idx="12">
                  <c:v>103.31500369251654</c:v>
                </c:pt>
                <c:pt idx="13">
                  <c:v>100.0</c:v>
                </c:pt>
                <c:pt idx="14">
                  <c:v>95.34348378201015</c:v>
                </c:pt>
                <c:pt idx="15">
                  <c:v>90.76503128031554</c:v>
                </c:pt>
                <c:pt idx="16">
                  <c:v>86.42848992185623</c:v>
                </c:pt>
                <c:pt idx="17">
                  <c:v>82.32227018492019</c:v>
                </c:pt>
                <c:pt idx="18">
                  <c:v>78.4346993791729</c:v>
                </c:pt>
                <c:pt idx="19">
                  <c:v>74.7542785443636</c:v>
                </c:pt>
                <c:pt idx="20">
                  <c:v>71.26994074324276</c:v>
                </c:pt>
                <c:pt idx="21">
                  <c:v>67.97125583148848</c:v>
                </c:pt>
                <c:pt idx="22">
                  <c:v>64.84854724468613</c:v>
                </c:pt>
                <c:pt idx="23">
                  <c:v>61.8929165730483</c:v>
                </c:pt>
                <c:pt idx="24">
                  <c:v>56.66364306087321</c:v>
                </c:pt>
                <c:pt idx="25">
                  <c:v>51.61850107913529</c:v>
                </c:pt>
                <c:pt idx="26">
                  <c:v>47.013849565003305</c:v>
                </c:pt>
                <c:pt idx="27">
                  <c:v>42.82058535829397</c:v>
                </c:pt>
                <c:pt idx="28">
                  <c:v>39.010950477079696</c:v>
                </c:pt>
                <c:pt idx="29">
                  <c:v>35.558255841080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C$2:$C$31</c:f>
              <c:numCache>
                <c:formatCode>General</c:formatCode>
                <c:ptCount val="30"/>
                <c:pt idx="0">
                  <c:v>131.42983652833018</c:v>
                </c:pt>
                <c:pt idx="1">
                  <c:v>129.44089594983404</c:v>
                </c:pt>
                <c:pt idx="2">
                  <c:v>127.48120873544049</c:v>
                </c:pt>
                <c:pt idx="3">
                  <c:v>125.54951389126046</c:v>
                </c:pt>
                <c:pt idx="4">
                  <c:v>122.44754384071106</c:v>
                </c:pt>
                <c:pt idx="5">
                  <c:v>119.33261317269464</c:v>
                </c:pt>
                <c:pt idx="6">
                  <c:v>116.35921478509333</c:v>
                </c:pt>
                <c:pt idx="7">
                  <c:v>113.54152941187475</c:v>
                </c:pt>
                <c:pt idx="8">
                  <c:v>110.88834305397499</c:v>
                </c:pt>
                <c:pt idx="9">
                  <c:v>108.40209176505253</c:v>
                </c:pt>
                <c:pt idx="10">
                  <c:v>106.07934436044768</c:v>
                </c:pt>
                <c:pt idx="11">
                  <c:v>103.91217071657522</c:v>
                </c:pt>
                <c:pt idx="12">
                  <c:v>101.8897801269173</c:v>
                </c:pt>
                <c:pt idx="13">
                  <c:v>100.0</c:v>
                </c:pt>
                <c:pt idx="14">
                  <c:v>96.65360561298913</c:v>
                </c:pt>
                <c:pt idx="15">
                  <c:v>93.2610960859976</c:v>
                </c:pt>
                <c:pt idx="16">
                  <c:v>89.99664711737265</c:v>
                </c:pt>
                <c:pt idx="17">
                  <c:v>86.85762331835824</c:v>
                </c:pt>
                <c:pt idx="18">
                  <c:v>83.84072254701506</c:v>
                </c:pt>
                <c:pt idx="19">
                  <c:v>80.94223899860489</c:v>
                </c:pt>
                <c:pt idx="20">
                  <c:v>78.1583496291991</c:v>
                </c:pt>
                <c:pt idx="21">
                  <c:v>75.48536342130944</c:v>
                </c:pt>
                <c:pt idx="22">
                  <c:v>72.91989001174038</c:v>
                </c:pt>
                <c:pt idx="23">
                  <c:v>70.45891460866787</c:v>
                </c:pt>
                <c:pt idx="24">
                  <c:v>65.29975831636654</c:v>
                </c:pt>
                <c:pt idx="25">
                  <c:v>60.21078088323794</c:v>
                </c:pt>
                <c:pt idx="26">
                  <c:v>55.501444738204455</c:v>
                </c:pt>
                <c:pt idx="27">
                  <c:v>51.155068375613986</c:v>
                </c:pt>
                <c:pt idx="28">
                  <c:v>47.15506726088713</c:v>
                </c:pt>
                <c:pt idx="29">
                  <c:v>43.48469369019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D$2:$D$31</c:f>
              <c:numCache>
                <c:formatCode>General</c:formatCode>
                <c:ptCount val="30"/>
                <c:pt idx="0">
                  <c:v>84.96181689953819</c:v>
                </c:pt>
                <c:pt idx="1">
                  <c:v>87.90194134812506</c:v>
                </c:pt>
                <c:pt idx="2">
                  <c:v>90.59826951137583</c:v>
                </c:pt>
                <c:pt idx="3">
                  <c:v>93.0648731485592</c:v>
                </c:pt>
                <c:pt idx="4">
                  <c:v>94.39124538040082</c:v>
                </c:pt>
                <c:pt idx="5">
                  <c:v>95.41238430220353</c:v>
                </c:pt>
                <c:pt idx="6">
                  <c:v>96.26845817802545</c:v>
                </c:pt>
                <c:pt idx="7">
                  <c:v>96.99576484510281</c:v>
                </c:pt>
                <c:pt idx="8">
                  <c:v>97.62597927408775</c:v>
                </c:pt>
                <c:pt idx="9">
                  <c:v>98.18456384216383</c:v>
                </c:pt>
                <c:pt idx="10">
                  <c:v>98.69044036889608</c:v>
                </c:pt>
                <c:pt idx="11">
                  <c:v>99.15665005601751</c:v>
                </c:pt>
                <c:pt idx="12">
                  <c:v>99.59153094019928</c:v>
                </c:pt>
                <c:pt idx="13">
                  <c:v>100.0</c:v>
                </c:pt>
                <c:pt idx="14">
                  <c:v>98.77966295526832</c:v>
                </c:pt>
                <c:pt idx="15">
                  <c:v>97.30737476880456</c:v>
                </c:pt>
                <c:pt idx="16">
                  <c:v>95.77313830049054</c:v>
                </c:pt>
                <c:pt idx="17">
                  <c:v>94.18984871609734</c:v>
                </c:pt>
                <c:pt idx="18">
                  <c:v>92.56863228032903</c:v>
                </c:pt>
                <c:pt idx="19">
                  <c:v>90.91914382031968</c:v>
                </c:pt>
                <c:pt idx="20">
                  <c:v>89.24992148684943</c:v>
                </c:pt>
                <c:pt idx="21">
                  <c:v>87.56872841408219</c:v>
                </c:pt>
                <c:pt idx="22">
                  <c:v>85.88282213765535</c:v>
                </c:pt>
                <c:pt idx="23">
                  <c:v>84.19912382122968</c:v>
                </c:pt>
                <c:pt idx="24">
                  <c:v>79.12737783199455</c:v>
                </c:pt>
                <c:pt idx="25">
                  <c:v>73.9424705411864</c:v>
                </c:pt>
                <c:pt idx="26">
                  <c:v>69.04077847701045</c:v>
                </c:pt>
                <c:pt idx="27">
                  <c:v>64.42614001830931</c:v>
                </c:pt>
                <c:pt idx="28">
                  <c:v>60.10027041395618</c:v>
                </c:pt>
                <c:pt idx="29">
                  <c:v>56.062568595225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E$2:$E$31</c:f>
              <c:numCache>
                <c:formatCode>General</c:formatCode>
                <c:ptCount val="30"/>
                <c:pt idx="0">
                  <c:v>0.2596293607811847</c:v>
                </c:pt>
                <c:pt idx="1">
                  <c:v>0.2724385413905068</c:v>
                </c:pt>
                <c:pt idx="2">
                  <c:v>0.28481203558454593</c:v>
                </c:pt>
                <c:pt idx="3">
                  <c:v>0.296771700541326</c:v>
                </c:pt>
                <c:pt idx="4">
                  <c:v>0.3083379554666333</c:v>
                </c:pt>
                <c:pt idx="5">
                  <c:v>0.31952989793481046</c:v>
                </c:pt>
                <c:pt idx="6">
                  <c:v>0.33036540911419265</c:v>
                </c:pt>
                <c:pt idx="7">
                  <c:v>0.3408612490967288</c:v>
                </c:pt>
                <c:pt idx="8">
                  <c:v>0.35103314340079167</c:v>
                </c:pt>
                <c:pt idx="9">
                  <c:v>0.3608958615861899</c:v>
                </c:pt>
                <c:pt idx="10">
                  <c:v>0.37046328880795343</c:v>
                </c:pt>
                <c:pt idx="11">
                  <c:v>0.3797484910379247</c:v>
                </c:pt>
                <c:pt idx="12">
                  <c:v>0.38876377459842</c:v>
                </c:pt>
                <c:pt idx="13">
                  <c:v>0.3975207405783853</c:v>
                </c:pt>
                <c:pt idx="14">
                  <c:v>0.4060303346380127</c:v>
                </c:pt>
                <c:pt idx="15">
                  <c:v>0.4143028926514109</c:v>
                </c:pt>
                <c:pt idx="16">
                  <c:v>0.42234818258751783</c:v>
                </c:pt>
                <c:pt idx="17">
                  <c:v>0.430175442986061</c:v>
                </c:pt>
                <c:pt idx="18">
                  <c:v>0.4377934183472099</c:v>
                </c:pt>
                <c:pt idx="19">
                  <c:v>0.4452103917199379</c:v>
                </c:pt>
                <c:pt idx="20">
                  <c:v>0.45243421474441786</c:v>
                </c:pt>
                <c:pt idx="21">
                  <c:v>0.4594723353775232</c:v>
                </c:pt>
                <c:pt idx="22">
                  <c:v>0.46633182350725</c:v>
                </c:pt>
                <c:pt idx="23">
                  <c:v>0.47301939464124415</c:v>
                </c:pt>
                <c:pt idx="24">
                  <c:v>0.4795414318362784</c:v>
                </c:pt>
                <c:pt idx="25">
                  <c:v>0.4859040060192092</c:v>
                </c:pt>
                <c:pt idx="26">
                  <c:v>0.49211289483540216</c:v>
                </c:pt>
                <c:pt idx="27">
                  <c:v>0.4981736001476288</c:v>
                </c:pt>
                <c:pt idx="28">
                  <c:v>0.5040913642968312</c:v>
                </c:pt>
                <c:pt idx="29">
                  <c:v>0.50987118522577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B$2:$B$41</c:f>
              <c:numCache>
                <c:formatCode>General</c:formatCode>
                <c:ptCount val="40"/>
                <c:pt idx="0">
                  <c:v>263.3544557998404</c:v>
                </c:pt>
                <c:pt idx="1">
                  <c:v>251.43977556609846</c:v>
                </c:pt>
                <c:pt idx="2">
                  <c:v>240.5422565304675</c:v>
                </c:pt>
                <c:pt idx="3">
                  <c:v>230.5584097832512</c:v>
                </c:pt>
                <c:pt idx="4">
                  <c:v>221.3937563429218</c:v>
                </c:pt>
                <c:pt idx="5">
                  <c:v>212.96290346891476</c:v>
                </c:pt>
                <c:pt idx="6">
                  <c:v>205.18923888469223</c:v>
                </c:pt>
                <c:pt idx="7">
                  <c:v>198.00439069316897</c:v>
                </c:pt>
                <c:pt idx="8">
                  <c:v>191.34756155181663</c:v>
                </c:pt>
                <c:pt idx="9">
                  <c:v>185.16481328923066</c:v>
                </c:pt>
                <c:pt idx="10">
                  <c:v>172.6756247380405</c:v>
                </c:pt>
                <c:pt idx="11">
                  <c:v>160.82152914242457</c:v>
                </c:pt>
                <c:pt idx="12">
                  <c:v>150.22064308597757</c:v>
                </c:pt>
                <c:pt idx="13">
                  <c:v>140.71103674787074</c:v>
                </c:pt>
                <c:pt idx="14">
                  <c:v>132.15350060216915</c:v>
                </c:pt>
                <c:pt idx="15">
                  <c:v>124.42840394833176</c:v>
                </c:pt>
                <c:pt idx="16">
                  <c:v>117.4329325194291</c:v>
                </c:pt>
                <c:pt idx="17">
                  <c:v>111.07867995887155</c:v>
                </c:pt>
                <c:pt idx="18">
                  <c:v>105.28955930963313</c:v>
                </c:pt>
                <c:pt idx="19">
                  <c:v>100.0</c:v>
                </c:pt>
                <c:pt idx="20">
                  <c:v>96.58264858316355</c:v>
                </c:pt>
                <c:pt idx="21">
                  <c:v>93.50730574863232</c:v>
                </c:pt>
                <c:pt idx="22">
                  <c:v>90.59168244229608</c:v>
                </c:pt>
                <c:pt idx="23">
                  <c:v>87.82539506204388</c:v>
                </c:pt>
                <c:pt idx="24">
                  <c:v>85.19882736722602</c:v>
                </c:pt>
                <c:pt idx="25">
                  <c:v>82.703069086527</c:v>
                </c:pt>
                <c:pt idx="26">
                  <c:v>80.32985957470228</c:v>
                </c:pt>
                <c:pt idx="27">
                  <c:v>78.07153608824807</c:v>
                </c:pt>
                <c:pt idx="28">
                  <c:v>75.9209862834569</c:v>
                </c:pt>
                <c:pt idx="29">
                  <c:v>73.87160458337333</c:v>
                </c:pt>
                <c:pt idx="30">
                  <c:v>70.30615578041656</c:v>
                </c:pt>
                <c:pt idx="31">
                  <c:v>66.85421997436444</c:v>
                </c:pt>
                <c:pt idx="32">
                  <c:v>63.67571618634111</c:v>
                </c:pt>
                <c:pt idx="33">
                  <c:v>60.74289837081355</c:v>
                </c:pt>
                <c:pt idx="34">
                  <c:v>58.030775719941516</c:v>
                </c:pt>
                <c:pt idx="35">
                  <c:v>55.51691784828851</c:v>
                </c:pt>
                <c:pt idx="36">
                  <c:v>53.181263571966376</c:v>
                </c:pt>
                <c:pt idx="37">
                  <c:v>51.00593197197859</c:v>
                </c:pt>
                <c:pt idx="38">
                  <c:v>48.97503502323425</c:v>
                </c:pt>
                <c:pt idx="39">
                  <c:v>47.074492658764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C$2:$C$41</c:f>
              <c:numCache>
                <c:formatCode>General</c:formatCode>
                <c:ptCount val="40"/>
                <c:pt idx="0">
                  <c:v>208.0046235306742</c:v>
                </c:pt>
                <c:pt idx="1">
                  <c:v>201.35584666355038</c:v>
                </c:pt>
                <c:pt idx="2">
                  <c:v>195.2728398945138</c:v>
                </c:pt>
                <c:pt idx="3">
                  <c:v>189.70351162675473</c:v>
                </c:pt>
                <c:pt idx="4">
                  <c:v>184.5988445694074</c:v>
                </c:pt>
                <c:pt idx="5">
                  <c:v>179.91343016391076</c:v>
                </c:pt>
                <c:pt idx="6">
                  <c:v>175.6056863382336</c:v>
                </c:pt>
                <c:pt idx="7">
                  <c:v>171.63785638107282</c:v>
                </c:pt>
                <c:pt idx="8">
                  <c:v>167.9758653575694</c:v>
                </c:pt>
                <c:pt idx="9">
                  <c:v>164.58909135924753</c:v>
                </c:pt>
                <c:pt idx="10">
                  <c:v>155.40377645012262</c:v>
                </c:pt>
                <c:pt idx="11">
                  <c:v>146.52164930725345</c:v>
                </c:pt>
                <c:pt idx="12">
                  <c:v>138.53224267233887</c:v>
                </c:pt>
                <c:pt idx="13">
                  <c:v>131.32606624427046</c:v>
                </c:pt>
                <c:pt idx="14">
                  <c:v>124.8079288559933</c:v>
                </c:pt>
                <c:pt idx="15">
                  <c:v>118.89518775590517</c:v>
                </c:pt>
                <c:pt idx="16">
                  <c:v>113.5161581599708</c:v>
                </c:pt>
                <c:pt idx="17">
                  <c:v>108.60868693957401</c:v>
                </c:pt>
                <c:pt idx="18">
                  <c:v>104.11888382073803</c:v>
                </c:pt>
                <c:pt idx="19">
                  <c:v>100.0</c:v>
                </c:pt>
                <c:pt idx="20">
                  <c:v>97.65377391550632</c:v>
                </c:pt>
                <c:pt idx="21">
                  <c:v>95.58122640305746</c:v>
                </c:pt>
                <c:pt idx="22">
                  <c:v>93.60567879856792</c:v>
                </c:pt>
                <c:pt idx="23">
                  <c:v>91.72157182016942</c:v>
                </c:pt>
                <c:pt idx="24">
                  <c:v>89.92369960161739</c:v>
                </c:pt>
                <c:pt idx="25">
                  <c:v>88.2071861891635</c:v>
                </c:pt>
                <c:pt idx="26">
                  <c:v>86.56746347491745</c:v>
                </c:pt>
                <c:pt idx="27">
                  <c:v>85.00025047936147</c:v>
                </c:pt>
                <c:pt idx="28">
                  <c:v>83.50153389582158</c:v>
                </c:pt>
                <c:pt idx="29">
                  <c:v>82.06754982367472</c:v>
                </c:pt>
                <c:pt idx="30">
                  <c:v>78.88844141700247</c:v>
                </c:pt>
                <c:pt idx="31">
                  <c:v>75.75895321845371</c:v>
                </c:pt>
                <c:pt idx="32">
                  <c:v>72.86566767467592</c:v>
                </c:pt>
                <c:pt idx="33">
                  <c:v>70.18561704271758</c:v>
                </c:pt>
                <c:pt idx="34">
                  <c:v>67.69782224815228</c:v>
                </c:pt>
                <c:pt idx="35">
                  <c:v>65.3832144618692</c:v>
                </c:pt>
                <c:pt idx="36">
                  <c:v>63.22454843152738</c:v>
                </c:pt>
                <c:pt idx="37">
                  <c:v>61.20630618673408</c:v>
                </c:pt>
                <c:pt idx="38">
                  <c:v>59.314590351365645</c:v>
                </c:pt>
                <c:pt idx="39">
                  <c:v>57.537008184028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D$2:$D$41</c:f>
              <c:numCache>
                <c:formatCode>General</c:formatCode>
                <c:ptCount val="40"/>
                <c:pt idx="0">
                  <c:v>139.14174153242163</c:v>
                </c:pt>
                <c:pt idx="1">
                  <c:v>139.08843319110687</c:v>
                </c:pt>
                <c:pt idx="2">
                  <c:v>139.03149579916004</c:v>
                </c:pt>
                <c:pt idx="3">
                  <c:v>138.9842946195025</c:v>
                </c:pt>
                <c:pt idx="4">
                  <c:v>138.9555738710378</c:v>
                </c:pt>
                <c:pt idx="5">
                  <c:v>138.9506248323332</c:v>
                </c:pt>
                <c:pt idx="6">
                  <c:v>138.97220652684695</c:v>
                </c:pt>
                <c:pt idx="7">
                  <c:v>139.02125635431454</c:v>
                </c:pt>
                <c:pt idx="8">
                  <c:v>139.0974288746089</c:v>
                </c:pt>
                <c:pt idx="9">
                  <c:v>139.19949816484757</c:v>
                </c:pt>
                <c:pt idx="10">
                  <c:v>134.0971257891755</c:v>
                </c:pt>
                <c:pt idx="11">
                  <c:v>128.88365872524136</c:v>
                </c:pt>
                <c:pt idx="12">
                  <c:v>124.11710131427942</c:v>
                </c:pt>
                <c:pt idx="13">
                  <c:v>119.75297123628235</c:v>
                </c:pt>
                <c:pt idx="14">
                  <c:v>115.75060743887518</c:v>
                </c:pt>
                <c:pt idx="15">
                  <c:v>112.0731606463004</c:v>
                </c:pt>
                <c:pt idx="16">
                  <c:v>108.68746681239261</c:v>
                </c:pt>
                <c:pt idx="17">
                  <c:v>105.56384543149863</c:v>
                </c:pt>
                <c:pt idx="18">
                  <c:v>102.67585118280067</c:v>
                </c:pt>
                <c:pt idx="19">
                  <c:v>100.0</c:v>
                </c:pt>
                <c:pt idx="20">
                  <c:v>98.98021634931253</c:v>
                </c:pt>
                <c:pt idx="21">
                  <c:v>98.14975665365833</c:v>
                </c:pt>
                <c:pt idx="22">
                  <c:v>97.33822649211578</c:v>
                </c:pt>
                <c:pt idx="23">
                  <c:v>96.54610584556524</c:v>
                </c:pt>
                <c:pt idx="24">
                  <c:v>95.77370625105927</c:v>
                </c:pt>
                <c:pt idx="25">
                  <c:v>95.02119551061558</c:v>
                </c:pt>
                <c:pt idx="26">
                  <c:v>94.28861918221325</c:v>
                </c:pt>
                <c:pt idx="27">
                  <c:v>93.57591921501643</c:v>
                </c:pt>
                <c:pt idx="28">
                  <c:v>92.88295004630113</c:v>
                </c:pt>
                <c:pt idx="29">
                  <c:v>92.20949245256958</c:v>
                </c:pt>
                <c:pt idx="30">
                  <c:v>89.50423668491979</c:v>
                </c:pt>
                <c:pt idx="31">
                  <c:v>86.76929066579065</c:v>
                </c:pt>
                <c:pt idx="32">
                  <c:v>84.22463474580495</c:v>
                </c:pt>
                <c:pt idx="33">
                  <c:v>81.85324315943265</c:v>
                </c:pt>
                <c:pt idx="34">
                  <c:v>79.63911624773638</c:v>
                </c:pt>
                <c:pt idx="35">
                  <c:v>77.56735024567945</c:v>
                </c:pt>
                <c:pt idx="36">
                  <c:v>75.62418316417822</c:v>
                </c:pt>
                <c:pt idx="37">
                  <c:v>73.79701549580571</c:v>
                </c:pt>
                <c:pt idx="38">
                  <c:v>72.07440508364199</c:v>
                </c:pt>
                <c:pt idx="39">
                  <c:v>70.446037726570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E$2:$E$41</c:f>
              <c:numCache>
                <c:formatCode>General</c:formatCode>
                <c:ptCount val="40"/>
                <c:pt idx="0">
                  <c:v>0.30061574685889236</c:v>
                </c:pt>
                <c:pt idx="1">
                  <c:v>0.31035647461851784</c:v>
                </c:pt>
                <c:pt idx="2">
                  <c:v>0.31982959996716454</c:v>
                </c:pt>
                <c:pt idx="3">
                  <c:v>0.3290460010516204</c:v>
                </c:pt>
                <c:pt idx="4">
                  <c:v>0.33801597429959324</c:v>
                </c:pt>
                <c:pt idx="5">
                  <c:v>0.34674927279168305</c:v>
                </c:pt>
                <c:pt idx="6">
                  <c:v>0.35525514163554134</c:v>
                </c:pt>
                <c:pt idx="7">
                  <c:v>0.36354235061194823</c:v>
                </c:pt>
                <c:pt idx="8">
                  <c:v>0.37161922433514694</c:v>
                </c:pt>
                <c:pt idx="9">
                  <c:v>0.3794936701454835</c:v>
                </c:pt>
                <c:pt idx="10">
                  <c:v>0.38717320393081167</c:v>
                </c:pt>
                <c:pt idx="11">
                  <c:v>0.39466497405390677</c:v>
                </c:pt>
                <c:pt idx="12">
                  <c:v>0.4019757835460092</c:v>
                </c:pt>
                <c:pt idx="13">
                  <c:v>0.4091121107113315</c:v>
                </c:pt>
                <c:pt idx="14">
                  <c:v>0.4160801282736979</c:v>
                </c:pt>
                <c:pt idx="15">
                  <c:v>0.4228857211842607</c:v>
                </c:pt>
                <c:pt idx="16">
                  <c:v>0.4295345031982671</c:v>
                </c:pt>
                <c:pt idx="17">
                  <c:v>0.4360318323190157</c:v>
                </c:pt>
                <c:pt idx="18">
                  <c:v>0.44238282519830613</c:v>
                </c:pt>
                <c:pt idx="19">
                  <c:v>0.44859237057471696</c:v>
                </c:pt>
                <c:pt idx="20">
                  <c:v>0.45466514182389406</c:v>
                </c:pt>
                <c:pt idx="21">
                  <c:v>0.46060560868855743</c:v>
                </c:pt>
                <c:pt idx="22">
                  <c:v>0.4664180482501032</c:v>
                </c:pt>
                <c:pt idx="23">
                  <c:v>0.47210655519839634</c:v>
                </c:pt>
                <c:pt idx="24">
                  <c:v>0.4776750514515778</c:v>
                </c:pt>
                <c:pt idx="25">
                  <c:v>0.4831272951733776</c:v>
                </c:pt>
                <c:pt idx="26">
                  <c:v>0.48846688923150383</c:v>
                </c:pt>
                <c:pt idx="27">
                  <c:v>0.4936972891371122</c:v>
                </c:pt>
                <c:pt idx="28">
                  <c:v>0.49882181050212127</c:v>
                </c:pt>
                <c:pt idx="29">
                  <c:v>0.5038436360481922</c:v>
                </c:pt>
                <c:pt idx="30">
                  <c:v>0.5087658221985077</c:v>
                </c:pt>
                <c:pt idx="31">
                  <c:v>0.513591305281037</c:v>
                </c:pt>
                <c:pt idx="32">
                  <c:v>0.518322907369743</c:v>
                </c:pt>
                <c:pt idx="33">
                  <c:v>0.5229633417881462</c:v>
                </c:pt>
                <c:pt idx="34">
                  <c:v>0.5275152182978013</c:v>
                </c:pt>
                <c:pt idx="35">
                  <c:v>0.5319810479925291</c:v>
                </c:pt>
                <c:pt idx="36">
                  <c:v>0.5363632479176927</c:v>
                </c:pt>
                <c:pt idx="37">
                  <c:v>0.5406641454323708</c:v>
                </c:pt>
                <c:pt idx="38">
                  <c:v>0.5448859823309705</c:v>
                </c:pt>
                <c:pt idx="39">
                  <c:v>0.549030918739613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osse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B$2:$B$9</c:f>
              <c:numCache>
                <c:formatCode>General</c:formatCode>
                <c:ptCount val="8"/>
                <c:pt idx="0">
                  <c:v>149.7007453048284</c:v>
                </c:pt>
                <c:pt idx="1">
                  <c:v>128.66161071655634</c:v>
                </c:pt>
                <c:pt idx="2">
                  <c:v>111.93115536020177</c:v>
                </c:pt>
                <c:pt idx="3">
                  <c:v>100.0</c:v>
                </c:pt>
                <c:pt idx="4">
                  <c:v>90.87386885191736</c:v>
                </c:pt>
                <c:pt idx="5">
                  <c:v>83.10129422944145</c:v>
                </c:pt>
                <c:pt idx="6">
                  <c:v>76.42743476410143</c:v>
                </c:pt>
                <c:pt idx="7">
                  <c:v>70.8643846710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C$2:$C$9</c:f>
              <c:numCache>
                <c:formatCode>General</c:formatCode>
                <c:ptCount val="8"/>
                <c:pt idx="0">
                  <c:v>128.9798125247523</c:v>
                </c:pt>
                <c:pt idx="1">
                  <c:v>116.78628015843124</c:v>
                </c:pt>
                <c:pt idx="2">
                  <c:v>106.76420401973436</c:v>
                </c:pt>
                <c:pt idx="3">
                  <c:v>100.0</c:v>
                </c:pt>
                <c:pt idx="4">
                  <c:v>95.07007722274894</c:v>
                </c:pt>
                <c:pt idx="5">
                  <c:v>90.77641532599343</c:v>
                </c:pt>
                <c:pt idx="6">
                  <c:v>87.01617440913593</c:v>
                </c:pt>
                <c:pt idx="7">
                  <c:v>83.956114089501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D$2:$D$9</c:f>
              <c:numCache>
                <c:formatCode>General</c:formatCode>
                <c:ptCount val="8"/>
                <c:pt idx="0">
                  <c:v>109.79955533998532</c:v>
                </c:pt>
                <c:pt idx="1">
                  <c:v>105.79932698763929</c:v>
                </c:pt>
                <c:pt idx="2">
                  <c:v>101.98645694667128</c:v>
                </c:pt>
                <c:pt idx="3">
                  <c:v>100.0</c:v>
                </c:pt>
                <c:pt idx="4">
                  <c:v>98.94769973925904</c:v>
                </c:pt>
                <c:pt idx="5">
                  <c:v>97.86782292695007</c:v>
                </c:pt>
                <c:pt idx="6">
                  <c:v>96.79837938991757</c:v>
                </c:pt>
                <c:pt idx="7">
                  <c:v>96.0486126564098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9.30</c:v>
                </c:pt>
                <c:pt idx="1">
                  <c:v>9.80</c:v>
                </c:pt>
                <c:pt idx="2">
                  <c:v>10.30</c:v>
                </c:pt>
                <c:pt idx="3">
                  <c:v>10.80</c:v>
                </c:pt>
                <c:pt idx="4">
                  <c:v>11.30</c:v>
                </c:pt>
                <c:pt idx="5">
                  <c:v>11.80</c:v>
                </c:pt>
                <c:pt idx="6">
                  <c:v>12.30</c:v>
                </c:pt>
                <c:pt idx="7">
                  <c:v>12.80</c:v>
                </c:pt>
              </c:strCache>
            </c:strRef>
          </c:cat>
          <c:val>
            <c:numRef>
              <c:f>Sheet1!$E$2:$E$9</c:f>
              <c:numCache>
                <c:formatCode>General</c:formatCode>
                <c:ptCount val="8"/>
                <c:pt idx="0">
                  <c:v>0.44383653007846546</c:v>
                </c:pt>
                <c:pt idx="1">
                  <c:v>0.4722122173193601</c:v>
                </c:pt>
                <c:pt idx="2">
                  <c:v>0.4978329834689057</c:v>
                </c:pt>
                <c:pt idx="3">
                  <c:v>0.5210814564564563</c:v>
                </c:pt>
                <c:pt idx="4">
                  <c:v>0.5422725424539583</c:v>
                </c:pt>
                <c:pt idx="5">
                  <c:v>0.5616677737059091</c:v>
                </c:pt>
                <c:pt idx="6">
                  <c:v>0.579486156888596</c:v>
                </c:pt>
                <c:pt idx="7">
                  <c:v>0.59591247888513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B$2:$B$14</c:f>
              <c:numCache>
                <c:formatCode>General</c:formatCode>
                <c:ptCount val="13"/>
                <c:pt idx="0">
                  <c:v>146.97737737373865</c:v>
                </c:pt>
                <c:pt idx="1">
                  <c:v>135.24791168812155</c:v>
                </c:pt>
                <c:pt idx="2">
                  <c:v>125.33445808662589</c:v>
                </c:pt>
                <c:pt idx="3">
                  <c:v>118.15239348260447</c:v>
                </c:pt>
                <c:pt idx="4">
                  <c:v>111.5732973139655</c:v>
                </c:pt>
                <c:pt idx="5">
                  <c:v>105.54002203237079</c:v>
                </c:pt>
                <c:pt idx="6">
                  <c:v>100.0</c:v>
                </c:pt>
                <c:pt idx="7">
                  <c:v>94.90524675604907</c:v>
                </c:pt>
                <c:pt idx="8">
                  <c:v>90.2122339175437</c:v>
                </c:pt>
                <c:pt idx="9">
                  <c:v>85.81480377082657</c:v>
                </c:pt>
                <c:pt idx="10">
                  <c:v>81.18713416108672</c:v>
                </c:pt>
                <c:pt idx="11">
                  <c:v>76.92877767918463</c:v>
                </c:pt>
                <c:pt idx="12">
                  <c:v>73.002501128238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C$2:$C$14</c:f>
              <c:numCache>
                <c:formatCode>General</c:formatCode>
                <c:ptCount val="13"/>
                <c:pt idx="0">
                  <c:v>116.70421619192066</c:v>
                </c:pt>
                <c:pt idx="1">
                  <c:v>112.0294295909154</c:v>
                </c:pt>
                <c:pt idx="2">
                  <c:v>108.11755751484213</c:v>
                </c:pt>
                <c:pt idx="3">
                  <c:v>105.97926561708053</c:v>
                </c:pt>
                <c:pt idx="4">
                  <c:v>103.90952837846122</c:v>
                </c:pt>
                <c:pt idx="5">
                  <c:v>101.91523273553132</c:v>
                </c:pt>
                <c:pt idx="6">
                  <c:v>100.0</c:v>
                </c:pt>
                <c:pt idx="7">
                  <c:v>98.16497653137698</c:v>
                </c:pt>
                <c:pt idx="8">
                  <c:v>96.40948499899983</c:v>
                </c:pt>
                <c:pt idx="9">
                  <c:v>94.65768306334672</c:v>
                </c:pt>
                <c:pt idx="10">
                  <c:v>92.34121955015144</c:v>
                </c:pt>
                <c:pt idx="11">
                  <c:v>90.13992330173018</c:v>
                </c:pt>
                <c:pt idx="12">
                  <c:v>88.04687871124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D$2:$D$14</c:f>
              <c:numCache>
                <c:formatCode>General</c:formatCode>
                <c:ptCount val="13"/>
                <c:pt idx="0">
                  <c:v>89.48619065319127</c:v>
                </c:pt>
                <c:pt idx="1">
                  <c:v>91.16197205031622</c:v>
                </c:pt>
                <c:pt idx="2">
                  <c:v>92.6508489438204</c:v>
                </c:pt>
                <c:pt idx="3">
                  <c:v>95.04434299019692</c:v>
                </c:pt>
                <c:pt idx="4">
                  <c:v>97.02574951325103</c:v>
                </c:pt>
                <c:pt idx="5">
                  <c:v>98.6595741457948</c:v>
                </c:pt>
                <c:pt idx="6">
                  <c:v>100.0</c:v>
                </c:pt>
                <c:pt idx="7">
                  <c:v>101.09238403244021</c:v>
                </c:pt>
                <c:pt idx="8">
                  <c:v>101.97460732335712</c:v>
                </c:pt>
                <c:pt idx="9">
                  <c:v>102.59832173505865</c:v>
                </c:pt>
                <c:pt idx="10">
                  <c:v>102.35839544751985</c:v>
                </c:pt>
                <c:pt idx="11">
                  <c:v>102.00478371020816</c:v>
                </c:pt>
                <c:pt idx="12">
                  <c:v>101.557918964810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E$2:$E$14</c:f>
              <c:numCache>
                <c:formatCode>General</c:formatCode>
                <c:ptCount val="13"/>
                <c:pt idx="0">
                  <c:v>0.4060487351240459</c:v>
                </c:pt>
                <c:pt idx="1">
                  <c:v>0.4307967044938773</c:v>
                </c:pt>
                <c:pt idx="2">
                  <c:v>0.45356483631412225</c:v>
                </c:pt>
                <c:pt idx="3">
                  <c:v>0.47458157337896373</c:v>
                </c:pt>
                <c:pt idx="4">
                  <c:v>0.4940415151056686</c:v>
                </c:pt>
                <c:pt idx="5">
                  <c:v>0.512111460994752</c:v>
                </c:pt>
                <c:pt idx="6">
                  <c:v>0.5289352037190709</c:v>
                </c:pt>
                <c:pt idx="7">
                  <c:v>0.5446373635951017</c:v>
                </c:pt>
                <c:pt idx="8">
                  <c:v>0.5593264808984856</c:v>
                </c:pt>
                <c:pt idx="9">
                  <c:v>0.5730975283704081</c:v>
                </c:pt>
                <c:pt idx="10">
                  <c:v>0.5860339669046379</c:v>
                </c:pt>
                <c:pt idx="11">
                  <c:v>0.5982094384662663</c:v>
                </c:pt>
                <c:pt idx="12">
                  <c:v>0.60968916879580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B$2:$B$10</c:f>
              <c:numCache>
                <c:formatCode>General</c:formatCode>
                <c:ptCount val="9"/>
                <c:pt idx="0">
                  <c:v>161.35412772778793</c:v>
                </c:pt>
                <c:pt idx="1">
                  <c:v>141.58348342507873</c:v>
                </c:pt>
                <c:pt idx="2">
                  <c:v>125.04269351493151</c:v>
                </c:pt>
                <c:pt idx="3">
                  <c:v>115.46785484711106</c:v>
                </c:pt>
                <c:pt idx="4">
                  <c:v>107.19951052469708</c:v>
                </c:pt>
                <c:pt idx="5">
                  <c:v>100.0</c:v>
                </c:pt>
                <c:pt idx="6">
                  <c:v>93.67860719123229</c:v>
                </c:pt>
                <c:pt idx="7">
                  <c:v>88.85397252294067</c:v>
                </c:pt>
                <c:pt idx="8">
                  <c:v>84.369031540402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C$2:$C$10</c:f>
              <c:numCache>
                <c:formatCode>General</c:formatCode>
                <c:ptCount val="9"/>
                <c:pt idx="0">
                  <c:v>128.14232549372034</c:v>
                </c:pt>
                <c:pt idx="1">
                  <c:v>118.24703758382107</c:v>
                </c:pt>
                <c:pt idx="2">
                  <c:v>109.56699395619871</c:v>
                </c:pt>
                <c:pt idx="3">
                  <c:v>105.93923301667122</c:v>
                </c:pt>
                <c:pt idx="4">
                  <c:v>102.77573149671184</c:v>
                </c:pt>
                <c:pt idx="5">
                  <c:v>100.0</c:v>
                </c:pt>
                <c:pt idx="6">
                  <c:v>97.54537233972985</c:v>
                </c:pt>
                <c:pt idx="7">
                  <c:v>96.19439455105422</c:v>
                </c:pt>
                <c:pt idx="8">
                  <c:v>94.826533201001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D$2:$D$10</c:f>
              <c:numCache>
                <c:formatCode>General</c:formatCode>
                <c:ptCount val="9"/>
                <c:pt idx="0">
                  <c:v>97.2230573161312</c:v>
                </c:pt>
                <c:pt idx="1">
                  <c:v>96.56498666877839</c:v>
                </c:pt>
                <c:pt idx="2">
                  <c:v>95.22335677333444</c:v>
                </c:pt>
                <c:pt idx="3">
                  <c:v>97.11052557698348</c:v>
                </c:pt>
                <c:pt idx="4">
                  <c:v>98.6781055202305</c:v>
                </c:pt>
                <c:pt idx="5">
                  <c:v>100.0</c:v>
                </c:pt>
                <c:pt idx="6">
                  <c:v>101.12522096981765</c:v>
                </c:pt>
                <c:pt idx="7">
                  <c:v>102.98016922696902</c:v>
                </c:pt>
                <c:pt idx="8">
                  <c:v>104.4887881718859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E$2:$E$10</c:f>
              <c:numCache>
                <c:formatCode>General</c:formatCode>
                <c:ptCount val="9"/>
                <c:pt idx="0">
                  <c:v>0.39894882338564547</c:v>
                </c:pt>
                <c:pt idx="1">
                  <c:v>0.42900138221636325</c:v>
                </c:pt>
                <c:pt idx="2">
                  <c:v>0.45619179258701253</c:v>
                </c:pt>
                <c:pt idx="3">
                  <c:v>0.4809103474694211</c:v>
                </c:pt>
                <c:pt idx="4">
                  <c:v>0.5034794627968376</c:v>
                </c:pt>
                <c:pt idx="5">
                  <c:v>0.5241678185136361</c:v>
                </c:pt>
                <c:pt idx="6">
                  <c:v>0.5432011057730906</c:v>
                </c:pt>
                <c:pt idx="7">
                  <c:v>0.5607702940125872</c:v>
                </c:pt>
                <c:pt idx="8">
                  <c:v>0.57703806090100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B$2:$B$11</c:f>
              <c:numCache>
                <c:formatCode>General</c:formatCode>
                <c:ptCount val="10"/>
                <c:pt idx="0">
                  <c:v>162.1690432567684</c:v>
                </c:pt>
                <c:pt idx="1">
                  <c:v>140.1307005001761</c:v>
                </c:pt>
                <c:pt idx="2">
                  <c:v>123.24106910178054</c:v>
                </c:pt>
                <c:pt idx="3">
                  <c:v>110.354207292972</c:v>
                </c:pt>
                <c:pt idx="4">
                  <c:v>100.0</c:v>
                </c:pt>
                <c:pt idx="5">
                  <c:v>91.39869124321778</c:v>
                </c:pt>
                <c:pt idx="6">
                  <c:v>84.16750448587067</c:v>
                </c:pt>
                <c:pt idx="7">
                  <c:v>78.68730075520027</c:v>
                </c:pt>
                <c:pt idx="8">
                  <c:v>74.18474092601788</c:v>
                </c:pt>
                <c:pt idx="9">
                  <c:v>70.06293686220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C$2:$C$11</c:f>
              <c:numCache>
                <c:formatCode>General</c:formatCode>
                <c:ptCount val="10"/>
                <c:pt idx="0">
                  <c:v>133.55438962117657</c:v>
                </c:pt>
                <c:pt idx="1">
                  <c:v>121.58295512007878</c:v>
                </c:pt>
                <c:pt idx="2">
                  <c:v>112.36450436120961</c:v>
                </c:pt>
                <c:pt idx="3">
                  <c:v>105.48401861670496</c:v>
                </c:pt>
                <c:pt idx="4">
                  <c:v>100.0</c:v>
                </c:pt>
                <c:pt idx="5">
                  <c:v>95.43289250801165</c:v>
                </c:pt>
                <c:pt idx="6">
                  <c:v>91.59798293871701</c:v>
                </c:pt>
                <c:pt idx="7">
                  <c:v>89.1086434863804</c:v>
                </c:pt>
                <c:pt idx="8">
                  <c:v>87.28623818923347</c:v>
                </c:pt>
                <c:pt idx="9">
                  <c:v>85.53099968127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D$2:$D$11</c:f>
              <c:numCache>
                <c:formatCode>General</c:formatCode>
                <c:ptCount val="10"/>
                <c:pt idx="0">
                  <c:v>106.18826972449294</c:v>
                </c:pt>
                <c:pt idx="1">
                  <c:v>103.85084930873086</c:v>
                </c:pt>
                <c:pt idx="2">
                  <c:v>101.96965305125039</c:v>
                </c:pt>
                <c:pt idx="3">
                  <c:v>100.83063583516267</c:v>
                </c:pt>
                <c:pt idx="4">
                  <c:v>100.0</c:v>
                </c:pt>
                <c:pt idx="5">
                  <c:v>99.28640108733964</c:v>
                </c:pt>
                <c:pt idx="6">
                  <c:v>98.69482089835017</c:v>
                </c:pt>
                <c:pt idx="7">
                  <c:v>99.05945012621956</c:v>
                </c:pt>
                <c:pt idx="8">
                  <c:v>99.7933225512696</c:v>
                </c:pt>
                <c:pt idx="9">
                  <c:v>100.2951048111759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E$2:$E$11</c:f>
              <c:numCache>
                <c:formatCode>General</c:formatCode>
                <c:ptCount val="10"/>
                <c:pt idx="0">
                  <c:v>0.40792910845290997</c:v>
                </c:pt>
                <c:pt idx="1">
                  <c:v>0.4381368070012309</c:v>
                </c:pt>
                <c:pt idx="2">
                  <c:v>0.46541171928272457</c:v>
                </c:pt>
                <c:pt idx="3">
                  <c:v>0.49016117672333925</c:v>
                </c:pt>
                <c:pt idx="4">
                  <c:v>0.5127204166913331</c:v>
                </c:pt>
                <c:pt idx="5">
                  <c:v>0.5333678566620392</c:v>
                </c:pt>
                <c:pt idx="6">
                  <c:v>0.5523366429765906</c:v>
                </c:pt>
                <c:pt idx="7">
                  <c:v>0.5698234928603174</c:v>
                </c:pt>
                <c:pt idx="8">
                  <c:v>0.5859955420009071</c:v>
                </c:pt>
                <c:pt idx="9">
                  <c:v>0.60099570352261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B$2:$B$13</c:f>
              <c:numCache>
                <c:formatCode>General</c:formatCode>
                <c:ptCount val="12"/>
                <c:pt idx="0">
                  <c:v>131.17377621282364</c:v>
                </c:pt>
                <c:pt idx="1">
                  <c:v>122.57091977443196</c:v>
                </c:pt>
                <c:pt idx="2">
                  <c:v>116.02949416907657</c:v>
                </c:pt>
                <c:pt idx="3">
                  <c:v>110.25632983331681</c:v>
                </c:pt>
                <c:pt idx="4">
                  <c:v>104.92672843626181</c:v>
                </c:pt>
                <c:pt idx="5">
                  <c:v>100.0</c:v>
                </c:pt>
                <c:pt idx="6">
                  <c:v>95.43890292482385</c:v>
                </c:pt>
                <c:pt idx="7">
                  <c:v>91.20959131499545</c:v>
                </c:pt>
                <c:pt idx="8">
                  <c:v>87.28146538177896</c:v>
                </c:pt>
                <c:pt idx="9">
                  <c:v>83.39922555960867</c:v>
                </c:pt>
                <c:pt idx="10">
                  <c:v>79.76802949005858</c:v>
                </c:pt>
                <c:pt idx="11">
                  <c:v>76.387842080085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C$2:$C$13</c:f>
              <c:numCache>
                <c:formatCode>General</c:formatCode>
                <c:ptCount val="12"/>
                <c:pt idx="0">
                  <c:v>108.51633648354134</c:v>
                </c:pt>
                <c:pt idx="1">
                  <c:v>105.62922917958409</c:v>
                </c:pt>
                <c:pt idx="2">
                  <c:v>104.00054940025491</c:v>
                </c:pt>
                <c:pt idx="3">
                  <c:v>102.63602642922878</c:v>
                </c:pt>
                <c:pt idx="4">
                  <c:v>101.3007421401055</c:v>
                </c:pt>
                <c:pt idx="5">
                  <c:v>100.0</c:v>
                </c:pt>
                <c:pt idx="6">
                  <c:v>98.73704183907752</c:v>
                </c:pt>
                <c:pt idx="7">
                  <c:v>97.5135891857007</c:v>
                </c:pt>
                <c:pt idx="8">
                  <c:v>96.33026607046483</c:v>
                </c:pt>
                <c:pt idx="9">
                  <c:v>94.92673931079997</c:v>
                </c:pt>
                <c:pt idx="10">
                  <c:v>93.54940065215214</c:v>
                </c:pt>
                <c:pt idx="11">
                  <c:v>92.224324906407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D$2:$D$13</c:f>
              <c:numCache>
                <c:formatCode>General</c:formatCode>
                <c:ptCount val="12"/>
                <c:pt idx="0">
                  <c:v>89.68507607224564</c:v>
                </c:pt>
                <c:pt idx="1">
                  <c:v>91.55674432994032</c:v>
                </c:pt>
                <c:pt idx="2">
                  <c:v>94.01024750242547</c:v>
                </c:pt>
                <c:pt idx="3">
                  <c:v>96.30722525121377</c:v>
                </c:pt>
                <c:pt idx="4">
                  <c:v>98.28931401013297</c:v>
                </c:pt>
                <c:pt idx="5">
                  <c:v>100.0</c:v>
                </c:pt>
                <c:pt idx="6">
                  <c:v>101.47614015243767</c:v>
                </c:pt>
                <c:pt idx="7">
                  <c:v>102.74899345242528</c:v>
                </c:pt>
                <c:pt idx="8">
                  <c:v>103.84511697253419</c:v>
                </c:pt>
                <c:pt idx="9">
                  <c:v>104.50176944359428</c:v>
                </c:pt>
                <c:pt idx="10">
                  <c:v>104.9977053587195</c:v>
                </c:pt>
                <c:pt idx="11">
                  <c:v>105.380517591426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E$2:$E$13</c:f>
              <c:numCache>
                <c:formatCode>General</c:formatCode>
                <c:ptCount val="12"/>
                <c:pt idx="0">
                  <c:v>0.45413335371667246</c:v>
                </c:pt>
                <c:pt idx="1">
                  <c:v>0.4761441055829358</c:v>
                </c:pt>
                <c:pt idx="2">
                  <c:v>0.4964485976146049</c:v>
                </c:pt>
                <c:pt idx="3">
                  <c:v>0.5152378290468957</c:v>
                </c:pt>
                <c:pt idx="4">
                  <c:v>0.5326753172106764</c:v>
                </c:pt>
                <c:pt idx="5">
                  <c:v>0.5489018686964169</c:v>
                </c:pt>
                <c:pt idx="6">
                  <c:v>0.5640393898811009</c:v>
                </c:pt>
                <c:pt idx="7">
                  <c:v>0.5781939551447014</c:v>
                </c:pt>
                <c:pt idx="8">
                  <c:v>0.5914582961778869</c:v>
                </c:pt>
                <c:pt idx="9">
                  <c:v>0.603913835928561</c:v>
                </c:pt>
                <c:pt idx="10">
                  <c:v>0.6156323614928049</c:v>
                </c:pt>
                <c:pt idx="11">
                  <c:v>0.626677408576344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B$2:$B$13</c:f>
              <c:numCache>
                <c:formatCode>General</c:formatCode>
                <c:ptCount val="12"/>
                <c:pt idx="0">
                  <c:v>143.29653677844442</c:v>
                </c:pt>
                <c:pt idx="1">
                  <c:v>132.6634241139399</c:v>
                </c:pt>
                <c:pt idx="2">
                  <c:v>123.5823339447335</c:v>
                </c:pt>
                <c:pt idx="3">
                  <c:v>115.750762356712</c:v>
                </c:pt>
                <c:pt idx="4">
                  <c:v>110.08146359216309</c:v>
                </c:pt>
                <c:pt idx="5">
                  <c:v>104.84339531854958</c:v>
                </c:pt>
                <c:pt idx="6">
                  <c:v>100.0</c:v>
                </c:pt>
                <c:pt idx="7">
                  <c:v>95.51697883013924</c:v>
                </c:pt>
                <c:pt idx="8">
                  <c:v>91.3624545681095</c:v>
                </c:pt>
                <c:pt idx="9">
                  <c:v>87.50703312381334</c:v>
                </c:pt>
                <c:pt idx="10">
                  <c:v>83.85687528716636</c:v>
                </c:pt>
                <c:pt idx="11">
                  <c:v>79.880856189909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C$2:$C$13</c:f>
              <c:numCache>
                <c:formatCode>General</c:formatCode>
                <c:ptCount val="12"/>
                <c:pt idx="0">
                  <c:v>112.9578662409725</c:v>
                </c:pt>
                <c:pt idx="1">
                  <c:v>109.248085933219</c:v>
                </c:pt>
                <c:pt idx="2">
                  <c:v>106.12389202879558</c:v>
                </c:pt>
                <c:pt idx="3">
                  <c:v>103.47819666814351</c:v>
                </c:pt>
                <c:pt idx="4">
                  <c:v>102.30046263028908</c:v>
                </c:pt>
                <c:pt idx="5">
                  <c:v>101.13799751163111</c:v>
                </c:pt>
                <c:pt idx="6">
                  <c:v>100.0</c:v>
                </c:pt>
                <c:pt idx="7">
                  <c:v>98.89282174626658</c:v>
                </c:pt>
                <c:pt idx="8">
                  <c:v>97.82054735388235</c:v>
                </c:pt>
                <c:pt idx="9">
                  <c:v>96.78549485280695</c:v>
                </c:pt>
                <c:pt idx="10">
                  <c:v>95.71188543756831</c:v>
                </c:pt>
                <c:pt idx="11">
                  <c:v>93.993838344526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D$2:$D$13</c:f>
              <c:numCache>
                <c:formatCode>General</c:formatCode>
                <c:ptCount val="12"/>
                <c:pt idx="0">
                  <c:v>83.50950013321999</c:v>
                </c:pt>
                <c:pt idx="1">
                  <c:v>86.53790253646963</c:v>
                </c:pt>
                <c:pt idx="2">
                  <c:v>89.20782778957104</c:v>
                </c:pt>
                <c:pt idx="3">
                  <c:v>91.60365026902336</c:v>
                </c:pt>
                <c:pt idx="4">
                  <c:v>94.77184842697966</c:v>
                </c:pt>
                <c:pt idx="5">
                  <c:v>97.5528307559048</c:v>
                </c:pt>
                <c:pt idx="6">
                  <c:v>100.0</c:v>
                </c:pt>
                <c:pt idx="7">
                  <c:v>102.15900619747207</c:v>
                </c:pt>
                <c:pt idx="8">
                  <c:v>104.06871749686553</c:v>
                </c:pt>
                <c:pt idx="9">
                  <c:v>105.76213653980639</c:v>
                </c:pt>
                <c:pt idx="10">
                  <c:v>107.18171941092652</c:v>
                </c:pt>
                <c:pt idx="11">
                  <c:v>107.6544959886972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E$2:$E$13</c:f>
              <c:numCache>
                <c:formatCode>General</c:formatCode>
                <c:ptCount val="12"/>
                <c:pt idx="0">
                  <c:v>0.3809407439492176</c:v>
                </c:pt>
                <c:pt idx="1">
                  <c:v>0.4078563637775124</c:v>
                </c:pt>
                <c:pt idx="2">
                  <c:v>0.4325290152867828</c:v>
                </c:pt>
                <c:pt idx="3">
                  <c:v>0.45522785467531157</c:v>
                </c:pt>
                <c:pt idx="4">
                  <c:v>0.47618062949549184</c:v>
                </c:pt>
                <c:pt idx="5">
                  <c:v>0.49558134692158473</c:v>
                </c:pt>
                <c:pt idx="6">
                  <c:v>0.5135962988172424</c:v>
                </c:pt>
                <c:pt idx="7">
                  <c:v>0.5303688402373375</c:v>
                </c:pt>
                <c:pt idx="8">
                  <c:v>0.5460232122294263</c:v>
                </c:pt>
                <c:pt idx="9">
                  <c:v>0.5606676247381545</c:v>
                </c:pt>
                <c:pt idx="10">
                  <c:v>0.5743967614650872</c:v>
                </c:pt>
                <c:pt idx="11">
                  <c:v>0.58729382929947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B$2:$B$14</c:f>
              <c:numCache>
                <c:formatCode>General</c:formatCode>
                <c:ptCount val="13"/>
                <c:pt idx="0">
                  <c:v>141.23317567056745</c:v>
                </c:pt>
                <c:pt idx="1">
                  <c:v>131.14560411405017</c:v>
                </c:pt>
                <c:pt idx="2">
                  <c:v>122.56628898679887</c:v>
                </c:pt>
                <c:pt idx="3">
                  <c:v>116.20855438930258</c:v>
                </c:pt>
                <c:pt idx="4">
                  <c:v>110.36029223363167</c:v>
                </c:pt>
                <c:pt idx="5">
                  <c:v>104.97228344823387</c:v>
                </c:pt>
                <c:pt idx="6">
                  <c:v>100.0</c:v>
                </c:pt>
                <c:pt idx="7">
                  <c:v>95.40330313538624</c:v>
                </c:pt>
                <c:pt idx="8">
                  <c:v>91.14611346977533</c:v>
                </c:pt>
                <c:pt idx="9">
                  <c:v>87.15893564831615</c:v>
                </c:pt>
                <c:pt idx="10">
                  <c:v>83.1389505034382</c:v>
                </c:pt>
                <c:pt idx="11">
                  <c:v>79.40909953808136</c:v>
                </c:pt>
                <c:pt idx="12">
                  <c:v>75.9408668372922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C$2:$C$14</c:f>
              <c:numCache>
                <c:formatCode>General</c:formatCode>
                <c:ptCount val="13"/>
                <c:pt idx="0">
                  <c:v>112.09863209609776</c:v>
                </c:pt>
                <c:pt idx="1">
                  <c:v>108.59854176584136</c:v>
                </c:pt>
                <c:pt idx="2">
                  <c:v>105.70642700098738</c:v>
                </c:pt>
                <c:pt idx="3">
                  <c:v>104.21946762582985</c:v>
                </c:pt>
                <c:pt idx="4">
                  <c:v>102.76973841965511</c:v>
                </c:pt>
                <c:pt idx="5">
                  <c:v>101.36226679788332</c:v>
                </c:pt>
                <c:pt idx="6">
                  <c:v>100.0</c:v>
                </c:pt>
                <c:pt idx="7">
                  <c:v>98.68430040017869</c:v>
                </c:pt>
                <c:pt idx="8">
                  <c:v>97.41534809314906</c:v>
                </c:pt>
                <c:pt idx="9">
                  <c:v>96.15143724189865</c:v>
                </c:pt>
                <c:pt idx="10">
                  <c:v>94.57552952798184</c:v>
                </c:pt>
                <c:pt idx="11">
                  <c:v>93.06328964914492</c:v>
                </c:pt>
                <c:pt idx="12">
                  <c:v>91.610229350992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D$2:$D$14</c:f>
              <c:numCache>
                <c:formatCode>General</c:formatCode>
                <c:ptCount val="13"/>
                <c:pt idx="0">
                  <c:v>82.7918615999878</c:v>
                </c:pt>
                <c:pt idx="1">
                  <c:v>85.92298200575699</c:v>
                </c:pt>
                <c:pt idx="2">
                  <c:v>88.75489892147506</c:v>
                </c:pt>
                <c:pt idx="3">
                  <c:v>92.16540520530897</c:v>
                </c:pt>
                <c:pt idx="4">
                  <c:v>95.13818296002725</c:v>
                </c:pt>
                <c:pt idx="5">
                  <c:v>97.73281562421772</c:v>
                </c:pt>
                <c:pt idx="6">
                  <c:v>100.0</c:v>
                </c:pt>
                <c:pt idx="7">
                  <c:v>101.98284128265422</c:v>
                </c:pt>
                <c:pt idx="8">
                  <c:v>103.71799118974425</c:v>
                </c:pt>
                <c:pt idx="9">
                  <c:v>105.19181888589874</c:v>
                </c:pt>
                <c:pt idx="10">
                  <c:v>106.07383340093833</c:v>
                </c:pt>
                <c:pt idx="11">
                  <c:v>106.79154765466106</c:v>
                </c:pt>
                <c:pt idx="12">
                  <c:v>107.364673804447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E$2:$E$14</c:f>
              <c:numCache>
                <c:formatCode>General</c:formatCode>
                <c:ptCount val="13"/>
                <c:pt idx="0">
                  <c:v>0.3695652173913043</c:v>
                </c:pt>
                <c:pt idx="1">
                  <c:v>0.39583333333333326</c:v>
                </c:pt>
                <c:pt idx="2">
                  <c:v>0.42000000000000004</c:v>
                </c:pt>
                <c:pt idx="3">
                  <c:v>0.44230769230769235</c:v>
                </c:pt>
                <c:pt idx="4">
                  <c:v>0.46296296296296297</c:v>
                </c:pt>
                <c:pt idx="5">
                  <c:v>0.4821428571428571</c:v>
                </c:pt>
                <c:pt idx="6">
                  <c:v>0.5</c:v>
                </c:pt>
                <c:pt idx="7">
                  <c:v>0.5166666666666666</c:v>
                </c:pt>
                <c:pt idx="8">
                  <c:v>0.532258064516129</c:v>
                </c:pt>
                <c:pt idx="9">
                  <c:v>0.546875</c:v>
                </c:pt>
                <c:pt idx="10">
                  <c:v>0.5606060606060607</c:v>
                </c:pt>
                <c:pt idx="11">
                  <c:v>0.5735294117647058</c:v>
                </c:pt>
                <c:pt idx="12">
                  <c:v>0.585714285714285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B$2:$B$15</c:f>
              <c:numCache>
                <c:formatCode>General</c:formatCode>
                <c:ptCount val="14"/>
                <c:pt idx="0">
                  <c:v>151.29135134875838</c:v>
                </c:pt>
                <c:pt idx="1">
                  <c:v>142.4242149810057</c:v>
                </c:pt>
                <c:pt idx="2">
                  <c:v>134.28611588574853</c:v>
                </c:pt>
                <c:pt idx="3">
                  <c:v>126.81488744644784</c:v>
                </c:pt>
                <c:pt idx="4">
                  <c:v>119.85700148477596</c:v>
                </c:pt>
                <c:pt idx="5">
                  <c:v>112.65969747791655</c:v>
                </c:pt>
                <c:pt idx="6">
                  <c:v>106.06047008775224</c:v>
                </c:pt>
                <c:pt idx="7">
                  <c:v>100.0</c:v>
                </c:pt>
                <c:pt idx="8">
                  <c:v>94.42663628674646</c:v>
                </c:pt>
                <c:pt idx="9">
                  <c:v>89.2952681928283</c:v>
                </c:pt>
                <c:pt idx="10">
                  <c:v>84.56617263103678</c:v>
                </c:pt>
                <c:pt idx="11">
                  <c:v>80.20394135522085</c:v>
                </c:pt>
                <c:pt idx="12">
                  <c:v>76.26187925841116</c:v>
                </c:pt>
                <c:pt idx="13">
                  <c:v>73.306906742581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C$2:$C$15</c:f>
              <c:numCache>
                <c:formatCode>General</c:formatCode>
                <c:ptCount val="14"/>
                <c:pt idx="0">
                  <c:v>121.27387556022711</c:v>
                </c:pt>
                <c:pt idx="1">
                  <c:v>118.20151393642533</c:v>
                </c:pt>
                <c:pt idx="2">
                  <c:v>115.2531282803289</c:v>
                </c:pt>
                <c:pt idx="3">
                  <c:v>112.43540069554403</c:v>
                </c:pt>
                <c:pt idx="4">
                  <c:v>109.66418420195743</c:v>
                </c:pt>
                <c:pt idx="5">
                  <c:v>106.27157288201829</c:v>
                </c:pt>
                <c:pt idx="6">
                  <c:v>103.05307445834858</c:v>
                </c:pt>
                <c:pt idx="7">
                  <c:v>100.0</c:v>
                </c:pt>
                <c:pt idx="8">
                  <c:v>97.10485934381802</c:v>
                </c:pt>
                <c:pt idx="9">
                  <c:v>94.36124909473884</c:v>
                </c:pt>
                <c:pt idx="10">
                  <c:v>91.76352448023951</c:v>
                </c:pt>
                <c:pt idx="11">
                  <c:v>89.30636522162621</c:v>
                </c:pt>
                <c:pt idx="12">
                  <c:v>87.08180006132798</c:v>
                </c:pt>
                <c:pt idx="13">
                  <c:v>85.7892430776158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D$2:$D$15</c:f>
              <c:numCache>
                <c:formatCode>General</c:formatCode>
                <c:ptCount val="14"/>
                <c:pt idx="0">
                  <c:v>86.93488478854879</c:v>
                </c:pt>
                <c:pt idx="1">
                  <c:v>90.49459622841664</c:v>
                </c:pt>
                <c:pt idx="2">
                  <c:v>93.48414269458554</c:v>
                </c:pt>
                <c:pt idx="3">
                  <c:v>95.98937668563235</c:v>
                </c:pt>
                <c:pt idx="4">
                  <c:v>98.00633377085174</c:v>
                </c:pt>
                <c:pt idx="5">
                  <c:v>98.96732749342927</c:v>
                </c:pt>
                <c:pt idx="6">
                  <c:v>99.6153116607343</c:v>
                </c:pt>
                <c:pt idx="7">
                  <c:v>100.0</c:v>
                </c:pt>
                <c:pt idx="8">
                  <c:v>100.16482158891348</c:v>
                </c:pt>
                <c:pt idx="9">
                  <c:v>100.14798551172468</c:v>
                </c:pt>
                <c:pt idx="10">
                  <c:v>99.98310543519868</c:v>
                </c:pt>
                <c:pt idx="11">
                  <c:v>99.69950301275247</c:v>
                </c:pt>
                <c:pt idx="12">
                  <c:v>99.43356109971782</c:v>
                </c:pt>
                <c:pt idx="13">
                  <c:v>100.035505665044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E$2:$E$15</c:f>
              <c:numCache>
                <c:formatCode>General</c:formatCode>
                <c:ptCount val="14"/>
                <c:pt idx="0">
                  <c:v>0.3377084286752123</c:v>
                </c:pt>
                <c:pt idx="1">
                  <c:v>0.36054606906572223</c:v>
                </c:pt>
                <c:pt idx="2">
                  <c:v>0.3818612000968649</c:v>
                </c:pt>
                <c:pt idx="3">
                  <c:v>0.40180116138406263</c:v>
                </c:pt>
                <c:pt idx="4">
                  <c:v>0.4204948750908107</c:v>
                </c:pt>
                <c:pt idx="5">
                  <c:v>0.43805563645169526</c:v>
                </c:pt>
                <c:pt idx="6">
                  <c:v>0.4545834118501747</c:v>
                </c:pt>
                <c:pt idx="7">
                  <c:v>0.47016674294016986</c:v>
                </c:pt>
                <c:pt idx="8">
                  <c:v>0.4848843334140541</c:v>
                </c:pt>
                <c:pt idx="9">
                  <c:v>0.49880637845691755</c:v>
                </c:pt>
                <c:pt idx="10">
                  <c:v>0.5119956842869986</c:v>
                </c:pt>
                <c:pt idx="11">
                  <c:v>0.5245086154591267</c:v>
                </c:pt>
                <c:pt idx="12">
                  <c:v>0.5363959000726486</c:v>
                </c:pt>
                <c:pt idx="13">
                  <c:v>0.54770331714404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6.15</c:v>
                </c:pt>
                <c:pt idx="1">
                  <c:v>6.65</c:v>
                </c:pt>
                <c:pt idx="2">
                  <c:v>7.15</c:v>
                </c:pt>
                <c:pt idx="3">
                  <c:v>7.65</c:v>
                </c:pt>
                <c:pt idx="4">
                  <c:v>8.15</c:v>
                </c:pt>
                <c:pt idx="5">
                  <c:v>8.65</c:v>
                </c:pt>
              </c:strCache>
            </c:strRef>
          </c:cat>
          <c:val>
            <c:numRef>
              <c:f>Sheet1!$B$2:$B$7</c:f>
              <c:numCache>
                <c:formatCode>General</c:formatCode>
                <c:ptCount val="6"/>
                <c:pt idx="0">
                  <c:v>113.59569035863059</c:v>
                </c:pt>
                <c:pt idx="1">
                  <c:v>108.7956866910366</c:v>
                </c:pt>
                <c:pt idx="2">
                  <c:v>104.2734273307426</c:v>
                </c:pt>
                <c:pt idx="3">
                  <c:v>100.0</c:v>
                </c:pt>
                <c:pt idx="4">
                  <c:v>95.95060435945302</c:v>
                </c:pt>
                <c:pt idx="5">
                  <c:v>90.204719456077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6.15</c:v>
                </c:pt>
                <c:pt idx="1">
                  <c:v>6.65</c:v>
                </c:pt>
                <c:pt idx="2">
                  <c:v>7.15</c:v>
                </c:pt>
                <c:pt idx="3">
                  <c:v>7.65</c:v>
                </c:pt>
                <c:pt idx="4">
                  <c:v>8.15</c:v>
                </c:pt>
                <c:pt idx="5">
                  <c:v>8.65</c:v>
                </c:pt>
              </c:strCache>
            </c:strRef>
          </c:cat>
          <c:val>
            <c:numRef>
              <c:f>Sheet1!$C$2:$C$7</c:f>
              <c:numCache>
                <c:formatCode>General</c:formatCode>
                <c:ptCount val="6"/>
                <c:pt idx="0">
                  <c:v>91.57281004940025</c:v>
                </c:pt>
                <c:pt idx="1">
                  <c:v>94.73922284185181</c:v>
                </c:pt>
                <c:pt idx="2">
                  <c:v>97.53949460662977</c:v>
                </c:pt>
                <c:pt idx="3">
                  <c:v>100.0</c:v>
                </c:pt>
                <c:pt idx="4">
                  <c:v>102.14372196616202</c:v>
                </c:pt>
                <c:pt idx="5">
                  <c:v>101.840420898027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6.15</c:v>
                </c:pt>
                <c:pt idx="1">
                  <c:v>6.65</c:v>
                </c:pt>
                <c:pt idx="2">
                  <c:v>7.15</c:v>
                </c:pt>
                <c:pt idx="3">
                  <c:v>7.65</c:v>
                </c:pt>
                <c:pt idx="4">
                  <c:v>8.15</c:v>
                </c:pt>
                <c:pt idx="5">
                  <c:v>8.65</c:v>
                </c:pt>
              </c:strCache>
            </c:strRef>
          </c:cat>
          <c:val>
            <c:numRef>
              <c:f>Sheet1!$D$2:$D$7</c:f>
              <c:numCache>
                <c:formatCode>General</c:formatCode>
                <c:ptCount val="6"/>
                <c:pt idx="0">
                  <c:v>69.0483608062264</c:v>
                </c:pt>
                <c:pt idx="1">
                  <c:v>80.35236990906618</c:v>
                </c:pt>
                <c:pt idx="2">
                  <c:v>90.64291395417486</c:v>
                </c:pt>
                <c:pt idx="3">
                  <c:v>100.0</c:v>
                </c:pt>
                <c:pt idx="4">
                  <c:v>108.49316702081934</c:v>
                </c:pt>
                <c:pt idx="5">
                  <c:v>113.787652647208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6.15</c:v>
                </c:pt>
                <c:pt idx="1">
                  <c:v>6.65</c:v>
                </c:pt>
                <c:pt idx="2">
                  <c:v>7.15</c:v>
                </c:pt>
                <c:pt idx="3">
                  <c:v>7.65</c:v>
                </c:pt>
                <c:pt idx="4">
                  <c:v>8.15</c:v>
                </c:pt>
                <c:pt idx="5">
                  <c:v>8.65</c:v>
                </c:pt>
              </c:strCache>
            </c:strRef>
          </c:cat>
          <c:val>
            <c:numRef>
              <c:f>Sheet1!$E$2:$E$7</c:f>
              <c:numCache>
                <c:formatCode>General</c:formatCode>
                <c:ptCount val="6"/>
                <c:pt idx="0">
                  <c:v>0.37804878048780494</c:v>
                </c:pt>
                <c:pt idx="1">
                  <c:v>0.42481203007518786</c:v>
                </c:pt>
                <c:pt idx="2">
                  <c:v>0.46503496503496494</c:v>
                </c:pt>
                <c:pt idx="3">
                  <c:v>0.5</c:v>
                </c:pt>
                <c:pt idx="4">
                  <c:v>0.5306748466257668</c:v>
                </c:pt>
                <c:pt idx="5">
                  <c:v>0.55780346820809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B$2:$B$10</c:f>
              <c:numCache>
                <c:formatCode>General</c:formatCode>
                <c:ptCount val="9"/>
                <c:pt idx="0">
                  <c:v>126.72786906593633</c:v>
                </c:pt>
                <c:pt idx="1">
                  <c:v>116.59301757597143</c:v>
                </c:pt>
                <c:pt idx="2">
                  <c:v>109.2666684266824</c:v>
                </c:pt>
                <c:pt idx="3">
                  <c:v>104.3606711106229</c:v>
                </c:pt>
                <c:pt idx="4">
                  <c:v>100.0</c:v>
                </c:pt>
                <c:pt idx="5">
                  <c:v>96.08864424838139</c:v>
                </c:pt>
                <c:pt idx="6">
                  <c:v>92.31760292620622</c:v>
                </c:pt>
                <c:pt idx="7">
                  <c:v>88.46286043539394</c:v>
                </c:pt>
                <c:pt idx="8">
                  <c:v>84.829852266279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C$2:$C$10</c:f>
              <c:numCache>
                <c:formatCode>General</c:formatCode>
                <c:ptCount val="9"/>
                <c:pt idx="0">
                  <c:v>105.25770745031062</c:v>
                </c:pt>
                <c:pt idx="1">
                  <c:v>101.77037117722558</c:v>
                </c:pt>
                <c:pt idx="2">
                  <c:v>100.00210464738812</c:v>
                </c:pt>
                <c:pt idx="3">
                  <c:v>99.93653781560833</c:v>
                </c:pt>
                <c:pt idx="4">
                  <c:v>100.0</c:v>
                </c:pt>
                <c:pt idx="5">
                  <c:v>100.16178100644706</c:v>
                </c:pt>
                <c:pt idx="6">
                  <c:v>100.14423077781223</c:v>
                </c:pt>
                <c:pt idx="7">
                  <c:v>99.71294715982218</c:v>
                </c:pt>
                <c:pt idx="8">
                  <c:v>99.214032210088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D$2:$D$10</c:f>
              <c:numCache>
                <c:formatCode>General</c:formatCode>
                <c:ptCount val="9"/>
                <c:pt idx="0">
                  <c:v>85.74764083372334</c:v>
                </c:pt>
                <c:pt idx="1">
                  <c:v>88.3158408245434</c:v>
                </c:pt>
                <c:pt idx="2">
                  <c:v>91.59978487808735</c:v>
                </c:pt>
                <c:pt idx="3">
                  <c:v>95.92384472014075</c:v>
                </c:pt>
                <c:pt idx="4">
                  <c:v>100.0</c:v>
                </c:pt>
                <c:pt idx="5">
                  <c:v>103.85673543630661</c:v>
                </c:pt>
                <c:pt idx="6">
                  <c:v>107.24406095651663</c:v>
                </c:pt>
                <c:pt idx="7">
                  <c:v>109.9176610098673</c:v>
                </c:pt>
                <c:pt idx="8">
                  <c:v>112.26144038024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E$2:$E$10</c:f>
              <c:numCache>
                <c:formatCode>General</c:formatCode>
                <c:ptCount val="9"/>
                <c:pt idx="0">
                  <c:v>0.4314257559746842</c:v>
                </c:pt>
                <c:pt idx="1">
                  <c:v>0.4592970424465132</c:v>
                </c:pt>
                <c:pt idx="2">
                  <c:v>0.48456353579013417</c:v>
                </c:pt>
                <c:pt idx="3">
                  <c:v>0.5075740922280747</c:v>
                </c:pt>
                <c:pt idx="4">
                  <c:v>0.5286179344405502</c:v>
                </c:pt>
                <c:pt idx="5">
                  <c:v>0.5479368715536423</c:v>
                </c:pt>
                <c:pt idx="6">
                  <c:v>0.5657346325160973</c:v>
                </c:pt>
                <c:pt idx="7">
                  <c:v>0.582184078254124</c:v>
                </c:pt>
                <c:pt idx="8">
                  <c:v>0.59743283452222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osse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B$2:$B$13</c:f>
              <c:numCache>
                <c:formatCode>General</c:formatCode>
                <c:ptCount val="12"/>
                <c:pt idx="0">
                  <c:v>125.54178361977648</c:v>
                </c:pt>
                <c:pt idx="1">
                  <c:v>119.22703676708855</c:v>
                </c:pt>
                <c:pt idx="2">
                  <c:v>113.5894823612179</c:v>
                </c:pt>
                <c:pt idx="3">
                  <c:v>108.69052166132688</c:v>
                </c:pt>
                <c:pt idx="4">
                  <c:v>104.19113797271828</c:v>
                </c:pt>
                <c:pt idx="5">
                  <c:v>100.0</c:v>
                </c:pt>
                <c:pt idx="6">
                  <c:v>96.08944265962305</c:v>
                </c:pt>
                <c:pt idx="7">
                  <c:v>92.43447756073925</c:v>
                </c:pt>
                <c:pt idx="8">
                  <c:v>89.01258137749711</c:v>
                </c:pt>
                <c:pt idx="9">
                  <c:v>85.80348169472161</c:v>
                </c:pt>
                <c:pt idx="10">
                  <c:v>82.67874361754528</c:v>
                </c:pt>
                <c:pt idx="11">
                  <c:v>79.730528396168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C$2:$C$13</c:f>
              <c:numCache>
                <c:formatCode>General</c:formatCode>
                <c:ptCount val="12"/>
                <c:pt idx="0">
                  <c:v>103.04364431855994</c:v>
                </c:pt>
                <c:pt idx="1">
                  <c:v>102.13238899559063</c:v>
                </c:pt>
                <c:pt idx="2">
                  <c:v>101.37296100771395</c:v>
                </c:pt>
                <c:pt idx="3">
                  <c:v>100.897206781064</c:v>
                </c:pt>
                <c:pt idx="4">
                  <c:v>100.45584380779262</c:v>
                </c:pt>
                <c:pt idx="5">
                  <c:v>100.0</c:v>
                </c:pt>
                <c:pt idx="6">
                  <c:v>99.53419807830065</c:v>
                </c:pt>
                <c:pt idx="7">
                  <c:v>99.0618565522959</c:v>
                </c:pt>
                <c:pt idx="8">
                  <c:v>98.58553639544084</c:v>
                </c:pt>
                <c:pt idx="9">
                  <c:v>98.10713899547433</c:v>
                </c:pt>
                <c:pt idx="10">
                  <c:v>97.49749245789413</c:v>
                </c:pt>
                <c:pt idx="11">
                  <c:v>96.8783037951571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D$2:$D$13</c:f>
              <c:numCache>
                <c:formatCode>General</c:formatCode>
                <c:ptCount val="12"/>
                <c:pt idx="0">
                  <c:v>83.34234231269109</c:v>
                </c:pt>
                <c:pt idx="1">
                  <c:v>87.16558793179958</c:v>
                </c:pt>
                <c:pt idx="2">
                  <c:v>90.6803955737207</c:v>
                </c:pt>
                <c:pt idx="3">
                  <c:v>94.07648908273886</c:v>
                </c:pt>
                <c:pt idx="4">
                  <c:v>97.1866050039744</c:v>
                </c:pt>
                <c:pt idx="5">
                  <c:v>100.0</c:v>
                </c:pt>
                <c:pt idx="6">
                  <c:v>102.54931709955655</c:v>
                </c:pt>
                <c:pt idx="7">
                  <c:v>104.86279647769634</c:v>
                </c:pt>
                <c:pt idx="8">
                  <c:v>106.96492088611052</c:v>
                </c:pt>
                <c:pt idx="9">
                  <c:v>108.87697251391421</c:v>
                </c:pt>
                <c:pt idx="10">
                  <c:v>110.47026201112757</c:v>
                </c:pt>
                <c:pt idx="11">
                  <c:v>111.891139689955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E$2:$E$13</c:f>
              <c:numCache>
                <c:formatCode>General</c:formatCode>
                <c:ptCount val="12"/>
                <c:pt idx="0">
                  <c:v>0.43310595800396984</c:v>
                </c:pt>
                <c:pt idx="1">
                  <c:v>0.45692503539876095</c:v>
                </c:pt>
                <c:pt idx="2">
                  <c:v>0.47882321945526257</c:v>
                </c:pt>
                <c:pt idx="3">
                  <c:v>0.49902386986397335</c:v>
                </c:pt>
                <c:pt idx="4">
                  <c:v>0.5177170090481534</c:v>
                </c:pt>
                <c:pt idx="5">
                  <c:v>0.5350653180751983</c:v>
                </c:pt>
                <c:pt idx="6">
                  <c:v>0.5512088834198094</c:v>
                </c:pt>
                <c:pt idx="7">
                  <c:v>0.5662689880030373</c:v>
                </c:pt>
                <c:pt idx="8">
                  <c:v>0.5803511637172244</c:v>
                </c:pt>
                <c:pt idx="9">
                  <c:v>0.5935476680028463</c:v>
                </c:pt>
                <c:pt idx="10">
                  <c:v>0.6059395073930034</c:v>
                </c:pt>
                <c:pt idx="11">
                  <c:v>0.61759810184883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c:f>
              <c:strCache>
                <c:ptCount val="4"/>
                <c:pt idx="0">
                  <c:v>5.00</c:v>
                </c:pt>
                <c:pt idx="1">
                  <c:v>5.50</c:v>
                </c:pt>
                <c:pt idx="2">
                  <c:v>6.00</c:v>
                </c:pt>
                <c:pt idx="3">
                  <c:v>6.50</c:v>
                </c:pt>
              </c:strCache>
            </c:strRef>
          </c:cat>
          <c:val>
            <c:numRef>
              <c:f>Sheet1!$B$2:$B$5</c:f>
              <c:numCache>
                <c:formatCode>General</c:formatCode>
                <c:ptCount val="4"/>
                <c:pt idx="0">
                  <c:v>111.60619001440489</c:v>
                </c:pt>
                <c:pt idx="1">
                  <c:v>105.51980763094721</c:v>
                </c:pt>
                <c:pt idx="2">
                  <c:v>100.0</c:v>
                </c:pt>
                <c:pt idx="3">
                  <c:v>94.974685112204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c:f>
              <c:strCache>
                <c:ptCount val="4"/>
                <c:pt idx="0">
                  <c:v>5.00</c:v>
                </c:pt>
                <c:pt idx="1">
                  <c:v>5.50</c:v>
                </c:pt>
                <c:pt idx="2">
                  <c:v>6.00</c:v>
                </c:pt>
                <c:pt idx="3">
                  <c:v>6.50</c:v>
                </c:pt>
              </c:strCache>
            </c:strRef>
          </c:cat>
          <c:val>
            <c:numRef>
              <c:f>Sheet1!$C$2:$C$5</c:f>
              <c:numCache>
                <c:formatCode>General</c:formatCode>
                <c:ptCount val="4"/>
                <c:pt idx="0">
                  <c:v>93.07963043741839</c:v>
                </c:pt>
                <c:pt idx="1">
                  <c:v>96.76301446196108</c:v>
                </c:pt>
                <c:pt idx="2">
                  <c:v>100.0</c:v>
                </c:pt>
                <c:pt idx="3">
                  <c:v>102.854429584734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c:f>
              <c:strCache>
                <c:ptCount val="4"/>
                <c:pt idx="0">
                  <c:v>5.00</c:v>
                </c:pt>
                <c:pt idx="1">
                  <c:v>5.50</c:v>
                </c:pt>
                <c:pt idx="2">
                  <c:v>6.00</c:v>
                </c:pt>
                <c:pt idx="3">
                  <c:v>6.50</c:v>
                </c:pt>
              </c:strCache>
            </c:strRef>
          </c:cat>
          <c:val>
            <c:numRef>
              <c:f>Sheet1!$D$2:$D$5</c:f>
              <c:numCache>
                <c:formatCode>General</c:formatCode>
                <c:ptCount val="4"/>
                <c:pt idx="0">
                  <c:v>75.11487035731429</c:v>
                </c:pt>
                <c:pt idx="1">
                  <c:v>88.26916485782408</c:v>
                </c:pt>
                <c:pt idx="2">
                  <c:v>100.0</c:v>
                </c:pt>
                <c:pt idx="3">
                  <c:v>110.501384811001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c:f>
              <c:strCache>
                <c:ptCount val="4"/>
                <c:pt idx="0">
                  <c:v>5.00</c:v>
                </c:pt>
                <c:pt idx="1">
                  <c:v>5.50</c:v>
                </c:pt>
                <c:pt idx="2">
                  <c:v>6.00</c:v>
                </c:pt>
                <c:pt idx="3">
                  <c:v>6.50</c:v>
                </c:pt>
              </c:strCache>
            </c:strRef>
          </c:cat>
          <c:val>
            <c:numRef>
              <c:f>Sheet1!$E$2:$E$5</c:f>
              <c:numCache>
                <c:formatCode>General</c:formatCode>
                <c:ptCount val="4"/>
                <c:pt idx="0">
                  <c:v>0.4116862369635835</c:v>
                </c:pt>
                <c:pt idx="1">
                  <c:v>0.46516930633053033</c:v>
                </c:pt>
                <c:pt idx="2">
                  <c:v>0.5097385308029861</c:v>
                </c:pt>
                <c:pt idx="3">
                  <c:v>0.54745095151044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27.6445429178047</c:v>
                </c:pt>
                <c:pt idx="1">
                  <c:v>121.72772463301298</c:v>
                </c:pt>
                <c:pt idx="2">
                  <c:v>116.30297046504833</c:v>
                </c:pt>
                <c:pt idx="3">
                  <c:v>107.41176240233676</c:v>
                </c:pt>
                <c:pt idx="4">
                  <c:v>100.0</c:v>
                </c:pt>
                <c:pt idx="5">
                  <c:v>93.72404329218041</c:v>
                </c:pt>
                <c:pt idx="6">
                  <c:v>88.33742403025887</c:v>
                </c:pt>
                <c:pt idx="7">
                  <c:v>82.99032601232115</c:v>
                </c:pt>
                <c:pt idx="8">
                  <c:v>78.250169961005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00.83422106077704</c:v>
                </c:pt>
                <c:pt idx="1">
                  <c:v>102.55212098494124</c:v>
                </c:pt>
                <c:pt idx="2">
                  <c:v>104.0884723371166</c:v>
                </c:pt>
                <c:pt idx="3">
                  <c:v>101.77134703436954</c:v>
                </c:pt>
                <c:pt idx="4">
                  <c:v>100.0</c:v>
                </c:pt>
                <c:pt idx="5">
                  <c:v>98.64571686903437</c:v>
                </c:pt>
                <c:pt idx="6">
                  <c:v>97.6150290909156</c:v>
                </c:pt>
                <c:pt idx="7">
                  <c:v>96.0636946705975</c:v>
                </c:pt>
                <c:pt idx="8">
                  <c:v>94.685319130761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80.99840520464635</c:v>
                </c:pt>
                <c:pt idx="1">
                  <c:v>88.36479302850253</c:v>
                </c:pt>
                <c:pt idx="2">
                  <c:v>95.05222110768862</c:v>
                </c:pt>
                <c:pt idx="3">
                  <c:v>97.59868354580698</c:v>
                </c:pt>
                <c:pt idx="4">
                  <c:v>100.0</c:v>
                </c:pt>
                <c:pt idx="5">
                  <c:v>102.28661974571563</c:v>
                </c:pt>
                <c:pt idx="6">
                  <c:v>104.47833985928312</c:v>
                </c:pt>
                <c:pt idx="7">
                  <c:v>105.73617605537855</c:v>
                </c:pt>
                <c:pt idx="8">
                  <c:v>106.8457379394147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46305172904263875</c:v>
                </c:pt>
                <c:pt idx="1">
                  <c:v>0.4966109959774738</c:v>
                </c:pt>
                <c:pt idx="2">
                  <c:v>0.5262221138611519</c:v>
                </c:pt>
                <c:pt idx="3">
                  <c:v>0.5525431075355324</c:v>
                </c:pt>
                <c:pt idx="4">
                  <c:v>0.57609347029682</c:v>
                </c:pt>
                <c:pt idx="5">
                  <c:v>0.5972887967819791</c:v>
                </c:pt>
                <c:pt idx="6">
                  <c:v>0.6164655207447419</c:v>
                </c:pt>
                <c:pt idx="7">
                  <c:v>0.6338989061654355</c:v>
                </c:pt>
                <c:pt idx="8">
                  <c:v>0.64981634502780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39.58289468517765</c:v>
                </c:pt>
                <c:pt idx="1">
                  <c:v>130.34372976604845</c:v>
                </c:pt>
                <c:pt idx="2">
                  <c:v>122.07199186361863</c:v>
                </c:pt>
                <c:pt idx="3">
                  <c:v>109.66717991056416</c:v>
                </c:pt>
                <c:pt idx="4">
                  <c:v>100.0</c:v>
                </c:pt>
                <c:pt idx="5">
                  <c:v>92.33534616157756</c:v>
                </c:pt>
                <c:pt idx="6">
                  <c:v>86.12203060782583</c:v>
                </c:pt>
                <c:pt idx="7">
                  <c:v>79.83645542019785</c:v>
                </c:pt>
                <c:pt idx="8">
                  <c:v>74.38735794171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10.27372129264279</c:v>
                </c:pt>
                <c:pt idx="1">
                  <c:v>109.81618145371046</c:v>
                </c:pt>
                <c:pt idx="2">
                  <c:v>109.25450583433386</c:v>
                </c:pt>
                <c:pt idx="3">
                  <c:v>103.90927338963198</c:v>
                </c:pt>
                <c:pt idx="4">
                  <c:v>100.0</c:v>
                </c:pt>
                <c:pt idx="5">
                  <c:v>97.18373257384071</c:v>
                </c:pt>
                <c:pt idx="6">
                  <c:v>95.16657412849204</c:v>
                </c:pt>
                <c:pt idx="7">
                  <c:v>92.41299439722934</c:v>
                </c:pt>
                <c:pt idx="8">
                  <c:v>90.011651728636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94.20927323845045</c:v>
                </c:pt>
                <c:pt idx="1">
                  <c:v>98.56601589019189</c:v>
                </c:pt>
                <c:pt idx="2">
                  <c:v>102.23127871405823</c:v>
                </c:pt>
                <c:pt idx="3">
                  <c:v>100.75491827991235</c:v>
                </c:pt>
                <c:pt idx="4">
                  <c:v>100.0</c:v>
                </c:pt>
                <c:pt idx="5">
                  <c:v>99.83911131191587</c:v>
                </c:pt>
                <c:pt idx="6">
                  <c:v>100.11969279930177</c:v>
                </c:pt>
                <c:pt idx="7">
                  <c:v>99.30052969334685</c:v>
                </c:pt>
                <c:pt idx="8">
                  <c:v>98.5681418929397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5536801353421358</c:v>
                </c:pt>
                <c:pt idx="1">
                  <c:v>0.5815751268832523</c:v>
                </c:pt>
                <c:pt idx="2">
                  <c:v>0.6061883547136492</c:v>
                </c:pt>
                <c:pt idx="3">
                  <c:v>0.6280667794517798</c:v>
                </c:pt>
                <c:pt idx="4">
                  <c:v>0.6476422121122124</c:v>
                </c:pt>
                <c:pt idx="5">
                  <c:v>0.6652601015066018</c:v>
                </c:pt>
                <c:pt idx="6">
                  <c:v>0.6812000966729541</c:v>
                </c:pt>
                <c:pt idx="7">
                  <c:v>0.6956910013696381</c:v>
                </c:pt>
                <c:pt idx="8">
                  <c:v>0.70892182739704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B$2:$B$25</c:f>
              <c:numCache>
                <c:formatCode>General</c:formatCode>
                <c:ptCount val="24"/>
                <c:pt idx="0">
                  <c:v>136.0273665694138</c:v>
                </c:pt>
                <c:pt idx="1">
                  <c:v>133.48546535587803</c:v>
                </c:pt>
                <c:pt idx="2">
                  <c:v>131.01481991260772</c:v>
                </c:pt>
                <c:pt idx="3">
                  <c:v>128.6127061290676</c:v>
                </c:pt>
                <c:pt idx="4">
                  <c:v>126.09686250110713</c:v>
                </c:pt>
                <c:pt idx="5">
                  <c:v>122.13049120558301</c:v>
                </c:pt>
                <c:pt idx="6">
                  <c:v>118.39943451105334</c:v>
                </c:pt>
                <c:pt idx="7">
                  <c:v>114.88435917282848</c:v>
                </c:pt>
                <c:pt idx="8">
                  <c:v>111.56794192626609</c:v>
                </c:pt>
                <c:pt idx="9">
                  <c:v>108.43462722625337</c:v>
                </c:pt>
                <c:pt idx="10">
                  <c:v>105.47041558547596</c:v>
                </c:pt>
                <c:pt idx="11">
                  <c:v>102.66267897587255</c:v>
                </c:pt>
                <c:pt idx="12">
                  <c:v>100.0</c:v>
                </c:pt>
                <c:pt idx="13">
                  <c:v>97.47203182923116</c:v>
                </c:pt>
                <c:pt idx="14">
                  <c:v>95.06453775532096</c:v>
                </c:pt>
                <c:pt idx="15">
                  <c:v>92.74323163574361</c:v>
                </c:pt>
                <c:pt idx="16">
                  <c:v>90.5516907018171</c:v>
                </c:pt>
                <c:pt idx="17">
                  <c:v>88.47924258377282</c:v>
                </c:pt>
                <c:pt idx="18">
                  <c:v>86.51631886260493</c:v>
                </c:pt>
                <c:pt idx="19">
                  <c:v>84.65432860363762</c:v>
                </c:pt>
                <c:pt idx="20">
                  <c:v>82.88554656575616</c:v>
                </c:pt>
                <c:pt idx="21">
                  <c:v>81.20301433868244</c:v>
                </c:pt>
                <c:pt idx="22">
                  <c:v>79.60045294257068</c:v>
                </c:pt>
                <c:pt idx="23">
                  <c:v>78.07218562422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C$2:$C$25</c:f>
              <c:numCache>
                <c:formatCode>General</c:formatCode>
                <c:ptCount val="24"/>
                <c:pt idx="0">
                  <c:v>108.09171622303795</c:v>
                </c:pt>
                <c:pt idx="1">
                  <c:v>108.35756294091728</c:v>
                </c:pt>
                <c:pt idx="2">
                  <c:v>108.59518232715652</c:v>
                </c:pt>
                <c:pt idx="3">
                  <c:v>108.80595836481628</c:v>
                </c:pt>
                <c:pt idx="4">
                  <c:v>108.83597448780431</c:v>
                </c:pt>
                <c:pt idx="5">
                  <c:v>107.50176704331584</c:v>
                </c:pt>
                <c:pt idx="6">
                  <c:v>106.24317233765312</c:v>
                </c:pt>
                <c:pt idx="7">
                  <c:v>105.05456517176262</c:v>
                </c:pt>
                <c:pt idx="8">
                  <c:v>103.93087283189138</c:v>
                </c:pt>
                <c:pt idx="9">
                  <c:v>102.86751670877604</c:v>
                </c:pt>
                <c:pt idx="10">
                  <c:v>101.8603586940505</c:v>
                </c:pt>
                <c:pt idx="11">
                  <c:v>100.9056525235688</c:v>
                </c:pt>
                <c:pt idx="12">
                  <c:v>100.0</c:v>
                </c:pt>
                <c:pt idx="13">
                  <c:v>99.14031187482713</c:v>
                </c:pt>
                <c:pt idx="14">
                  <c:v>98.31889754006319</c:v>
                </c:pt>
                <c:pt idx="15">
                  <c:v>97.50686120036664</c:v>
                </c:pt>
                <c:pt idx="16">
                  <c:v>96.75398338729578</c:v>
                </c:pt>
                <c:pt idx="17">
                  <c:v>96.05533867595908</c:v>
                </c:pt>
                <c:pt idx="18">
                  <c:v>95.40648912924803</c:v>
                </c:pt>
                <c:pt idx="19">
                  <c:v>94.80343696751842</c:v>
                </c:pt>
                <c:pt idx="20">
                  <c:v>94.24258097497832</c:v>
                </c:pt>
                <c:pt idx="21">
                  <c:v>93.72067637656399</c:v>
                </c:pt>
                <c:pt idx="22">
                  <c:v>93.23479801141148</c:v>
                </c:pt>
                <c:pt idx="23">
                  <c:v>92.7823066672054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D$2:$D$25</c:f>
              <c:numCache>
                <c:formatCode>General</c:formatCode>
                <c:ptCount val="24"/>
                <c:pt idx="0">
                  <c:v>85.5900406055049</c:v>
                </c:pt>
                <c:pt idx="1">
                  <c:v>88.11521433498538</c:v>
                </c:pt>
                <c:pt idx="2">
                  <c:v>90.53254206484473</c:v>
                </c:pt>
                <c:pt idx="3">
                  <c:v>92.84666243287873</c:v>
                </c:pt>
                <c:pt idx="4">
                  <c:v>94.92672021090802</c:v>
                </c:pt>
                <c:pt idx="5">
                  <c:v>95.71451523144296</c:v>
                </c:pt>
                <c:pt idx="6">
                  <c:v>96.44888506286875</c:v>
                </c:pt>
                <c:pt idx="7">
                  <c:v>97.13529631299741</c:v>
                </c:pt>
                <c:pt idx="8">
                  <c:v>97.77858763192012</c:v>
                </c:pt>
                <c:pt idx="9">
                  <c:v>98.38306044025185</c:v>
                </c:pt>
                <c:pt idx="10">
                  <c:v>98.95255345156112</c:v>
                </c:pt>
                <c:pt idx="11">
                  <c:v>99.49050418093772</c:v>
                </c:pt>
                <c:pt idx="12">
                  <c:v>100.0</c:v>
                </c:pt>
                <c:pt idx="13">
                  <c:v>100.48382078373947</c:v>
                </c:pt>
                <c:pt idx="14">
                  <c:v>100.93933731379397</c:v>
                </c:pt>
                <c:pt idx="15">
                  <c:v>101.34025281414615</c:v>
                </c:pt>
                <c:pt idx="16">
                  <c:v>101.74351985525436</c:v>
                </c:pt>
                <c:pt idx="17">
                  <c:v>102.14884608521311</c:v>
                </c:pt>
                <c:pt idx="18">
                  <c:v>102.5559287062754</c:v>
                </c:pt>
                <c:pt idx="19">
                  <c:v>102.96447120951966</c:v>
                </c:pt>
                <c:pt idx="20">
                  <c:v>103.37419496676496</c:v>
                </c:pt>
                <c:pt idx="21">
                  <c:v>103.78484662036212</c:v>
                </c:pt>
                <c:pt idx="22">
                  <c:v>104.19620214848804</c:v>
                </c:pt>
                <c:pt idx="23">
                  <c:v>104.608068389271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E$2:$E$25</c:f>
              <c:numCache>
                <c:formatCode>General</c:formatCode>
                <c:ptCount val="24"/>
                <c:pt idx="0">
                  <c:v>0.4426847826086958</c:v>
                </c:pt>
                <c:pt idx="1">
                  <c:v>0.45454255319148956</c:v>
                </c:pt>
                <c:pt idx="2">
                  <c:v>0.4659062500000002</c:v>
                </c:pt>
                <c:pt idx="3">
                  <c:v>0.47680612244897974</c:v>
                </c:pt>
                <c:pt idx="4">
                  <c:v>0.48727000000000015</c:v>
                </c:pt>
                <c:pt idx="5">
                  <c:v>0.49732352941176483</c:v>
                </c:pt>
                <c:pt idx="6">
                  <c:v>0.5069903846153847</c:v>
                </c:pt>
                <c:pt idx="7">
                  <c:v>0.5162924528301889</c:v>
                </c:pt>
                <c:pt idx="8">
                  <c:v>0.5252500000000001</c:v>
                </c:pt>
                <c:pt idx="9">
                  <c:v>0.5338818181818182</c:v>
                </c:pt>
                <c:pt idx="10">
                  <c:v>0.5422053571428572</c:v>
                </c:pt>
                <c:pt idx="11">
                  <c:v>0.5502368421052634</c:v>
                </c:pt>
                <c:pt idx="12">
                  <c:v>0.557991379310345</c:v>
                </c:pt>
                <c:pt idx="13">
                  <c:v>0.5654830508474578</c:v>
                </c:pt>
                <c:pt idx="14">
                  <c:v>0.5727250000000002</c:v>
                </c:pt>
                <c:pt idx="15">
                  <c:v>0.5797295081967214</c:v>
                </c:pt>
                <c:pt idx="16">
                  <c:v>0.5865080645161292</c:v>
                </c:pt>
                <c:pt idx="17">
                  <c:v>0.5930714285714287</c:v>
                </c:pt>
                <c:pt idx="18">
                  <c:v>0.5994296875000001</c:v>
                </c:pt>
                <c:pt idx="19">
                  <c:v>0.6055923076923079</c:v>
                </c:pt>
                <c:pt idx="20">
                  <c:v>0.611568181818182</c:v>
                </c:pt>
                <c:pt idx="21">
                  <c:v>0.6173656716417911</c:v>
                </c:pt>
                <c:pt idx="22">
                  <c:v>0.6229926470588236</c:v>
                </c:pt>
                <c:pt idx="23">
                  <c:v>0.62845652173913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B$2:$B$27</c:f>
              <c:numCache>
                <c:formatCode>General</c:formatCode>
                <c:ptCount val="26"/>
                <c:pt idx="0">
                  <c:v>162.121945516311</c:v>
                </c:pt>
                <c:pt idx="1">
                  <c:v>156.18392788292945</c:v>
                </c:pt>
                <c:pt idx="2">
                  <c:v>150.57892112521918</c:v>
                </c:pt>
                <c:pt idx="3">
                  <c:v>145.28215240265533</c:v>
                </c:pt>
                <c:pt idx="4">
                  <c:v>140.27123896381124</c:v>
                </c:pt>
                <c:pt idx="5">
                  <c:v>135.5259030860181</c:v>
                </c:pt>
                <c:pt idx="6">
                  <c:v>130.9725943746934</c:v>
                </c:pt>
                <c:pt idx="7">
                  <c:v>126.20771378969897</c:v>
                </c:pt>
                <c:pt idx="8">
                  <c:v>121.74579230853011</c:v>
                </c:pt>
                <c:pt idx="9">
                  <c:v>117.55934481689184</c:v>
                </c:pt>
                <c:pt idx="10">
                  <c:v>113.62410772684166</c:v>
                </c:pt>
                <c:pt idx="11">
                  <c:v>109.9186026139377</c:v>
                </c:pt>
                <c:pt idx="12">
                  <c:v>106.42376290269911</c:v>
                </c:pt>
                <c:pt idx="13">
                  <c:v>103.12261414946498</c:v>
                </c:pt>
                <c:pt idx="14">
                  <c:v>100.0</c:v>
                </c:pt>
                <c:pt idx="15">
                  <c:v>97.04234713029305</c:v>
                </c:pt>
                <c:pt idx="16">
                  <c:v>94.35620056273362</c:v>
                </c:pt>
                <c:pt idx="17">
                  <c:v>92.8371485151764</c:v>
                </c:pt>
                <c:pt idx="18">
                  <c:v>91.37511636351886</c:v>
                </c:pt>
                <c:pt idx="19">
                  <c:v>89.966350950092</c:v>
                </c:pt>
                <c:pt idx="20">
                  <c:v>88.60747902997517</c:v>
                </c:pt>
                <c:pt idx="21">
                  <c:v>87.29545898589156</c:v>
                </c:pt>
                <c:pt idx="22">
                  <c:v>86.02753933010105</c:v>
                </c:pt>
                <c:pt idx="23">
                  <c:v>84.80122299518627</c:v>
                </c:pt>
                <c:pt idx="24">
                  <c:v>83.61423656471348</c:v>
                </c:pt>
                <c:pt idx="25">
                  <c:v>82.46450372189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C$2:$C$27</c:f>
              <c:numCache>
                <c:formatCode>General</c:formatCode>
                <c:ptCount val="26"/>
                <c:pt idx="0">
                  <c:v>128.77897912544444</c:v>
                </c:pt>
                <c:pt idx="1">
                  <c:v>126.35604269518252</c:v>
                </c:pt>
                <c:pt idx="2">
                  <c:v>124.033060973677</c:v>
                </c:pt>
                <c:pt idx="3">
                  <c:v>121.80392730566221</c:v>
                </c:pt>
                <c:pt idx="4">
                  <c:v>119.66311980542834</c:v>
                </c:pt>
                <c:pt idx="5">
                  <c:v>117.60562935696002</c:v>
                </c:pt>
                <c:pt idx="6">
                  <c:v>115.57826961635375</c:v>
                </c:pt>
                <c:pt idx="7">
                  <c:v>113.22758832417547</c:v>
                </c:pt>
                <c:pt idx="8">
                  <c:v>111.01319804253889</c:v>
                </c:pt>
                <c:pt idx="9">
                  <c:v>108.92297857459326</c:v>
                </c:pt>
                <c:pt idx="10">
                  <c:v>106.94622781227088</c:v>
                </c:pt>
                <c:pt idx="11">
                  <c:v>105.07348105633045</c:v>
                </c:pt>
                <c:pt idx="12">
                  <c:v>103.29635310741187</c:v>
                </c:pt>
                <c:pt idx="13">
                  <c:v>101.6074002911709</c:v>
                </c:pt>
                <c:pt idx="14">
                  <c:v>100.0</c:v>
                </c:pt>
                <c:pt idx="15">
                  <c:v>98.46824565338012</c:v>
                </c:pt>
                <c:pt idx="16">
                  <c:v>97.12907119910149</c:v>
                </c:pt>
                <c:pt idx="17">
                  <c:v>96.92941607193949</c:v>
                </c:pt>
                <c:pt idx="18">
                  <c:v>96.74549407406485</c:v>
                </c:pt>
                <c:pt idx="19">
                  <c:v>96.57578945742912</c:v>
                </c:pt>
                <c:pt idx="20">
                  <c:v>96.41897934428268</c:v>
                </c:pt>
                <c:pt idx="21">
                  <c:v>96.27390837637122</c:v>
                </c:pt>
                <c:pt idx="22">
                  <c:v>96.13956669421852</c:v>
                </c:pt>
                <c:pt idx="23">
                  <c:v>96.01507081404006</c:v>
                </c:pt>
                <c:pt idx="24">
                  <c:v>95.8996470235949</c:v>
                </c:pt>
                <c:pt idx="25">
                  <c:v>95.792616966237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D$2:$D$27</c:f>
              <c:numCache>
                <c:formatCode>General</c:formatCode>
                <c:ptCount val="26"/>
                <c:pt idx="0">
                  <c:v>102.61751521420568</c:v>
                </c:pt>
                <c:pt idx="1">
                  <c:v>102.95359866620618</c:v>
                </c:pt>
                <c:pt idx="2">
                  <c:v>103.20657581074538</c:v>
                </c:pt>
                <c:pt idx="3">
                  <c:v>103.38500933950674</c:v>
                </c:pt>
                <c:pt idx="4">
                  <c:v>103.49662757161826</c:v>
                </c:pt>
                <c:pt idx="5">
                  <c:v>103.54841995588684</c:v>
                </c:pt>
                <c:pt idx="6">
                  <c:v>103.50314990846591</c:v>
                </c:pt>
                <c:pt idx="7">
                  <c:v>103.04638888433126</c:v>
                </c:pt>
                <c:pt idx="8">
                  <c:v>102.59509156394238</c:v>
                </c:pt>
                <c:pt idx="9">
                  <c:v>102.14920353241456</c:v>
                </c:pt>
                <c:pt idx="10">
                  <c:v>101.70867178343406</c:v>
                </c:pt>
                <c:pt idx="11">
                  <c:v>101.27346496684669</c:v>
                </c:pt>
                <c:pt idx="12">
                  <c:v>100.84358473851916</c:v>
                </c:pt>
                <c:pt idx="13">
                  <c:v>100.41907057980136</c:v>
                </c:pt>
                <c:pt idx="14">
                  <c:v>100.0</c:v>
                </c:pt>
                <c:pt idx="15">
                  <c:v>99.58648563699252</c:v>
                </c:pt>
                <c:pt idx="16">
                  <c:v>99.30363331341107</c:v>
                </c:pt>
                <c:pt idx="17">
                  <c:v>100.13882365105877</c:v>
                </c:pt>
                <c:pt idx="18">
                  <c:v>100.95736407162315</c:v>
                </c:pt>
                <c:pt idx="19">
                  <c:v>101.75949407409628</c:v>
                </c:pt>
                <c:pt idx="20">
                  <c:v>102.54549924783282</c:v>
                </c:pt>
                <c:pt idx="21">
                  <c:v>103.31570392673967</c:v>
                </c:pt>
                <c:pt idx="22">
                  <c:v>104.07046445865005</c:v>
                </c:pt>
                <c:pt idx="23">
                  <c:v>104.81016310180149</c:v>
                </c:pt>
                <c:pt idx="24">
                  <c:v>105.53520253918187</c:v>
                </c:pt>
                <c:pt idx="25">
                  <c:v>106.2460009872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E$2:$E$27</c:f>
              <c:numCache>
                <c:formatCode>General</c:formatCode>
                <c:ptCount val="26"/>
                <c:pt idx="0">
                  <c:v>0.44710185185185186</c:v>
                </c:pt>
                <c:pt idx="1">
                  <c:v>0.4571545454545455</c:v>
                </c:pt>
                <c:pt idx="2">
                  <c:v>0.46684821428571427</c:v>
                </c:pt>
                <c:pt idx="3">
                  <c:v>0.476201754385965</c:v>
                </c:pt>
                <c:pt idx="4">
                  <c:v>0.48523275862068965</c:v>
                </c:pt>
                <c:pt idx="5">
                  <c:v>0.4939576271186441</c:v>
                </c:pt>
                <c:pt idx="6">
                  <c:v>0.5023916666666667</c:v>
                </c:pt>
                <c:pt idx="7">
                  <c:v>0.5105491803278689</c:v>
                </c:pt>
                <c:pt idx="8">
                  <c:v>0.5184435483870967</c:v>
                </c:pt>
                <c:pt idx="9">
                  <c:v>0.5260873015873017</c:v>
                </c:pt>
                <c:pt idx="10">
                  <c:v>0.5334921875</c:v>
                </c:pt>
                <c:pt idx="11">
                  <c:v>0.5406692307692308</c:v>
                </c:pt>
                <c:pt idx="12">
                  <c:v>0.5476287878787879</c:v>
                </c:pt>
                <c:pt idx="13">
                  <c:v>0.5543805970149255</c:v>
                </c:pt>
                <c:pt idx="14">
                  <c:v>0.5609338235294118</c:v>
                </c:pt>
                <c:pt idx="15">
                  <c:v>0.5672971014492754</c:v>
                </c:pt>
                <c:pt idx="16">
                  <c:v>0.5734785714285714</c:v>
                </c:pt>
                <c:pt idx="17">
                  <c:v>0.5794859154929578</c:v>
                </c:pt>
                <c:pt idx="18">
                  <c:v>0.5853263888888889</c:v>
                </c:pt>
                <c:pt idx="19">
                  <c:v>0.5910068493150686</c:v>
                </c:pt>
                <c:pt idx="20">
                  <c:v>0.5965337837837839</c:v>
                </c:pt>
                <c:pt idx="21">
                  <c:v>0.6019133333333334</c:v>
                </c:pt>
                <c:pt idx="22">
                  <c:v>0.6071513157894737</c:v>
                </c:pt>
                <c:pt idx="23">
                  <c:v>0.6122532467532468</c:v>
                </c:pt>
                <c:pt idx="24">
                  <c:v>0.6172243589743589</c:v>
                </c:pt>
                <c:pt idx="25">
                  <c:v>0.6220696202531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B$2:$B$11</c:f>
              <c:numCache>
                <c:formatCode>General</c:formatCode>
                <c:ptCount val="10"/>
                <c:pt idx="0">
                  <c:v>119.25900719446614</c:v>
                </c:pt>
                <c:pt idx="1">
                  <c:v>114.91054880957847</c:v>
                </c:pt>
                <c:pt idx="2">
                  <c:v>111.27041061432541</c:v>
                </c:pt>
                <c:pt idx="3">
                  <c:v>107.8801939721831</c:v>
                </c:pt>
                <c:pt idx="4">
                  <c:v>103.81423684230597</c:v>
                </c:pt>
                <c:pt idx="5">
                  <c:v>100.0</c:v>
                </c:pt>
                <c:pt idx="6">
                  <c:v>96.37794146941935</c:v>
                </c:pt>
                <c:pt idx="7">
                  <c:v>92.8516711451876</c:v>
                </c:pt>
                <c:pt idx="8">
                  <c:v>89.25278720153932</c:v>
                </c:pt>
                <c:pt idx="9">
                  <c:v>85.784169625994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C$2:$C$11</c:f>
              <c:numCache>
                <c:formatCode>General</c:formatCode>
                <c:ptCount val="10"/>
                <c:pt idx="0">
                  <c:v>93.67001811482022</c:v>
                </c:pt>
                <c:pt idx="1">
                  <c:v>95.18802089509705</c:v>
                </c:pt>
                <c:pt idx="2">
                  <c:v>96.94920922895767</c:v>
                </c:pt>
                <c:pt idx="3">
                  <c:v>98.62525109893004</c:v>
                </c:pt>
                <c:pt idx="4">
                  <c:v>99.36136932369581</c:v>
                </c:pt>
                <c:pt idx="5">
                  <c:v>100.0</c:v>
                </c:pt>
                <c:pt idx="6">
                  <c:v>100.51155195928527</c:v>
                </c:pt>
                <c:pt idx="7">
                  <c:v>100.81645782544169</c:v>
                </c:pt>
                <c:pt idx="8">
                  <c:v>100.73773172116655</c:v>
                </c:pt>
                <c:pt idx="9">
                  <c:v>100.5027395935133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D$2:$D$11</c:f>
              <c:numCache>
                <c:formatCode>General</c:formatCode>
                <c:ptCount val="10"/>
                <c:pt idx="0">
                  <c:v>50.968412321247335</c:v>
                </c:pt>
                <c:pt idx="1">
                  <c:v>62.27009895161055</c:v>
                </c:pt>
                <c:pt idx="2">
                  <c:v>73.04073197756303</c:v>
                </c:pt>
                <c:pt idx="3">
                  <c:v>83.17026959930776</c:v>
                </c:pt>
                <c:pt idx="4">
                  <c:v>91.92492775438107</c:v>
                </c:pt>
                <c:pt idx="5">
                  <c:v>100.0</c:v>
                </c:pt>
                <c:pt idx="6">
                  <c:v>107.41561000353789</c:v>
                </c:pt>
                <c:pt idx="7">
                  <c:v>114.11931710885969</c:v>
                </c:pt>
                <c:pt idx="8">
                  <c:v>119.91777130029378</c:v>
                </c:pt>
                <c:pt idx="9">
                  <c:v>125.081843569643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E$2:$E$11</c:f>
              <c:numCache>
                <c:formatCode>General</c:formatCode>
                <c:ptCount val="10"/>
                <c:pt idx="0">
                  <c:v>0.20504010989010998</c:v>
                </c:pt>
                <c:pt idx="1">
                  <c:v>0.24644427083333337</c:v>
                </c:pt>
                <c:pt idx="2">
                  <c:v>0.2837490099009901</c:v>
                </c:pt>
                <c:pt idx="3">
                  <c:v>0.3175344339622642</c:v>
                </c:pt>
                <c:pt idx="4">
                  <c:v>0.34827612612612613</c:v>
                </c:pt>
                <c:pt idx="5">
                  <c:v>0.3763676724137932</c:v>
                </c:pt>
                <c:pt idx="6">
                  <c:v>0.40213760330578513</c:v>
                </c:pt>
                <c:pt idx="7">
                  <c:v>0.4258623015873017</c:v>
                </c:pt>
                <c:pt idx="8">
                  <c:v>0.4477759541984733</c:v>
                </c:pt>
                <c:pt idx="9">
                  <c:v>0.46807830882352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B$2:$B$10</c:f>
              <c:numCache>
                <c:formatCode>General</c:formatCode>
                <c:ptCount val="9"/>
                <c:pt idx="0">
                  <c:v>155.86687061342772</c:v>
                </c:pt>
                <c:pt idx="1">
                  <c:v>142.71257841161503</c:v>
                </c:pt>
                <c:pt idx="2">
                  <c:v>132.0273842142039</c:v>
                </c:pt>
                <c:pt idx="3">
                  <c:v>119.73928608344615</c:v>
                </c:pt>
                <c:pt idx="4">
                  <c:v>109.13677841641314</c:v>
                </c:pt>
                <c:pt idx="5">
                  <c:v>100.0</c:v>
                </c:pt>
                <c:pt idx="6">
                  <c:v>92.12231176437805</c:v>
                </c:pt>
                <c:pt idx="7">
                  <c:v>88.36416482171467</c:v>
                </c:pt>
                <c:pt idx="8">
                  <c:v>84.844909417571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C$2:$C$10</c:f>
              <c:numCache>
                <c:formatCode>General</c:formatCode>
                <c:ptCount val="9"/>
                <c:pt idx="0">
                  <c:v>124.01232206332229</c:v>
                </c:pt>
                <c:pt idx="1">
                  <c:v>119.37540329879559</c:v>
                </c:pt>
                <c:pt idx="2">
                  <c:v>115.83539819583615</c:v>
                </c:pt>
                <c:pt idx="3">
                  <c:v>109.94403067997584</c:v>
                </c:pt>
                <c:pt idx="4">
                  <c:v>104.67064485762802</c:v>
                </c:pt>
                <c:pt idx="5">
                  <c:v>100.0</c:v>
                </c:pt>
                <c:pt idx="6">
                  <c:v>95.89524917897913</c:v>
                </c:pt>
                <c:pt idx="7">
                  <c:v>95.61852169995561</c:v>
                </c:pt>
                <c:pt idx="8">
                  <c:v>95.300603442036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D$2:$D$10</c:f>
              <c:numCache>
                <c:formatCode>General</c:formatCode>
                <c:ptCount val="9"/>
                <c:pt idx="0">
                  <c:v>94.87836582651028</c:v>
                </c:pt>
                <c:pt idx="1">
                  <c:v>98.03944556507518</c:v>
                </c:pt>
                <c:pt idx="2">
                  <c:v>101.03111391329047</c:v>
                </c:pt>
                <c:pt idx="3">
                  <c:v>100.99836957247281</c:v>
                </c:pt>
                <c:pt idx="4">
                  <c:v>100.59604245798594</c:v>
                </c:pt>
                <c:pt idx="5">
                  <c:v>100.0</c:v>
                </c:pt>
                <c:pt idx="6">
                  <c:v>99.33154362989504</c:v>
                </c:pt>
                <c:pt idx="7">
                  <c:v>102.19442462743586</c:v>
                </c:pt>
                <c:pt idx="8">
                  <c:v>104.764078168932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E$2:$E$10</c:f>
              <c:numCache>
                <c:formatCode>General</c:formatCode>
                <c:ptCount val="9"/>
                <c:pt idx="0">
                  <c:v>0.4093884756514348</c:v>
                </c:pt>
                <c:pt idx="1">
                  <c:v>0.4389190518688631</c:v>
                </c:pt>
                <c:pt idx="2">
                  <c:v>0.46563719225606</c:v>
                </c:pt>
                <c:pt idx="3">
                  <c:v>0.4899264107898755</c:v>
                </c:pt>
                <c:pt idx="4">
                  <c:v>0.5121035233642288</c:v>
                </c:pt>
                <c:pt idx="5">
                  <c:v>0.5324325432240524</c:v>
                </c:pt>
                <c:pt idx="6">
                  <c:v>0.5511352414950904</c:v>
                </c:pt>
                <c:pt idx="7">
                  <c:v>0.568399270668356</c:v>
                </c:pt>
                <c:pt idx="8">
                  <c:v>0.58438448286582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B$2:$B$9</c:f>
              <c:numCache>
                <c:formatCode>General</c:formatCode>
                <c:ptCount val="8"/>
                <c:pt idx="0">
                  <c:v>143.49444554324285</c:v>
                </c:pt>
                <c:pt idx="1">
                  <c:v>136.66345302035666</c:v>
                </c:pt>
                <c:pt idx="2">
                  <c:v>122.08641472839565</c:v>
                </c:pt>
                <c:pt idx="3">
                  <c:v>109.98348788393024</c:v>
                </c:pt>
                <c:pt idx="4">
                  <c:v>100.0</c:v>
                </c:pt>
                <c:pt idx="5">
                  <c:v>91.77338436128764</c:v>
                </c:pt>
                <c:pt idx="6">
                  <c:v>82.10826971227627</c:v>
                </c:pt>
                <c:pt idx="7">
                  <c:v>73.938116320941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C$2:$C$9</c:f>
              <c:numCache>
                <c:formatCode>General</c:formatCode>
                <c:ptCount val="8"/>
                <c:pt idx="0">
                  <c:v>114.99438548687154</c:v>
                </c:pt>
                <c:pt idx="1">
                  <c:v>116.3068217441075</c:v>
                </c:pt>
                <c:pt idx="2">
                  <c:v>109.96077561428194</c:v>
                </c:pt>
                <c:pt idx="3">
                  <c:v>104.52089120544518</c:v>
                </c:pt>
                <c:pt idx="4">
                  <c:v>100.0</c:v>
                </c:pt>
                <c:pt idx="5">
                  <c:v>96.33255331128977</c:v>
                </c:pt>
                <c:pt idx="6">
                  <c:v>90.26288572452266</c:v>
                </c:pt>
                <c:pt idx="7">
                  <c:v>84.952427658773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D$2:$D$9</c:f>
              <c:numCache>
                <c:formatCode>General</c:formatCode>
                <c:ptCount val="8"/>
                <c:pt idx="0">
                  <c:v>89.52393438882218</c:v>
                </c:pt>
                <c:pt idx="1">
                  <c:v>98.11250220978647</c:v>
                </c:pt>
                <c:pt idx="2">
                  <c:v>99.12710719925343</c:v>
                </c:pt>
                <c:pt idx="3">
                  <c:v>99.64185926344655</c:v>
                </c:pt>
                <c:pt idx="4">
                  <c:v>100.0</c:v>
                </c:pt>
                <c:pt idx="5">
                  <c:v>100.4027366083354</c:v>
                </c:pt>
                <c:pt idx="6">
                  <c:v>97.54937361563665</c:v>
                </c:pt>
                <c:pt idx="7">
                  <c:v>94.795080068887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8.00</c:v>
                </c:pt>
                <c:pt idx="1">
                  <c:v>8.50</c:v>
                </c:pt>
                <c:pt idx="2">
                  <c:v>9.00</c:v>
                </c:pt>
                <c:pt idx="3">
                  <c:v>9.50</c:v>
                </c:pt>
                <c:pt idx="4">
                  <c:v>10.00</c:v>
                </c:pt>
                <c:pt idx="5">
                  <c:v>10.50</c:v>
                </c:pt>
                <c:pt idx="6">
                  <c:v>11.00</c:v>
                </c:pt>
                <c:pt idx="7">
                  <c:v>11.50</c:v>
                </c:pt>
              </c:strCache>
            </c:strRef>
          </c:cat>
          <c:val>
            <c:numRef>
              <c:f>Sheet1!$E$2:$E$9</c:f>
              <c:numCache>
                <c:formatCode>General</c:formatCode>
                <c:ptCount val="8"/>
                <c:pt idx="0">
                  <c:v>0.41468911667649305</c:v>
                </c:pt>
                <c:pt idx="1">
                  <c:v>0.4491191686366994</c:v>
                </c:pt>
                <c:pt idx="2">
                  <c:v>0.4797236592679937</c:v>
                </c:pt>
                <c:pt idx="3">
                  <c:v>0.5071066245696783</c:v>
                </c:pt>
                <c:pt idx="4">
                  <c:v>0.5317512933411943</c:v>
                </c:pt>
                <c:pt idx="5">
                  <c:v>0.5540488508011375</c:v>
                </c:pt>
                <c:pt idx="6">
                  <c:v>0.574319357582904</c:v>
                </c:pt>
                <c:pt idx="7">
                  <c:v>0.59282721160103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7.40</c:v>
                </c:pt>
                <c:pt idx="1">
                  <c:v>7.90</c:v>
                </c:pt>
                <c:pt idx="2">
                  <c:v>8.40</c:v>
                </c:pt>
                <c:pt idx="3">
                  <c:v>8.90</c:v>
                </c:pt>
                <c:pt idx="4">
                  <c:v>9.40</c:v>
                </c:pt>
                <c:pt idx="5">
                  <c:v>9.90</c:v>
                </c:pt>
              </c:strCache>
            </c:strRef>
          </c:cat>
          <c:val>
            <c:numRef>
              <c:f>Sheet1!$B$2:$B$7</c:f>
              <c:numCache>
                <c:formatCode>General</c:formatCode>
                <c:ptCount val="6"/>
                <c:pt idx="0">
                  <c:v>108.95152059583685</c:v>
                </c:pt>
                <c:pt idx="1">
                  <c:v>104.34257376641682</c:v>
                </c:pt>
                <c:pt idx="2">
                  <c:v>100.0</c:v>
                </c:pt>
                <c:pt idx="3">
                  <c:v>91.08418159120207</c:v>
                </c:pt>
                <c:pt idx="4">
                  <c:v>81.13164092997117</c:v>
                </c:pt>
                <c:pt idx="5">
                  <c:v>71.789079948246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7.40</c:v>
                </c:pt>
                <c:pt idx="1">
                  <c:v>7.90</c:v>
                </c:pt>
                <c:pt idx="2">
                  <c:v>8.40</c:v>
                </c:pt>
                <c:pt idx="3">
                  <c:v>8.90</c:v>
                </c:pt>
                <c:pt idx="4">
                  <c:v>9.40</c:v>
                </c:pt>
                <c:pt idx="5">
                  <c:v>9.90</c:v>
                </c:pt>
              </c:strCache>
            </c:strRef>
          </c:cat>
          <c:val>
            <c:numRef>
              <c:f>Sheet1!$C$2:$C$7</c:f>
              <c:numCache>
                <c:formatCode>General</c:formatCode>
                <c:ptCount val="6"/>
                <c:pt idx="0">
                  <c:v>96.3369899520888</c:v>
                </c:pt>
                <c:pt idx="1">
                  <c:v>98.30533018804584</c:v>
                </c:pt>
                <c:pt idx="2">
                  <c:v>100.0</c:v>
                </c:pt>
                <c:pt idx="3">
                  <c:v>96.31702314218565</c:v>
                </c:pt>
                <c:pt idx="4">
                  <c:v>90.4480416850742</c:v>
                </c:pt>
                <c:pt idx="5">
                  <c:v>84.1577387680439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7.40</c:v>
                </c:pt>
                <c:pt idx="1">
                  <c:v>7.90</c:v>
                </c:pt>
                <c:pt idx="2">
                  <c:v>8.40</c:v>
                </c:pt>
                <c:pt idx="3">
                  <c:v>8.90</c:v>
                </c:pt>
                <c:pt idx="4">
                  <c:v>9.40</c:v>
                </c:pt>
                <c:pt idx="5">
                  <c:v>9.90</c:v>
                </c:pt>
              </c:strCache>
            </c:strRef>
          </c:cat>
          <c:val>
            <c:numRef>
              <c:f>Sheet1!$D$2:$D$7</c:f>
              <c:numCache>
                <c:formatCode>General</c:formatCode>
                <c:ptCount val="6"/>
                <c:pt idx="0">
                  <c:v>87.73936937063857</c:v>
                </c:pt>
                <c:pt idx="1">
                  <c:v>94.18516411368633</c:v>
                </c:pt>
                <c:pt idx="2">
                  <c:v>100.0</c:v>
                </c:pt>
                <c:pt idx="3">
                  <c:v>99.95092995584048</c:v>
                </c:pt>
                <c:pt idx="4">
                  <c:v>96.92744283473867</c:v>
                </c:pt>
                <c:pt idx="5">
                  <c:v>92.754379172876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7.40</c:v>
                </c:pt>
                <c:pt idx="1">
                  <c:v>7.90</c:v>
                </c:pt>
                <c:pt idx="2">
                  <c:v>8.40</c:v>
                </c:pt>
                <c:pt idx="3">
                  <c:v>8.90</c:v>
                </c:pt>
                <c:pt idx="4">
                  <c:v>9.40</c:v>
                </c:pt>
                <c:pt idx="5">
                  <c:v>9.90</c:v>
                </c:pt>
              </c:strCache>
            </c:strRef>
          </c:cat>
          <c:val>
            <c:numRef>
              <c:f>Sheet1!$E$2:$E$7</c:f>
              <c:numCache>
                <c:formatCode>General</c:formatCode>
                <c:ptCount val="6"/>
                <c:pt idx="0">
                  <c:v>0.5589565815695322</c:v>
                </c:pt>
                <c:pt idx="1">
                  <c:v>0.5868707219765239</c:v>
                </c:pt>
                <c:pt idx="2">
                  <c:v>0.6114617504303023</c:v>
                </c:pt>
                <c:pt idx="3">
                  <c:v>0.6332897419791617</c:v>
                </c:pt>
                <c:pt idx="4">
                  <c:v>0.6527956067675041</c:v>
                </c:pt>
                <c:pt idx="5">
                  <c:v>0.67033118218328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idsieck &amp; C° Monopole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Canard-Duchêne (3.1%)</c:v>
                </c:pt>
                <c:pt idx="4">
                  <c:v>Carlo V (5.4%)</c:v>
                </c:pt>
                <c:pt idx="5">
                  <c:v>Demoiselle (3.5%)</c:v>
                </c:pt>
                <c:pt idx="6">
                  <c:v>Bottega (3.7%)</c:v>
                </c:pt>
                <c:pt idx="7">
                  <c:v>Besserat De Bellefon (2.0%)</c:v>
                </c:pt>
                <c:pt idx="8">
                  <c:v>De Bligny (1.3%)</c:v>
                </c:pt>
                <c:pt idx="9">
                  <c:v>Louis Martin (0.5%)</c:v>
                </c:pt>
              </c:strCache>
            </c:strRef>
          </c:cat>
          <c:val>
            <c:numRef>
              <c:f>Sheet1!$B$2:$B$11</c:f>
              <c:numCache>
                <c:formatCode>General</c:formatCode>
                <c:ptCount val="10"/>
                <c:pt idx="0">
                  <c:v>0.17924266216629262</c:v>
                </c:pt>
                <c:pt idx="1">
                  <c:v>0.16723713012815228</c:v>
                </c:pt>
                <c:pt idx="2">
                  <c:v>0.08302578972434083</c:v>
                </c:pt>
                <c:pt idx="3">
                  <c:v>0.06666076237666219</c:v>
                </c:pt>
                <c:pt idx="4">
                  <c:v>0.05847259082757114</c:v>
                </c:pt>
                <c:pt idx="5">
                  <c:v>0.03784096740811779</c:v>
                </c:pt>
                <c:pt idx="6">
                  <c:v>0.03140819495628225</c:v>
                </c:pt>
                <c:pt idx="7">
                  <c:v>0.029969782595310336</c:v>
                </c:pt>
                <c:pt idx="8">
                  <c:v>0.02463396629287902</c:v>
                </c:pt>
                <c:pt idx="9">
                  <c:v>0.0238274093713623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50.94049166122397</c:v>
                </c:pt>
                <c:pt idx="1">
                  <c:v>142.84571714354107</c:v>
                </c:pt>
                <c:pt idx="2">
                  <c:v>135.3893733146806</c:v>
                </c:pt>
                <c:pt idx="3">
                  <c:v>116.05979014694552</c:v>
                </c:pt>
                <c:pt idx="4">
                  <c:v>100.0</c:v>
                </c:pt>
                <c:pt idx="5">
                  <c:v>87.03912957021225</c:v>
                </c:pt>
                <c:pt idx="6">
                  <c:v>76.70405869860394</c:v>
                </c:pt>
                <c:pt idx="7">
                  <c:v>66.55616665835726</c:v>
                </c:pt>
                <c:pt idx="8">
                  <c:v>58.244645218203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19.59936767190594</c:v>
                </c:pt>
                <c:pt idx="1">
                  <c:v>120.61036720354916</c:v>
                </c:pt>
                <c:pt idx="2">
                  <c:v>121.35040350949775</c:v>
                </c:pt>
                <c:pt idx="3">
                  <c:v>110.03769966412193</c:v>
                </c:pt>
                <c:pt idx="4">
                  <c:v>100.0</c:v>
                </c:pt>
                <c:pt idx="5">
                  <c:v>91.56157908730961</c:v>
                </c:pt>
                <c:pt idx="6">
                  <c:v>84.6793540341449</c:v>
                </c:pt>
                <c:pt idx="7">
                  <c:v>76.94000651569121</c:v>
                </c:pt>
                <c:pt idx="8">
                  <c:v>70.365451215012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95.7333358902445</c:v>
                </c:pt>
                <c:pt idx="1">
                  <c:v>103.66087513676231</c:v>
                </c:pt>
                <c:pt idx="2">
                  <c:v>110.62974075996893</c:v>
                </c:pt>
                <c:pt idx="3">
                  <c:v>105.44744411098179</c:v>
                </c:pt>
                <c:pt idx="4">
                  <c:v>100.0</c:v>
                </c:pt>
                <c:pt idx="5">
                  <c:v>94.99786670474155</c:v>
                </c:pt>
                <c:pt idx="6">
                  <c:v>90.73148391179481</c:v>
                </c:pt>
                <c:pt idx="7">
                  <c:v>84.81357701154175</c:v>
                </c:pt>
                <c:pt idx="8">
                  <c:v>79.5478831101527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4624199383977602</c:v>
                </c:pt>
                <c:pt idx="1">
                  <c:v>0.49601869224790013</c:v>
                </c:pt>
                <c:pt idx="2">
                  <c:v>0.5256646515274356</c:v>
                </c:pt>
                <c:pt idx="3">
                  <c:v>0.5520166153314668</c:v>
                </c:pt>
                <c:pt idx="4">
                  <c:v>0.575594688208758</c:v>
                </c:pt>
                <c:pt idx="5">
                  <c:v>0.5968149537983203</c:v>
                </c:pt>
                <c:pt idx="6">
                  <c:v>0.6160142417126858</c:v>
                </c:pt>
                <c:pt idx="7">
                  <c:v>0.6334681398166546</c:v>
                </c:pt>
                <c:pt idx="8">
                  <c:v>0.64940430765071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B$2:$B$15</c:f>
              <c:numCache>
                <c:formatCode>General</c:formatCode>
                <c:ptCount val="14"/>
                <c:pt idx="0">
                  <c:v>142.40520780523354</c:v>
                </c:pt>
                <c:pt idx="1">
                  <c:v>136.1290864613287</c:v>
                </c:pt>
                <c:pt idx="2">
                  <c:v>130.33238045227057</c:v>
                </c:pt>
                <c:pt idx="3">
                  <c:v>123.15025615481842</c:v>
                </c:pt>
                <c:pt idx="4">
                  <c:v>116.57643039471598</c:v>
                </c:pt>
                <c:pt idx="5">
                  <c:v>110.57088915164637</c:v>
                </c:pt>
                <c:pt idx="6">
                  <c:v>105.06502703866265</c:v>
                </c:pt>
                <c:pt idx="7">
                  <c:v>100.0</c:v>
                </c:pt>
                <c:pt idx="8">
                  <c:v>95.32529408010441</c:v>
                </c:pt>
                <c:pt idx="9">
                  <c:v>90.99747806480032</c:v>
                </c:pt>
                <c:pt idx="10">
                  <c:v>86.97913050676411</c:v>
                </c:pt>
                <c:pt idx="11">
                  <c:v>84.30106777949125</c:v>
                </c:pt>
                <c:pt idx="12">
                  <c:v>81.74828121830764</c:v>
                </c:pt>
                <c:pt idx="13">
                  <c:v>79.29277384444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C$2:$C$15</c:f>
              <c:numCache>
                <c:formatCode>General</c:formatCode>
                <c:ptCount val="14"/>
                <c:pt idx="0">
                  <c:v>115.41826618943874</c:v>
                </c:pt>
                <c:pt idx="1">
                  <c:v>114.01777562313282</c:v>
                </c:pt>
                <c:pt idx="2">
                  <c:v>112.69190265848302</c:v>
                </c:pt>
                <c:pt idx="3">
                  <c:v>109.81532199698808</c:v>
                </c:pt>
                <c:pt idx="4">
                  <c:v>107.1089296393078</c:v>
                </c:pt>
                <c:pt idx="5">
                  <c:v>104.58427276350176</c:v>
                </c:pt>
                <c:pt idx="6">
                  <c:v>102.2207253184229</c:v>
                </c:pt>
                <c:pt idx="7">
                  <c:v>100.0</c:v>
                </c:pt>
                <c:pt idx="8">
                  <c:v>97.90599818940208</c:v>
                </c:pt>
                <c:pt idx="9">
                  <c:v>95.92462152255462</c:v>
                </c:pt>
                <c:pt idx="10">
                  <c:v>94.04356962599772</c:v>
                </c:pt>
                <c:pt idx="11">
                  <c:v>93.43109268137299</c:v>
                </c:pt>
                <c:pt idx="12">
                  <c:v>92.81579600788969</c:v>
                </c:pt>
                <c:pt idx="13">
                  <c:v>92.1753009417429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D$2:$D$15</c:f>
              <c:numCache>
                <c:formatCode>General</c:formatCode>
                <c:ptCount val="14"/>
                <c:pt idx="0">
                  <c:v>93.43138528950857</c:v>
                </c:pt>
                <c:pt idx="1">
                  <c:v>96.00157092811088</c:v>
                </c:pt>
                <c:pt idx="2">
                  <c:v>98.31672312637492</c:v>
                </c:pt>
                <c:pt idx="3">
                  <c:v>98.94913967421934</c:v>
                </c:pt>
                <c:pt idx="4">
                  <c:v>99.39449432552789</c:v>
                </c:pt>
                <c:pt idx="5">
                  <c:v>99.7063605210346</c:v>
                </c:pt>
                <c:pt idx="6">
                  <c:v>99.90326157265457</c:v>
                </c:pt>
                <c:pt idx="7">
                  <c:v>100.0</c:v>
                </c:pt>
                <c:pt idx="8">
                  <c:v>100.00855381827292</c:v>
                </c:pt>
                <c:pt idx="9">
                  <c:v>99.93875287351223</c:v>
                </c:pt>
                <c:pt idx="10">
                  <c:v>99.79878757346847</c:v>
                </c:pt>
                <c:pt idx="11">
                  <c:v>100.86765906782378</c:v>
                </c:pt>
                <c:pt idx="12">
                  <c:v>101.82943794531718</c:v>
                </c:pt>
                <c:pt idx="13">
                  <c:v>102.666338574995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E$2:$E$15</c:f>
              <c:numCache>
                <c:formatCode>General</c:formatCode>
                <c:ptCount val="14"/>
                <c:pt idx="0">
                  <c:v>0.44693692019128417</c:v>
                </c:pt>
                <c:pt idx="1">
                  <c:v>0.4648469940192867</c:v>
                </c:pt>
                <c:pt idx="2">
                  <c:v>0.48163347475895774</c:v>
                </c:pt>
                <c:pt idx="3">
                  <c:v>0.4973988800278458</c:v>
                </c:pt>
                <c:pt idx="4">
                  <c:v>0.5122336238286769</c:v>
                </c:pt>
                <c:pt idx="5">
                  <c:v>0.5262177515858821</c:v>
                </c:pt>
                <c:pt idx="6">
                  <c:v>0.5394223850422399</c:v>
                </c:pt>
                <c:pt idx="7">
                  <c:v>0.5519109320855632</c:v>
                </c:pt>
                <c:pt idx="8">
                  <c:v>0.5637401049449728</c:v>
                </c:pt>
                <c:pt idx="9">
                  <c:v>0.5749607812581166</c:v>
                </c:pt>
                <c:pt idx="10">
                  <c:v>0.5856187355896583</c:v>
                </c:pt>
                <c:pt idx="11">
                  <c:v>0.5957552635840403</c:v>
                </c:pt>
                <c:pt idx="12">
                  <c:v>0.6054077166980795</c:v>
                </c:pt>
                <c:pt idx="13">
                  <c:v>0.6146099621109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5.85</c:v>
                </c:pt>
                <c:pt idx="1">
                  <c:v>6.35</c:v>
                </c:pt>
                <c:pt idx="2">
                  <c:v>6.85</c:v>
                </c:pt>
                <c:pt idx="3">
                  <c:v>7.35</c:v>
                </c:pt>
                <c:pt idx="4">
                  <c:v>7.85</c:v>
                </c:pt>
                <c:pt idx="5">
                  <c:v>8.35</c:v>
                </c:pt>
              </c:strCache>
            </c:strRef>
          </c:cat>
          <c:val>
            <c:numRef>
              <c:f>Sheet1!$B$2:$B$7</c:f>
              <c:numCache>
                <c:formatCode>General</c:formatCode>
                <c:ptCount val="6"/>
                <c:pt idx="0">
                  <c:v>109.09855039014008</c:v>
                </c:pt>
                <c:pt idx="1">
                  <c:v>104.42994656080377</c:v>
                </c:pt>
                <c:pt idx="2">
                  <c:v>100.0</c:v>
                </c:pt>
                <c:pt idx="3">
                  <c:v>95.79060436851206</c:v>
                </c:pt>
                <c:pt idx="4">
                  <c:v>91.78955287115878</c:v>
                </c:pt>
                <c:pt idx="5">
                  <c:v>87.988947712052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5.85</c:v>
                </c:pt>
                <c:pt idx="1">
                  <c:v>6.35</c:v>
                </c:pt>
                <c:pt idx="2">
                  <c:v>6.85</c:v>
                </c:pt>
                <c:pt idx="3">
                  <c:v>7.35</c:v>
                </c:pt>
                <c:pt idx="4">
                  <c:v>7.85</c:v>
                </c:pt>
                <c:pt idx="5">
                  <c:v>8.35</c:v>
                </c:pt>
              </c:strCache>
            </c:strRef>
          </c:cat>
          <c:val>
            <c:numRef>
              <c:f>Sheet1!$C$2:$C$7</c:f>
              <c:numCache>
                <c:formatCode>General</c:formatCode>
                <c:ptCount val="6"/>
                <c:pt idx="0">
                  <c:v>93.32093851426444</c:v>
                </c:pt>
                <c:pt idx="1">
                  <c:v>96.8812606381298</c:v>
                </c:pt>
                <c:pt idx="2">
                  <c:v>100.0</c:v>
                </c:pt>
                <c:pt idx="3">
                  <c:v>102.71092479223178</c:v>
                </c:pt>
                <c:pt idx="4">
                  <c:v>105.04903344253378</c:v>
                </c:pt>
                <c:pt idx="5">
                  <c:v>107.050798764153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5.85</c:v>
                </c:pt>
                <c:pt idx="1">
                  <c:v>6.35</c:v>
                </c:pt>
                <c:pt idx="2">
                  <c:v>6.85</c:v>
                </c:pt>
                <c:pt idx="3">
                  <c:v>7.35</c:v>
                </c:pt>
                <c:pt idx="4">
                  <c:v>7.85</c:v>
                </c:pt>
                <c:pt idx="5">
                  <c:v>8.35</c:v>
                </c:pt>
              </c:strCache>
            </c:strRef>
          </c:cat>
          <c:val>
            <c:numRef>
              <c:f>Sheet1!$D$2:$D$7</c:f>
              <c:numCache>
                <c:formatCode>General</c:formatCode>
                <c:ptCount val="6"/>
                <c:pt idx="0">
                  <c:v>77.2449590353546</c:v>
                </c:pt>
                <c:pt idx="1">
                  <c:v>89.18469888769378</c:v>
                </c:pt>
                <c:pt idx="2">
                  <c:v>100.0</c:v>
                </c:pt>
                <c:pt idx="3">
                  <c:v>109.77463420333126</c:v>
                </c:pt>
                <c:pt idx="4">
                  <c:v>118.58942232259197</c:v>
                </c:pt>
                <c:pt idx="5">
                  <c:v>126.5242532793747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5.85</c:v>
                </c:pt>
                <c:pt idx="1">
                  <c:v>6.35</c:v>
                </c:pt>
                <c:pt idx="2">
                  <c:v>6.85</c:v>
                </c:pt>
                <c:pt idx="3">
                  <c:v>7.35</c:v>
                </c:pt>
                <c:pt idx="4">
                  <c:v>7.85</c:v>
                </c:pt>
                <c:pt idx="5">
                  <c:v>8.35</c:v>
                </c:pt>
              </c:strCache>
            </c:strRef>
          </c:cat>
          <c:val>
            <c:numRef>
              <c:f>Sheet1!$E$2:$E$7</c:f>
              <c:numCache>
                <c:formatCode>General</c:formatCode>
                <c:ptCount val="6"/>
                <c:pt idx="0">
                  <c:v>0.41452991452991456</c:v>
                </c:pt>
                <c:pt idx="1">
                  <c:v>0.4606299212598426</c:v>
                </c:pt>
                <c:pt idx="2">
                  <c:v>0.5000000000000001</c:v>
                </c:pt>
                <c:pt idx="3">
                  <c:v>0.5340136054421769</c:v>
                </c:pt>
                <c:pt idx="4">
                  <c:v>0.5636942675159237</c:v>
                </c:pt>
                <c:pt idx="5">
                  <c:v>0.58982035928143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6.79</c:v>
                </c:pt>
                <c:pt idx="1">
                  <c:v>7.29</c:v>
                </c:pt>
                <c:pt idx="2">
                  <c:v>7.79</c:v>
                </c:pt>
                <c:pt idx="3">
                  <c:v>8.29</c:v>
                </c:pt>
                <c:pt idx="4">
                  <c:v>8.79</c:v>
                </c:pt>
                <c:pt idx="5">
                  <c:v>9.29</c:v>
                </c:pt>
              </c:strCache>
            </c:strRef>
          </c:cat>
          <c:val>
            <c:numRef>
              <c:f>Sheet1!$B$2:$B$7</c:f>
              <c:numCache>
                <c:formatCode>General</c:formatCode>
                <c:ptCount val="6"/>
                <c:pt idx="0">
                  <c:v>109.05569011910094</c:v>
                </c:pt>
                <c:pt idx="1">
                  <c:v>104.39353124425759</c:v>
                </c:pt>
                <c:pt idx="2">
                  <c:v>100.0</c:v>
                </c:pt>
                <c:pt idx="3">
                  <c:v>95.84906259529257</c:v>
                </c:pt>
                <c:pt idx="4">
                  <c:v>89.26404108600975</c:v>
                </c:pt>
                <c:pt idx="5">
                  <c:v>80.851452389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6.79</c:v>
                </c:pt>
                <c:pt idx="1">
                  <c:v>7.29</c:v>
                </c:pt>
                <c:pt idx="2">
                  <c:v>7.79</c:v>
                </c:pt>
                <c:pt idx="3">
                  <c:v>8.29</c:v>
                </c:pt>
                <c:pt idx="4">
                  <c:v>8.79</c:v>
                </c:pt>
                <c:pt idx="5">
                  <c:v>9.29</c:v>
                </c:pt>
              </c:strCache>
            </c:strRef>
          </c:cat>
          <c:val>
            <c:numRef>
              <c:f>Sheet1!$C$2:$C$7</c:f>
              <c:numCache>
                <c:formatCode>General</c:formatCode>
                <c:ptCount val="6"/>
                <c:pt idx="0">
                  <c:v>95.35373020934273</c:v>
                </c:pt>
                <c:pt idx="1">
                  <c:v>97.83896697007299</c:v>
                </c:pt>
                <c:pt idx="2">
                  <c:v>100.0</c:v>
                </c:pt>
                <c:pt idx="3">
                  <c:v>101.86180116100661</c:v>
                </c:pt>
                <c:pt idx="4">
                  <c:v>100.45139153404546</c:v>
                </c:pt>
                <c:pt idx="5">
                  <c:v>96.040699641402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6.79</c:v>
                </c:pt>
                <c:pt idx="1">
                  <c:v>7.29</c:v>
                </c:pt>
                <c:pt idx="2">
                  <c:v>7.79</c:v>
                </c:pt>
                <c:pt idx="3">
                  <c:v>8.29</c:v>
                </c:pt>
                <c:pt idx="4">
                  <c:v>8.79</c:v>
                </c:pt>
                <c:pt idx="5">
                  <c:v>9.29</c:v>
                </c:pt>
              </c:strCache>
            </c:strRef>
          </c:cat>
          <c:val>
            <c:numRef>
              <c:f>Sheet1!$D$2:$D$7</c:f>
              <c:numCache>
                <c:formatCode>General</c:formatCode>
                <c:ptCount val="6"/>
                <c:pt idx="0">
                  <c:v>81.05679663537802</c:v>
                </c:pt>
                <c:pt idx="1">
                  <c:v>90.99256446065591</c:v>
                </c:pt>
                <c:pt idx="2">
                  <c:v>100.0</c:v>
                </c:pt>
                <c:pt idx="3">
                  <c:v>108.15317846118384</c:v>
                </c:pt>
                <c:pt idx="4">
                  <c:v>112.18163828395835</c:v>
                </c:pt>
                <c:pt idx="5">
                  <c:v>111.9880836045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6.79</c:v>
                </c:pt>
                <c:pt idx="1">
                  <c:v>7.29</c:v>
                </c:pt>
                <c:pt idx="2">
                  <c:v>7.79</c:v>
                </c:pt>
                <c:pt idx="3">
                  <c:v>8.29</c:v>
                </c:pt>
                <c:pt idx="4">
                  <c:v>8.79</c:v>
                </c:pt>
                <c:pt idx="5">
                  <c:v>9.29</c:v>
                </c:pt>
              </c:strCache>
            </c:strRef>
          </c:cat>
          <c:val>
            <c:numRef>
              <c:f>Sheet1!$E$2:$E$7</c:f>
              <c:numCache>
                <c:formatCode>General</c:formatCode>
                <c:ptCount val="6"/>
                <c:pt idx="0">
                  <c:v>0.42636229749631827</c:v>
                </c:pt>
                <c:pt idx="1">
                  <c:v>0.4657064471879288</c:v>
                </c:pt>
                <c:pt idx="2">
                  <c:v>0.5</c:v>
                </c:pt>
                <c:pt idx="3">
                  <c:v>0.5301568154402895</c:v>
                </c:pt>
                <c:pt idx="4">
                  <c:v>0.5568828213879408</c:v>
                </c:pt>
                <c:pt idx="5">
                  <c:v>0.5807319698600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B$2:$B$22</c:f>
              <c:numCache>
                <c:formatCode>General</c:formatCode>
                <c:ptCount val="21"/>
                <c:pt idx="0">
                  <c:v>129.89868262992624</c:v>
                </c:pt>
                <c:pt idx="1">
                  <c:v>126.3801060460754</c:v>
                </c:pt>
                <c:pt idx="2">
                  <c:v>122.99385682919106</c:v>
                </c:pt>
                <c:pt idx="3">
                  <c:v>119.73394368756499</c:v>
                </c:pt>
                <c:pt idx="4">
                  <c:v>116.59462176231506</c:v>
                </c:pt>
                <c:pt idx="5">
                  <c:v>113.57039239273308</c:v>
                </c:pt>
                <c:pt idx="6">
                  <c:v>110.65600084123075</c:v>
                </c:pt>
                <c:pt idx="7">
                  <c:v>107.84643235612843</c:v>
                </c:pt>
                <c:pt idx="8">
                  <c:v>105.13690690669381</c:v>
                </c:pt>
                <c:pt idx="9">
                  <c:v>102.52287288150444</c:v>
                </c:pt>
                <c:pt idx="10">
                  <c:v>100.0</c:v>
                </c:pt>
                <c:pt idx="11">
                  <c:v>94.36966011761815</c:v>
                </c:pt>
                <c:pt idx="12">
                  <c:v>89.1703785731537</c:v>
                </c:pt>
                <c:pt idx="13">
                  <c:v>84.36394446327795</c:v>
                </c:pt>
                <c:pt idx="14">
                  <c:v>79.91576445319704</c:v>
                </c:pt>
                <c:pt idx="15">
                  <c:v>75.79446438192177</c:v>
                </c:pt>
                <c:pt idx="16">
                  <c:v>71.9715413137793</c:v>
                </c:pt>
                <c:pt idx="17">
                  <c:v>68.42106695253524</c:v>
                </c:pt>
                <c:pt idx="18">
                  <c:v>65.11943861708325</c:v>
                </c:pt>
                <c:pt idx="19">
                  <c:v>62.04517035370577</c:v>
                </c:pt>
                <c:pt idx="20">
                  <c:v>59.178715051646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C$2:$C$22</c:f>
              <c:numCache>
                <c:formatCode>General</c:formatCode>
                <c:ptCount val="21"/>
                <c:pt idx="0">
                  <c:v>104.14337299105618</c:v>
                </c:pt>
                <c:pt idx="1">
                  <c:v>103.82871878540463</c:v>
                </c:pt>
                <c:pt idx="2">
                  <c:v>103.48566459217992</c:v>
                </c:pt>
                <c:pt idx="3">
                  <c:v>103.11696707212408</c:v>
                </c:pt>
                <c:pt idx="4">
                  <c:v>102.7251184399486</c:v>
                </c:pt>
                <c:pt idx="5">
                  <c:v>102.3123715272316</c:v>
                </c:pt>
                <c:pt idx="6">
                  <c:v>101.88076282549446</c:v>
                </c:pt>
                <c:pt idx="7">
                  <c:v>101.43213359738081</c:v>
                </c:pt>
                <c:pt idx="8">
                  <c:v>100.96814915973557</c:v>
                </c:pt>
                <c:pt idx="9">
                  <c:v>100.49031645115718</c:v>
                </c:pt>
                <c:pt idx="10">
                  <c:v>100.0</c:v>
                </c:pt>
                <c:pt idx="11">
                  <c:v>96.24109197464246</c:v>
                </c:pt>
                <c:pt idx="12">
                  <c:v>92.70768190501366</c:v>
                </c:pt>
                <c:pt idx="13">
                  <c:v>89.38477863905668</c:v>
                </c:pt>
                <c:pt idx="14">
                  <c:v>86.25829496709108</c:v>
                </c:pt>
                <c:pt idx="15">
                  <c:v>83.31496248103142</c:v>
                </c:pt>
                <c:pt idx="16">
                  <c:v>80.54225665120454</c:v>
                </c:pt>
                <c:pt idx="17">
                  <c:v>77.92833992672556</c:v>
                </c:pt>
                <c:pt idx="18">
                  <c:v>75.46202538790544</c:v>
                </c:pt>
                <c:pt idx="19">
                  <c:v>73.13275864975596</c:v>
                </c:pt>
                <c:pt idx="20">
                  <c:v>70.9306125293036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D$2:$D$22</c:f>
              <c:numCache>
                <c:formatCode>General</c:formatCode>
                <c:ptCount val="21"/>
                <c:pt idx="0">
                  <c:v>77.83508237745083</c:v>
                </c:pt>
                <c:pt idx="1">
                  <c:v>80.79209184107829</c:v>
                </c:pt>
                <c:pt idx="2">
                  <c:v>83.5569488278473</c:v>
                </c:pt>
                <c:pt idx="3">
                  <c:v>86.14125407582338</c:v>
                </c:pt>
                <c:pt idx="4">
                  <c:v>88.5558349657664</c:v>
                </c:pt>
                <c:pt idx="5">
                  <c:v>90.81079471883871</c:v>
                </c:pt>
                <c:pt idx="6">
                  <c:v>92.91555982460055</c:v>
                </c:pt>
                <c:pt idx="7">
                  <c:v>94.87892545959993</c:v>
                </c:pt>
                <c:pt idx="8">
                  <c:v>96.7090987378206</c:v>
                </c:pt>
                <c:pt idx="9">
                  <c:v>98.41373969988108</c:v>
                </c:pt>
                <c:pt idx="10">
                  <c:v>100.0</c:v>
                </c:pt>
                <c:pt idx="11">
                  <c:v>98.15201122453675</c:v>
                </c:pt>
                <c:pt idx="12">
                  <c:v>96.31830471128224</c:v>
                </c:pt>
                <c:pt idx="13">
                  <c:v>94.50790572138759</c:v>
                </c:pt>
                <c:pt idx="14">
                  <c:v>92.72791105892001</c:v>
                </c:pt>
                <c:pt idx="15">
                  <c:v>90.98373580114462</c:v>
                </c:pt>
                <c:pt idx="16">
                  <c:v>89.27932680005888</c:v>
                </c:pt>
                <c:pt idx="17">
                  <c:v>87.61735828190382</c:v>
                </c:pt>
                <c:pt idx="18">
                  <c:v>85.99941893518606</c:v>
                </c:pt>
                <c:pt idx="19">
                  <c:v>84.42619372778806</c:v>
                </c:pt>
                <c:pt idx="20">
                  <c:v>82.897638920042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E$2:$E$22</c:f>
              <c:numCache>
                <c:formatCode>General</c:formatCode>
                <c:ptCount val="21"/>
                <c:pt idx="0">
                  <c:v>0.37468671679198</c:v>
                </c:pt>
                <c:pt idx="1">
                  <c:v>0.3899755501222495</c:v>
                </c:pt>
                <c:pt idx="2">
                  <c:v>0.4045346062052506</c:v>
                </c:pt>
                <c:pt idx="3">
                  <c:v>0.4184149184149185</c:v>
                </c:pt>
                <c:pt idx="4">
                  <c:v>0.4316628701594533</c:v>
                </c:pt>
                <c:pt idx="5">
                  <c:v>0.4443207126948775</c:v>
                </c:pt>
                <c:pt idx="6">
                  <c:v>0.45642701525054463</c:v>
                </c:pt>
                <c:pt idx="7">
                  <c:v>0.46801705756929635</c:v>
                </c:pt>
                <c:pt idx="8">
                  <c:v>0.4791231732776618</c:v>
                </c:pt>
                <c:pt idx="9">
                  <c:v>0.48977505112474434</c:v>
                </c:pt>
                <c:pt idx="10">
                  <c:v>0.5</c:v>
                </c:pt>
                <c:pt idx="11">
                  <c:v>0.5098231827111984</c:v>
                </c:pt>
                <c:pt idx="12">
                  <c:v>0.5192678227360308</c:v>
                </c:pt>
                <c:pt idx="13">
                  <c:v>0.5283553875236295</c:v>
                </c:pt>
                <c:pt idx="14">
                  <c:v>0.5371057513914657</c:v>
                </c:pt>
                <c:pt idx="15">
                  <c:v>0.5455373406193078</c:v>
                </c:pt>
                <c:pt idx="16">
                  <c:v>0.5536672629695886</c:v>
                </c:pt>
                <c:pt idx="17">
                  <c:v>0.5615114235500879</c:v>
                </c:pt>
                <c:pt idx="18">
                  <c:v>0.5690846286701209</c:v>
                </c:pt>
                <c:pt idx="19">
                  <c:v>0.5764006791171478</c:v>
                </c:pt>
                <c:pt idx="20">
                  <c:v>0.58347245409015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B$2:$B$18</c:f>
              <c:numCache>
                <c:formatCode>General</c:formatCode>
                <c:ptCount val="17"/>
                <c:pt idx="0">
                  <c:v>147.33556255496973</c:v>
                </c:pt>
                <c:pt idx="1">
                  <c:v>139.8330042532539</c:v>
                </c:pt>
                <c:pt idx="2">
                  <c:v>132.86270804731305</c:v>
                </c:pt>
                <c:pt idx="3">
                  <c:v>126.38059532323516</c:v>
                </c:pt>
                <c:pt idx="4">
                  <c:v>120.3459602786332</c:v>
                </c:pt>
                <c:pt idx="5">
                  <c:v>114.72194506621405</c:v>
                </c:pt>
                <c:pt idx="6">
                  <c:v>109.4754944003978</c:v>
                </c:pt>
                <c:pt idx="7">
                  <c:v>104.57702862409029</c:v>
                </c:pt>
                <c:pt idx="8">
                  <c:v>100.0</c:v>
                </c:pt>
                <c:pt idx="9">
                  <c:v>97.25224473001336</c:v>
                </c:pt>
                <c:pt idx="10">
                  <c:v>94.59522365262598</c:v>
                </c:pt>
                <c:pt idx="11">
                  <c:v>92.02653151870192</c:v>
                </c:pt>
                <c:pt idx="12">
                  <c:v>89.5438011042524</c:v>
                </c:pt>
                <c:pt idx="13">
                  <c:v>87.14469267110036</c:v>
                </c:pt>
                <c:pt idx="14">
                  <c:v>84.8268839923691</c:v>
                </c:pt>
                <c:pt idx="15">
                  <c:v>82.58806160417362</c:v>
                </c:pt>
                <c:pt idx="16">
                  <c:v>80.4259138287470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C$2:$C$18</c:f>
              <c:numCache>
                <c:formatCode>General</c:formatCode>
                <c:ptCount val="17"/>
                <c:pt idx="0">
                  <c:v>118.26603121181168</c:v>
                </c:pt>
                <c:pt idx="1">
                  <c:v>115.6909325373853</c:v>
                </c:pt>
                <c:pt idx="2">
                  <c:v>113.19973301942797</c:v>
                </c:pt>
                <c:pt idx="3">
                  <c:v>110.79315168268515</c:v>
                </c:pt>
                <c:pt idx="4">
                  <c:v>108.4705934915134</c:v>
                </c:pt>
                <c:pt idx="5">
                  <c:v>106.2310087300398</c:v>
                </c:pt>
                <c:pt idx="6">
                  <c:v>104.07332547285921</c:v>
                </c:pt>
                <c:pt idx="7">
                  <c:v>101.99659969464996</c:v>
                </c:pt>
                <c:pt idx="8">
                  <c:v>100.0</c:v>
                </c:pt>
                <c:pt idx="9">
                  <c:v>99.66099570651198</c:v>
                </c:pt>
                <c:pt idx="10">
                  <c:v>99.28078619453899</c:v>
                </c:pt>
                <c:pt idx="11">
                  <c:v>98.8635879870139</c:v>
                </c:pt>
                <c:pt idx="12">
                  <c:v>98.4134134316675</c:v>
                </c:pt>
                <c:pt idx="13">
                  <c:v>97.93406438213536</c:v>
                </c:pt>
                <c:pt idx="14">
                  <c:v>97.42912489720219</c:v>
                </c:pt>
                <c:pt idx="15">
                  <c:v>96.90195383621462</c:v>
                </c:pt>
                <c:pt idx="16">
                  <c:v>96.3556782197055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D$2:$D$18</c:f>
              <c:numCache>
                <c:formatCode>General</c:formatCode>
                <c:ptCount val="17"/>
                <c:pt idx="0">
                  <c:v>88.25363270836533</c:v>
                </c:pt>
                <c:pt idx="1">
                  <c:v>90.76879223456832</c:v>
                </c:pt>
                <c:pt idx="2">
                  <c:v>92.9039988601512</c:v>
                </c:pt>
                <c:pt idx="3">
                  <c:v>94.70626065575762</c:v>
                </c:pt>
                <c:pt idx="4">
                  <c:v>96.21644443329328</c:v>
                </c:pt>
                <c:pt idx="5">
                  <c:v>97.47052475550517</c:v>
                </c:pt>
                <c:pt idx="6">
                  <c:v>98.50050749308984</c:v>
                </c:pt>
                <c:pt idx="7">
                  <c:v>99.33507230208075</c:v>
                </c:pt>
                <c:pt idx="8">
                  <c:v>100.0</c:v>
                </c:pt>
                <c:pt idx="9">
                  <c:v>102.12704396460055</c:v>
                </c:pt>
                <c:pt idx="10">
                  <c:v>104.07845409399197</c:v>
                </c:pt>
                <c:pt idx="11">
                  <c:v>105.8651076869278</c:v>
                </c:pt>
                <c:pt idx="12">
                  <c:v>107.49744543593206</c:v>
                </c:pt>
                <c:pt idx="13">
                  <c:v>108.98546777663934</c:v>
                </c:pt>
                <c:pt idx="14">
                  <c:v>110.33872880210419</c:v>
                </c:pt>
                <c:pt idx="15">
                  <c:v>111.56632883370825</c:v>
                </c:pt>
                <c:pt idx="16">
                  <c:v>112.67690684278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E$2:$E$18</c:f>
              <c:numCache>
                <c:formatCode>General</c:formatCode>
                <c:ptCount val="17"/>
                <c:pt idx="0">
                  <c:v>0.3746081504702194</c:v>
                </c:pt>
                <c:pt idx="1">
                  <c:v>0.39361702127659576</c:v>
                </c:pt>
                <c:pt idx="2">
                  <c:v>0.411504424778761</c:v>
                </c:pt>
                <c:pt idx="3">
                  <c:v>0.42836676217765035</c:v>
                </c:pt>
                <c:pt idx="4">
                  <c:v>0.4442896935933148</c:v>
                </c:pt>
                <c:pt idx="5">
                  <c:v>0.4593495934959349</c:v>
                </c:pt>
                <c:pt idx="6">
                  <c:v>0.4736147757255936</c:v>
                </c:pt>
                <c:pt idx="7">
                  <c:v>0.48714652956298193</c:v>
                </c:pt>
                <c:pt idx="8">
                  <c:v>0.5</c:v>
                </c:pt>
                <c:pt idx="9">
                  <c:v>0.5122249388753056</c:v>
                </c:pt>
                <c:pt idx="10">
                  <c:v>0.5238663484486873</c:v>
                </c:pt>
                <c:pt idx="11">
                  <c:v>0.5349650349650349</c:v>
                </c:pt>
                <c:pt idx="12">
                  <c:v>0.5455580865603644</c:v>
                </c:pt>
                <c:pt idx="13">
                  <c:v>0.5556792873051225</c:v>
                </c:pt>
                <c:pt idx="14">
                  <c:v>0.565359477124183</c:v>
                </c:pt>
                <c:pt idx="15">
                  <c:v>0.5746268656716418</c:v>
                </c:pt>
                <c:pt idx="16">
                  <c:v>0.58350730688935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idsieck &amp; C° Monopole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Canard-Duchêne (3.1%)</c:v>
                </c:pt>
                <c:pt idx="2">
                  <c:v>Nicolas Feuillatte (4.5%)</c:v>
                </c:pt>
                <c:pt idx="3">
                  <c:v>Nicolas (14.4%)</c:v>
                </c:pt>
                <c:pt idx="4">
                  <c:v>Piper-Heidsieck (0.4%)</c:v>
                </c:pt>
                <c:pt idx="5">
                  <c:v>Demoiselle (3.5%)</c:v>
                </c:pt>
                <c:pt idx="6">
                  <c:v>Besserat De Bellefon (2.0%)</c:v>
                </c:pt>
                <c:pt idx="7">
                  <c:v>Carlo V (5.4%)</c:v>
                </c:pt>
                <c:pt idx="8">
                  <c:v>Ayala (1.7%)</c:v>
                </c:pt>
                <c:pt idx="9">
                  <c:v>Ruinart (12.8%)</c:v>
                </c:pt>
              </c:strCache>
            </c:strRef>
          </c:cat>
          <c:val>
            <c:numRef>
              <c:f>Sheet1!$B$2:$B$11</c:f>
              <c:numCache>
                <c:formatCode>General</c:formatCode>
                <c:ptCount val="10"/>
                <c:pt idx="0">
                  <c:v>0.12990076658880045</c:v>
                </c:pt>
                <c:pt idx="1">
                  <c:v>0.11945755952653508</c:v>
                </c:pt>
                <c:pt idx="2">
                  <c:v>0.10697512236880877</c:v>
                </c:pt>
                <c:pt idx="3">
                  <c:v>0.09292726919237426</c:v>
                </c:pt>
                <c:pt idx="4">
                  <c:v>0.055666564454537944</c:v>
                </c:pt>
                <c:pt idx="5">
                  <c:v>0.04691818767195757</c:v>
                </c:pt>
                <c:pt idx="6">
                  <c:v>0.0445554300913213</c:v>
                </c:pt>
                <c:pt idx="7">
                  <c:v>0.03846083550913163</c:v>
                </c:pt>
                <c:pt idx="8">
                  <c:v>0.033348072681553396</c:v>
                </c:pt>
                <c:pt idx="9">
                  <c:v>0.0323719511528081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nrio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Besserat De Bellefon (2.0%)</c:v>
                </c:pt>
                <c:pt idx="5">
                  <c:v>Demoiselle (3.5%)</c:v>
                </c:pt>
                <c:pt idx="6">
                  <c:v>Deutz (4.8%)</c:v>
                </c:pt>
                <c:pt idx="7">
                  <c:v>Ruinart (12.8%)</c:v>
                </c:pt>
                <c:pt idx="8">
                  <c:v>Laurent Perrier (3.9%)</c:v>
                </c:pt>
                <c:pt idx="9">
                  <c:v>Canard-Duchêne (3.1%)</c:v>
                </c:pt>
              </c:strCache>
            </c:strRef>
          </c:cat>
          <c:val>
            <c:numRef>
              <c:f>Sheet1!$B$2:$B$11</c:f>
              <c:numCache>
                <c:formatCode>General</c:formatCode>
                <c:ptCount val="10"/>
                <c:pt idx="0">
                  <c:v>0.13706158213130162</c:v>
                </c:pt>
                <c:pt idx="1">
                  <c:v>0.11781441654125178</c:v>
                </c:pt>
                <c:pt idx="2">
                  <c:v>0.07631957096232987</c:v>
                </c:pt>
                <c:pt idx="3">
                  <c:v>0.06637413866513557</c:v>
                </c:pt>
                <c:pt idx="4">
                  <c:v>0.052865325848914305</c:v>
                </c:pt>
                <c:pt idx="5">
                  <c:v>0.04935928363013227</c:v>
                </c:pt>
                <c:pt idx="6">
                  <c:v>0.04816561412277604</c:v>
                </c:pt>
                <c:pt idx="7">
                  <c:v>0.038001733546108585</c:v>
                </c:pt>
                <c:pt idx="8">
                  <c:v>0.03676685768454789</c:v>
                </c:pt>
                <c:pt idx="9">
                  <c:v>0.0334150196497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nrio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Deutz (4.8%)</c:v>
                </c:pt>
                <c:pt idx="3">
                  <c:v>Ruinart (12.8%)</c:v>
                </c:pt>
                <c:pt idx="4">
                  <c:v>Heidsieck &amp; C° Monopole (4.2%)</c:v>
                </c:pt>
                <c:pt idx="5">
                  <c:v>Nicolas Feuillatte (4.5%)</c:v>
                </c:pt>
                <c:pt idx="6">
                  <c:v>Besserat De Bellefon (2.0%)</c:v>
                </c:pt>
                <c:pt idx="7">
                  <c:v>Demoiselle (3.5%)</c:v>
                </c:pt>
                <c:pt idx="8">
                  <c:v>Laurent Perrier (3.9%)</c:v>
                </c:pt>
                <c:pt idx="9">
                  <c:v>Carlo V (5.4%)</c:v>
                </c:pt>
              </c:strCache>
            </c:strRef>
          </c:cat>
          <c:val>
            <c:numRef>
              <c:f>Sheet1!$B$2:$B$11</c:f>
              <c:numCache>
                <c:formatCode>General</c:formatCode>
                <c:ptCount val="10"/>
                <c:pt idx="0">
                  <c:v>0.17212756576512706</c:v>
                </c:pt>
                <c:pt idx="1">
                  <c:v>0.08486065697615053</c:v>
                </c:pt>
                <c:pt idx="2">
                  <c:v>0.06788111819510424</c:v>
                </c:pt>
                <c:pt idx="3">
                  <c:v>0.05286370184946307</c:v>
                </c:pt>
                <c:pt idx="4">
                  <c:v>0.048170339283371055</c:v>
                </c:pt>
                <c:pt idx="5">
                  <c:v>0.04777823375438878</c:v>
                </c:pt>
                <c:pt idx="6">
                  <c:v>0.04357384737755768</c:v>
                </c:pt>
                <c:pt idx="7">
                  <c:v>0.0425062001606685</c:v>
                </c:pt>
                <c:pt idx="8">
                  <c:v>0.040551230225010844</c:v>
                </c:pt>
                <c:pt idx="9">
                  <c:v>0.0301859402339767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llier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Malard (6.0%)</c:v>
                </c:pt>
                <c:pt idx="2">
                  <c:v>Nicolas (14.4%)</c:v>
                </c:pt>
                <c:pt idx="3">
                  <c:v>Canard-Duchêne (3.1%)</c:v>
                </c:pt>
                <c:pt idx="4">
                  <c:v>Ayala (1.7%)</c:v>
                </c:pt>
                <c:pt idx="5">
                  <c:v>Besserat De Bellefon (2.0%)</c:v>
                </c:pt>
                <c:pt idx="6">
                  <c:v>Nicolas Feuillatte (4.5%)</c:v>
                </c:pt>
                <c:pt idx="7">
                  <c:v>Demoiselle (3.5%)</c:v>
                </c:pt>
                <c:pt idx="8">
                  <c:v>Deutz (4.8%)</c:v>
                </c:pt>
                <c:pt idx="9">
                  <c:v>Vesselle (1.0%)</c:v>
                </c:pt>
              </c:strCache>
            </c:strRef>
          </c:cat>
          <c:val>
            <c:numRef>
              <c:f>Sheet1!$B$2:$B$11</c:f>
              <c:numCache>
                <c:formatCode>General</c:formatCode>
                <c:ptCount val="10"/>
                <c:pt idx="0">
                  <c:v>0.14948863421932784</c:v>
                </c:pt>
                <c:pt idx="1">
                  <c:v>0.1442286858555542</c:v>
                </c:pt>
                <c:pt idx="2">
                  <c:v>0.10144668968403515</c:v>
                </c:pt>
                <c:pt idx="3">
                  <c:v>0.06638442958839916</c:v>
                </c:pt>
                <c:pt idx="4">
                  <c:v>0.055219090432042976</c:v>
                </c:pt>
                <c:pt idx="5">
                  <c:v>0.05433422779683415</c:v>
                </c:pt>
                <c:pt idx="6">
                  <c:v>0.043057648799684746</c:v>
                </c:pt>
                <c:pt idx="7">
                  <c:v>0.03646970625373623</c:v>
                </c:pt>
                <c:pt idx="8">
                  <c:v>0.03601186928334736</c:v>
                </c:pt>
                <c:pt idx="9">
                  <c:v>0.030061280324173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colas (1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Feuillatte (4.5%)</c:v>
                </c:pt>
                <c:pt idx="2">
                  <c:v>Carlo V (5.4%)</c:v>
                </c:pt>
                <c:pt idx="3">
                  <c:v>Patriarche (2.6%)</c:v>
                </c:pt>
                <c:pt idx="4">
                  <c:v>Heidsieck &amp; C° Monopole (4.2%)</c:v>
                </c:pt>
                <c:pt idx="5">
                  <c:v>Bottega (3.7%)</c:v>
                </c:pt>
                <c:pt idx="6">
                  <c:v>Demoiselle (3.5%)</c:v>
                </c:pt>
                <c:pt idx="7">
                  <c:v>Ruinart (12.8%)</c:v>
                </c:pt>
                <c:pt idx="8">
                  <c:v>Canard-Duchêne (3.1%)</c:v>
                </c:pt>
                <c:pt idx="9">
                  <c:v>Bouvet Ladubay (1.5%)</c:v>
                </c:pt>
              </c:strCache>
            </c:strRef>
          </c:cat>
          <c:val>
            <c:numRef>
              <c:f>Sheet1!$B$2:$B$11</c:f>
              <c:numCache>
                <c:formatCode>General</c:formatCode>
                <c:ptCount val="10"/>
                <c:pt idx="0">
                  <c:v>0.12170245271700972</c:v>
                </c:pt>
                <c:pt idx="1">
                  <c:v>0.07272723542016576</c:v>
                </c:pt>
                <c:pt idx="2">
                  <c:v>0.06966419201024707</c:v>
                </c:pt>
                <c:pt idx="3">
                  <c:v>0.05187333110443247</c:v>
                </c:pt>
                <c:pt idx="4">
                  <c:v>0.050438964825045715</c:v>
                </c:pt>
                <c:pt idx="5">
                  <c:v>0.04978624439673886</c:v>
                </c:pt>
                <c:pt idx="6">
                  <c:v>0.04006298488809608</c:v>
                </c:pt>
                <c:pt idx="7">
                  <c:v>0.039623506571940775</c:v>
                </c:pt>
                <c:pt idx="8">
                  <c:v>0.03738575637457694</c:v>
                </c:pt>
                <c:pt idx="9">
                  <c:v>0.036078458980169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llier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Besserat De Bellefon (2.0%)</c:v>
                </c:pt>
                <c:pt idx="4">
                  <c:v>Canard-Duchêne (3.1%)</c:v>
                </c:pt>
                <c:pt idx="5">
                  <c:v>Demoiselle (3.5%)</c:v>
                </c:pt>
                <c:pt idx="6">
                  <c:v>Ayala (1.7%)</c:v>
                </c:pt>
                <c:pt idx="7">
                  <c:v>Deutz (4.8%)</c:v>
                </c:pt>
                <c:pt idx="8">
                  <c:v>Nicolas Feuillatte (4.5%)</c:v>
                </c:pt>
                <c:pt idx="9">
                  <c:v>Laurent Perrier (3.9%)</c:v>
                </c:pt>
              </c:strCache>
            </c:strRef>
          </c:cat>
          <c:val>
            <c:numRef>
              <c:f>Sheet1!$B$2:$B$11</c:f>
              <c:numCache>
                <c:formatCode>General</c:formatCode>
                <c:ptCount val="10"/>
                <c:pt idx="0">
                  <c:v>0.11500165011226124</c:v>
                </c:pt>
                <c:pt idx="1">
                  <c:v>0.10551823702315367</c:v>
                </c:pt>
                <c:pt idx="2">
                  <c:v>0.1013649854207149</c:v>
                </c:pt>
                <c:pt idx="3">
                  <c:v>0.056352132871262804</c:v>
                </c:pt>
                <c:pt idx="4">
                  <c:v>0.049974334187508775</c:v>
                </c:pt>
                <c:pt idx="5">
                  <c:v>0.04750570144291878</c:v>
                </c:pt>
                <c:pt idx="6">
                  <c:v>0.04749976988674422</c:v>
                </c:pt>
                <c:pt idx="7">
                  <c:v>0.046275533584308116</c:v>
                </c:pt>
                <c:pt idx="8">
                  <c:v>0.04441439437460449</c:v>
                </c:pt>
                <c:pt idx="9">
                  <c:v>0.0405632632271040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urent Perrier (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14.4%)</c:v>
                </c:pt>
                <c:pt idx="2">
                  <c:v>Nicolas Feuillatte (4.5%)</c:v>
                </c:pt>
                <c:pt idx="3">
                  <c:v>Malard (6.0%)</c:v>
                </c:pt>
                <c:pt idx="4">
                  <c:v>Ruinart (12.8%)</c:v>
                </c:pt>
                <c:pt idx="5">
                  <c:v>Demoiselle (3.5%)</c:v>
                </c:pt>
                <c:pt idx="6">
                  <c:v>Deutz (4.8%)</c:v>
                </c:pt>
                <c:pt idx="7">
                  <c:v>Canard-Duchêne (3.1%)</c:v>
                </c:pt>
                <c:pt idx="8">
                  <c:v>Besserat De Bellefon (2.0%)</c:v>
                </c:pt>
                <c:pt idx="9">
                  <c:v>Taittinger (2.2%)</c:v>
                </c:pt>
              </c:strCache>
            </c:strRef>
          </c:cat>
          <c:val>
            <c:numRef>
              <c:f>Sheet1!$B$2:$B$11</c:f>
              <c:numCache>
                <c:formatCode>General</c:formatCode>
                <c:ptCount val="10"/>
                <c:pt idx="0">
                  <c:v>0.11691761836991842</c:v>
                </c:pt>
                <c:pt idx="1">
                  <c:v>0.10293787468951526</c:v>
                </c:pt>
                <c:pt idx="2">
                  <c:v>0.08525032885497473</c:v>
                </c:pt>
                <c:pt idx="3">
                  <c:v>0.07989732311552672</c:v>
                </c:pt>
                <c:pt idx="4">
                  <c:v>0.07669116571714675</c:v>
                </c:pt>
                <c:pt idx="5">
                  <c:v>0.06571248076994783</c:v>
                </c:pt>
                <c:pt idx="6">
                  <c:v>0.047293196634103425</c:v>
                </c:pt>
                <c:pt idx="7">
                  <c:v>0.044418522016135775</c:v>
                </c:pt>
                <c:pt idx="8">
                  <c:v>0.03484766986488059</c:v>
                </c:pt>
                <c:pt idx="9">
                  <c:v>0.0286751685194633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urent Perrier (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Nicolas (14.4%)</c:v>
                </c:pt>
                <c:pt idx="2">
                  <c:v>Heidsieck &amp; C° Monopole (4.2%)</c:v>
                </c:pt>
                <c:pt idx="3">
                  <c:v>Nicolas Feuillatte (4.5%)</c:v>
                </c:pt>
                <c:pt idx="4">
                  <c:v>Malard (6.0%)</c:v>
                </c:pt>
                <c:pt idx="5">
                  <c:v>Demoiselle (3.5%)</c:v>
                </c:pt>
                <c:pt idx="6">
                  <c:v>Deutz (4.8%)</c:v>
                </c:pt>
                <c:pt idx="7">
                  <c:v>Taittinger (2.2%)</c:v>
                </c:pt>
                <c:pt idx="8">
                  <c:v>Veuve Clicquot (1.7%)</c:v>
                </c:pt>
                <c:pt idx="9">
                  <c:v>Moët &amp; Chandon (1.1%)</c:v>
                </c:pt>
              </c:strCache>
            </c:strRef>
          </c:cat>
          <c:val>
            <c:numRef>
              <c:f>Sheet1!$B$2:$B$11</c:f>
              <c:numCache>
                <c:formatCode>General</c:formatCode>
                <c:ptCount val="10"/>
                <c:pt idx="0">
                  <c:v>0.11289457132498819</c:v>
                </c:pt>
                <c:pt idx="1">
                  <c:v>0.09711908588518954</c:v>
                </c:pt>
                <c:pt idx="2">
                  <c:v>0.08642546657837513</c:v>
                </c:pt>
                <c:pt idx="3">
                  <c:v>0.07910405093903888</c:v>
                </c:pt>
                <c:pt idx="4">
                  <c:v>0.06479811119807945</c:v>
                </c:pt>
                <c:pt idx="5">
                  <c:v>0.06366200108898672</c:v>
                </c:pt>
                <c:pt idx="6">
                  <c:v>0.05810993852113479</c:v>
                </c:pt>
                <c:pt idx="7">
                  <c:v>0.0448749044733164</c:v>
                </c:pt>
                <c:pt idx="8">
                  <c:v>0.0372289532681504</c:v>
                </c:pt>
                <c:pt idx="9">
                  <c:v>0.036440195508207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efèv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Vesselle (1.0%)</c:v>
                </c:pt>
                <c:pt idx="5">
                  <c:v>Canard-Duchêne (3.1%)</c:v>
                </c:pt>
                <c:pt idx="6">
                  <c:v>Louis Martin (0.5%)</c:v>
                </c:pt>
                <c:pt idx="7">
                  <c:v>Besserat De Bellefon (2.0%)</c:v>
                </c:pt>
                <c:pt idx="8">
                  <c:v>De Bligny (1.3%)</c:v>
                </c:pt>
                <c:pt idx="9">
                  <c:v>Demoiselle (3.5%)</c:v>
                </c:pt>
              </c:strCache>
            </c:strRef>
          </c:cat>
          <c:val>
            <c:numRef>
              <c:f>Sheet1!$B$2:$B$11</c:f>
              <c:numCache>
                <c:formatCode>General</c:formatCode>
                <c:ptCount val="10"/>
                <c:pt idx="0">
                  <c:v>0.20315462233291762</c:v>
                </c:pt>
                <c:pt idx="1">
                  <c:v>0.2010383065446838</c:v>
                </c:pt>
                <c:pt idx="2">
                  <c:v>0.08109386274245613</c:v>
                </c:pt>
                <c:pt idx="3">
                  <c:v>0.06025125634819785</c:v>
                </c:pt>
                <c:pt idx="4">
                  <c:v>0.055063384617697164</c:v>
                </c:pt>
                <c:pt idx="5">
                  <c:v>0.04343399868242751</c:v>
                </c:pt>
                <c:pt idx="6">
                  <c:v>0.04053900245932517</c:v>
                </c:pt>
                <c:pt idx="7">
                  <c:v>0.028700753026423446</c:v>
                </c:pt>
                <c:pt idx="8">
                  <c:v>0.023697315096115633</c:v>
                </c:pt>
                <c:pt idx="9">
                  <c:v>0.023664770192059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efèv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Vesselle (1.0%)</c:v>
                </c:pt>
                <c:pt idx="4">
                  <c:v>Nicolas Feuillatte (4.5%)</c:v>
                </c:pt>
                <c:pt idx="5">
                  <c:v>Canard-Duchêne (3.1%)</c:v>
                </c:pt>
                <c:pt idx="6">
                  <c:v>Besserat De Bellefon (2.0%)</c:v>
                </c:pt>
                <c:pt idx="7">
                  <c:v>Louis Martin (0.5%)</c:v>
                </c:pt>
                <c:pt idx="8">
                  <c:v>De Bligny (1.3%)</c:v>
                </c:pt>
                <c:pt idx="9">
                  <c:v>Demoiselle (3.5%)</c:v>
                </c:pt>
              </c:strCache>
            </c:strRef>
          </c:cat>
          <c:val>
            <c:numRef>
              <c:f>Sheet1!$B$2:$B$11</c:f>
              <c:numCache>
                <c:formatCode>General</c:formatCode>
                <c:ptCount val="10"/>
                <c:pt idx="0">
                  <c:v>0.18321682665658925</c:v>
                </c:pt>
                <c:pt idx="1">
                  <c:v>0.12554273700916685</c:v>
                </c:pt>
                <c:pt idx="2">
                  <c:v>0.10838022599002935</c:v>
                </c:pt>
                <c:pt idx="3">
                  <c:v>0.06862989100086411</c:v>
                </c:pt>
                <c:pt idx="4">
                  <c:v>0.06632928432322457</c:v>
                </c:pt>
                <c:pt idx="5">
                  <c:v>0.06221959217756316</c:v>
                </c:pt>
                <c:pt idx="6">
                  <c:v>0.04233544340281509</c:v>
                </c:pt>
                <c:pt idx="7">
                  <c:v>0.030788046213684934</c:v>
                </c:pt>
                <c:pt idx="8">
                  <c:v>0.030779184128970342</c:v>
                </c:pt>
                <c:pt idx="9">
                  <c:v>0.0300884931205850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es Grum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uvet Ladubay (1.5%)</c:v>
                </c:pt>
                <c:pt idx="3">
                  <c:v>Patriarche (2.6%)</c:v>
                </c:pt>
                <c:pt idx="4">
                  <c:v>Savian (2.1%)</c:v>
                </c:pt>
                <c:pt idx="5">
                  <c:v>Bottega (3.7%)</c:v>
                </c:pt>
                <c:pt idx="6">
                  <c:v>Muré (1.3%)</c:v>
                </c:pt>
                <c:pt idx="7">
                  <c:v>Malard (6.0%)</c:v>
                </c:pt>
                <c:pt idx="8">
                  <c:v>Dea Augusta (0.5%)</c:v>
                </c:pt>
                <c:pt idx="9">
                  <c:v>Château Moncontour  (1.5%)</c:v>
                </c:pt>
              </c:strCache>
            </c:strRef>
          </c:cat>
          <c:val>
            <c:numRef>
              <c:f>Sheet1!$B$2:$B$11</c:f>
              <c:numCache>
                <c:formatCode>General</c:formatCode>
                <c:ptCount val="10"/>
                <c:pt idx="0">
                  <c:v>0.1805535815739245</c:v>
                </c:pt>
                <c:pt idx="1">
                  <c:v>0.12124871837201585</c:v>
                </c:pt>
                <c:pt idx="2">
                  <c:v>0.07845639468051821</c:v>
                </c:pt>
                <c:pt idx="3">
                  <c:v>0.07399294783256272</c:v>
                </c:pt>
                <c:pt idx="4">
                  <c:v>0.06899103601913317</c:v>
                </c:pt>
                <c:pt idx="5">
                  <c:v>0.04983513700753189</c:v>
                </c:pt>
                <c:pt idx="6">
                  <c:v>0.039957639030167615</c:v>
                </c:pt>
                <c:pt idx="7">
                  <c:v>0.033318153495927476</c:v>
                </c:pt>
                <c:pt idx="8">
                  <c:v>0.030877416246330426</c:v>
                </c:pt>
                <c:pt idx="9">
                  <c:v>0.0300103129582415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es Grum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uvet Ladubay (1.5%)</c:v>
                </c:pt>
                <c:pt idx="3">
                  <c:v>Patriarche (2.6%)</c:v>
                </c:pt>
                <c:pt idx="4">
                  <c:v>Savian (2.1%)</c:v>
                </c:pt>
                <c:pt idx="5">
                  <c:v>Bottega (3.7%)</c:v>
                </c:pt>
                <c:pt idx="6">
                  <c:v>Muré (1.3%)</c:v>
                </c:pt>
                <c:pt idx="7">
                  <c:v>Dea Augusta (0.5%)</c:v>
                </c:pt>
                <c:pt idx="8">
                  <c:v>Malard (6.0%)</c:v>
                </c:pt>
                <c:pt idx="9">
                  <c:v>Château Moncontour  (1.5%)</c:v>
                </c:pt>
              </c:strCache>
            </c:strRef>
          </c:cat>
          <c:val>
            <c:numRef>
              <c:f>Sheet1!$B$2:$B$11</c:f>
              <c:numCache>
                <c:formatCode>General</c:formatCode>
                <c:ptCount val="10"/>
                <c:pt idx="0">
                  <c:v>0.18178086759865944</c:v>
                </c:pt>
                <c:pt idx="1">
                  <c:v>0.11211506342381386</c:v>
                </c:pt>
                <c:pt idx="2">
                  <c:v>0.07948058379246503</c:v>
                </c:pt>
                <c:pt idx="3">
                  <c:v>0.07585106120049938</c:v>
                </c:pt>
                <c:pt idx="4">
                  <c:v>0.07205105792473711</c:v>
                </c:pt>
                <c:pt idx="5">
                  <c:v>0.051775079423138574</c:v>
                </c:pt>
                <c:pt idx="6">
                  <c:v>0.040897152635907597</c:v>
                </c:pt>
                <c:pt idx="7">
                  <c:v>0.03378728525017718</c:v>
                </c:pt>
                <c:pt idx="8">
                  <c:v>0.03173647088509286</c:v>
                </c:pt>
                <c:pt idx="9">
                  <c:v>0.031392264715526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uis Martin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Vesselle (1.0%)</c:v>
                </c:pt>
                <c:pt idx="4">
                  <c:v>Heidsieck &amp; C° Monopole (4.2%)</c:v>
                </c:pt>
                <c:pt idx="5">
                  <c:v>Patriarche (2.6%)</c:v>
                </c:pt>
                <c:pt idx="6">
                  <c:v>Besserat De Bellefon (2.0%)</c:v>
                </c:pt>
                <c:pt idx="7">
                  <c:v>Carlo V (5.4%)</c:v>
                </c:pt>
                <c:pt idx="8">
                  <c:v>Château Moncontour  (1.5%)</c:v>
                </c:pt>
                <c:pt idx="9">
                  <c:v>Canard-Duchêne (3.1%)</c:v>
                </c:pt>
              </c:strCache>
            </c:strRef>
          </c:cat>
          <c:val>
            <c:numRef>
              <c:f>Sheet1!$B$2:$B$11</c:f>
              <c:numCache>
                <c:formatCode>General</c:formatCode>
                <c:ptCount val="10"/>
                <c:pt idx="0">
                  <c:v>0.3401729652417488</c:v>
                </c:pt>
                <c:pt idx="1">
                  <c:v>0.25720842980866704</c:v>
                </c:pt>
                <c:pt idx="2">
                  <c:v>0.05686853063643996</c:v>
                </c:pt>
                <c:pt idx="3">
                  <c:v>0.04468734456023848</c:v>
                </c:pt>
                <c:pt idx="4">
                  <c:v>0.044407520197443186</c:v>
                </c:pt>
                <c:pt idx="5">
                  <c:v>0.026084395121791077</c:v>
                </c:pt>
                <c:pt idx="6">
                  <c:v>0.019597556703776848</c:v>
                </c:pt>
                <c:pt idx="7">
                  <c:v>0.015339318534331549</c:v>
                </c:pt>
                <c:pt idx="8">
                  <c:v>0.015253111902235933</c:v>
                </c:pt>
                <c:pt idx="9">
                  <c:v>0.01521759446962426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uis Martin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Nicolas Feuillatte (4.5%)</c:v>
                </c:pt>
                <c:pt idx="3">
                  <c:v>Heidsieck &amp; C° Monopole (4.2%)</c:v>
                </c:pt>
                <c:pt idx="4">
                  <c:v>Vesselle (1.0%)</c:v>
                </c:pt>
                <c:pt idx="5">
                  <c:v>Besserat De Bellefon (2.0%)</c:v>
                </c:pt>
                <c:pt idx="6">
                  <c:v>Lefèvre (0.4%)</c:v>
                </c:pt>
                <c:pt idx="7">
                  <c:v>Canard-Duchêne (3.1%)</c:v>
                </c:pt>
                <c:pt idx="8">
                  <c:v>Patriarche (2.6%)</c:v>
                </c:pt>
                <c:pt idx="9">
                  <c:v>De Bligny (1.3%)</c:v>
                </c:pt>
              </c:strCache>
            </c:strRef>
          </c:cat>
          <c:val>
            <c:numRef>
              <c:f>Sheet1!$B$2:$B$11</c:f>
              <c:numCache>
                <c:formatCode>General</c:formatCode>
                <c:ptCount val="10"/>
                <c:pt idx="0">
                  <c:v>0.3147246809544911</c:v>
                </c:pt>
                <c:pt idx="1">
                  <c:v>0.22757030012785892</c:v>
                </c:pt>
                <c:pt idx="2">
                  <c:v>0.07718242081602295</c:v>
                </c:pt>
                <c:pt idx="3">
                  <c:v>0.061326161403715884</c:v>
                </c:pt>
                <c:pt idx="4">
                  <c:v>0.05819444169220519</c:v>
                </c:pt>
                <c:pt idx="5">
                  <c:v>0.0333030502394103</c:v>
                </c:pt>
                <c:pt idx="6">
                  <c:v>0.022714682212352708</c:v>
                </c:pt>
                <c:pt idx="7">
                  <c:v>0.020000648242972527</c:v>
                </c:pt>
                <c:pt idx="8">
                  <c:v>0.018995591544203612</c:v>
                </c:pt>
                <c:pt idx="9">
                  <c:v>0.0177786064491910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yr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Château Moncontour  (1.5%)</c:v>
                </c:pt>
                <c:pt idx="5">
                  <c:v>Veuve du Vernay (0.7%)</c:v>
                </c:pt>
                <c:pt idx="6">
                  <c:v>Patriarche (2.6%)</c:v>
                </c:pt>
                <c:pt idx="7">
                  <c:v>Bouvet Ladubay (1.5%)</c:v>
                </c:pt>
                <c:pt idx="8">
                  <c:v>Les Grumes  (1.0%)</c:v>
                </c:pt>
                <c:pt idx="9">
                  <c:v>Dea Augusta (0.5%)</c:v>
                </c:pt>
              </c:strCache>
            </c:strRef>
          </c:cat>
          <c:val>
            <c:numRef>
              <c:f>Sheet1!$B$2:$B$11</c:f>
              <c:numCache>
                <c:formatCode>General</c:formatCode>
                <c:ptCount val="10"/>
                <c:pt idx="0">
                  <c:v>0.1699683834158967</c:v>
                </c:pt>
                <c:pt idx="1">
                  <c:v>0.11690551643417257</c:v>
                </c:pt>
                <c:pt idx="2">
                  <c:v>0.07548438575096342</c:v>
                </c:pt>
                <c:pt idx="3">
                  <c:v>0.06887224098554522</c:v>
                </c:pt>
                <c:pt idx="4">
                  <c:v>0.062462197260798775</c:v>
                </c:pt>
                <c:pt idx="5">
                  <c:v>0.06056277762152212</c:v>
                </c:pt>
                <c:pt idx="6">
                  <c:v>0.05726895177474701</c:v>
                </c:pt>
                <c:pt idx="7">
                  <c:v>0.047374386541754</c:v>
                </c:pt>
                <c:pt idx="8">
                  <c:v>0.0466481161381897</c:v>
                </c:pt>
                <c:pt idx="9">
                  <c:v>0.0346078996805795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colas (1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Feuillatte (4.5%)</c:v>
                </c:pt>
                <c:pt idx="2">
                  <c:v>Carlo V (5.4%)</c:v>
                </c:pt>
                <c:pt idx="3">
                  <c:v>Patriarche (2.6%)</c:v>
                </c:pt>
                <c:pt idx="4">
                  <c:v>Bottega (3.7%)</c:v>
                </c:pt>
                <c:pt idx="5">
                  <c:v>Ruinart (12.8%)</c:v>
                </c:pt>
                <c:pt idx="6">
                  <c:v>Demoiselle (3.5%)</c:v>
                </c:pt>
                <c:pt idx="7">
                  <c:v>Heidsieck &amp; C° Monopole (4.2%)</c:v>
                </c:pt>
                <c:pt idx="8">
                  <c:v>Bouvet Ladubay (1.5%)</c:v>
                </c:pt>
                <c:pt idx="9">
                  <c:v>Canard-Duchêne (3.1%)</c:v>
                </c:pt>
              </c:strCache>
            </c:strRef>
          </c:cat>
          <c:val>
            <c:numRef>
              <c:f>Sheet1!$B$2:$B$11</c:f>
              <c:numCache>
                <c:formatCode>General</c:formatCode>
                <c:ptCount val="10"/>
                <c:pt idx="0">
                  <c:v>0.11580796295854939</c:v>
                </c:pt>
                <c:pt idx="1">
                  <c:v>0.0705422029283864</c:v>
                </c:pt>
                <c:pt idx="2">
                  <c:v>0.06690461101652741</c:v>
                </c:pt>
                <c:pt idx="3">
                  <c:v>0.05370351555311578</c:v>
                </c:pt>
                <c:pt idx="4">
                  <c:v>0.051765454801047654</c:v>
                </c:pt>
                <c:pt idx="5">
                  <c:v>0.04284468691542805</c:v>
                </c:pt>
                <c:pt idx="6">
                  <c:v>0.04111675053741905</c:v>
                </c:pt>
                <c:pt idx="7">
                  <c:v>0.04006184374199228</c:v>
                </c:pt>
                <c:pt idx="8">
                  <c:v>0.03691809299659402</c:v>
                </c:pt>
                <c:pt idx="9">
                  <c:v>0.0355725234885082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yr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Château Moncontour  (1.5%)</c:v>
                </c:pt>
                <c:pt idx="3">
                  <c:v>Bottega (3.7%)</c:v>
                </c:pt>
                <c:pt idx="4">
                  <c:v>Veuve du Vernay (0.7%)</c:v>
                </c:pt>
                <c:pt idx="5">
                  <c:v>Patriarche (2.6%)</c:v>
                </c:pt>
                <c:pt idx="6">
                  <c:v>Savian (2.1%)</c:v>
                </c:pt>
                <c:pt idx="7">
                  <c:v>Bouvet Ladubay (1.5%)</c:v>
                </c:pt>
                <c:pt idx="8">
                  <c:v>Les Grumes  (1.0%)</c:v>
                </c:pt>
                <c:pt idx="9">
                  <c:v>Dea Augusta (0.5%)</c:v>
                </c:pt>
              </c:strCache>
            </c:strRef>
          </c:cat>
          <c:val>
            <c:numRef>
              <c:f>Sheet1!$B$2:$B$11</c:f>
              <c:numCache>
                <c:formatCode>General</c:formatCode>
                <c:ptCount val="10"/>
                <c:pt idx="0">
                  <c:v>0.14712821382692262</c:v>
                </c:pt>
                <c:pt idx="1">
                  <c:v>0.11602208457445197</c:v>
                </c:pt>
                <c:pt idx="2">
                  <c:v>0.08029922271906677</c:v>
                </c:pt>
                <c:pt idx="3">
                  <c:v>0.07272310320317307</c:v>
                </c:pt>
                <c:pt idx="4">
                  <c:v>0.07178131984969768</c:v>
                </c:pt>
                <c:pt idx="5">
                  <c:v>0.06543032827129876</c:v>
                </c:pt>
                <c:pt idx="6">
                  <c:v>0.06443325639892679</c:v>
                </c:pt>
                <c:pt idx="7">
                  <c:v>0.05379138445545659</c:v>
                </c:pt>
                <c:pt idx="8">
                  <c:v>0.05005312995530315</c:v>
                </c:pt>
                <c:pt idx="9">
                  <c:v>0.037939706817708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alard (6.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Heidsieck &amp; C° Monopole (4.2%)</c:v>
                </c:pt>
                <c:pt idx="2">
                  <c:v>Nicolas Feuillatte (4.5%)</c:v>
                </c:pt>
                <c:pt idx="3">
                  <c:v>Canard-Duchêne (3.1%)</c:v>
                </c:pt>
                <c:pt idx="4">
                  <c:v>Carlo V (5.4%)</c:v>
                </c:pt>
                <c:pt idx="5">
                  <c:v>Demoiselle (3.5%)</c:v>
                </c:pt>
                <c:pt idx="6">
                  <c:v>Besserat De Bellefon (2.0%)</c:v>
                </c:pt>
                <c:pt idx="7">
                  <c:v>Patriarche (2.6%)</c:v>
                </c:pt>
                <c:pt idx="8">
                  <c:v>Vesselle (1.0%)</c:v>
                </c:pt>
                <c:pt idx="9">
                  <c:v>Ruinart (12.8%)</c:v>
                </c:pt>
              </c:strCache>
            </c:strRef>
          </c:cat>
          <c:val>
            <c:numRef>
              <c:f>Sheet1!$B$2:$B$11</c:f>
              <c:numCache>
                <c:formatCode>General</c:formatCode>
                <c:ptCount val="10"/>
                <c:pt idx="0">
                  <c:v>0.31875459136474193</c:v>
                </c:pt>
                <c:pt idx="1">
                  <c:v>0.060717234873903264</c:v>
                </c:pt>
                <c:pt idx="2">
                  <c:v>0.059906834283325945</c:v>
                </c:pt>
                <c:pt idx="3">
                  <c:v>0.04712212562088062</c:v>
                </c:pt>
                <c:pt idx="4">
                  <c:v>0.0371443595601342</c:v>
                </c:pt>
                <c:pt idx="5">
                  <c:v>0.03433552071179855</c:v>
                </c:pt>
                <c:pt idx="6">
                  <c:v>0.029319390295558162</c:v>
                </c:pt>
                <c:pt idx="7">
                  <c:v>0.029256147961414302</c:v>
                </c:pt>
                <c:pt idx="8">
                  <c:v>0.026835278189846098</c:v>
                </c:pt>
                <c:pt idx="9">
                  <c:v>0.02461246289523991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alard (6.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Nicolas Feuillatte (4.5%)</c:v>
                </c:pt>
                <c:pt idx="2">
                  <c:v>Heidsieck &amp; C° Monopole (4.2%)</c:v>
                </c:pt>
                <c:pt idx="3">
                  <c:v>Canard-Duchêne (3.1%)</c:v>
                </c:pt>
                <c:pt idx="4">
                  <c:v>Demoiselle (3.5%)</c:v>
                </c:pt>
                <c:pt idx="5">
                  <c:v>Vesselle (1.0%)</c:v>
                </c:pt>
                <c:pt idx="6">
                  <c:v>Besserat De Bellefon (2.0%)</c:v>
                </c:pt>
                <c:pt idx="7">
                  <c:v>Louis Martin (0.5%)</c:v>
                </c:pt>
                <c:pt idx="8">
                  <c:v>Carlo V (5.4%)</c:v>
                </c:pt>
                <c:pt idx="9">
                  <c:v>De Bligny (1.3%)</c:v>
                </c:pt>
              </c:strCache>
            </c:strRef>
          </c:cat>
          <c:val>
            <c:numRef>
              <c:f>Sheet1!$B$2:$B$11</c:f>
              <c:numCache>
                <c:formatCode>General</c:formatCode>
                <c:ptCount val="10"/>
                <c:pt idx="0">
                  <c:v>0.2773643340970078</c:v>
                </c:pt>
                <c:pt idx="1">
                  <c:v>0.08099763116766302</c:v>
                </c:pt>
                <c:pt idx="2">
                  <c:v>0.0697174203980686</c:v>
                </c:pt>
                <c:pt idx="3">
                  <c:v>0.04929065870905533</c:v>
                </c:pt>
                <c:pt idx="4">
                  <c:v>0.039555661874069975</c:v>
                </c:pt>
                <c:pt idx="5">
                  <c:v>0.035993635692913965</c:v>
                </c:pt>
                <c:pt idx="6">
                  <c:v>0.03458923750839263</c:v>
                </c:pt>
                <c:pt idx="7">
                  <c:v>0.03318195762827482</c:v>
                </c:pt>
                <c:pt idx="8">
                  <c:v>0.026908051635612572</c:v>
                </c:pt>
                <c:pt idx="9">
                  <c:v>0.0268529713720289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ionetto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ionetto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oët &amp; Chando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Feuillatte (4.5%)</c:v>
                </c:pt>
                <c:pt idx="1">
                  <c:v>Nicolas (14.4%)</c:v>
                </c:pt>
                <c:pt idx="2">
                  <c:v>Heidsieck &amp; C° Monopole (4.2%)</c:v>
                </c:pt>
                <c:pt idx="3">
                  <c:v>Malard (6.0%)</c:v>
                </c:pt>
                <c:pt idx="4">
                  <c:v>Canard-Duchêne (3.1%)</c:v>
                </c:pt>
                <c:pt idx="5">
                  <c:v>Laurent Perrier (3.9%)</c:v>
                </c:pt>
                <c:pt idx="6">
                  <c:v>Demoiselle (3.5%)</c:v>
                </c:pt>
                <c:pt idx="7">
                  <c:v>Ruinart (12.8%)</c:v>
                </c:pt>
                <c:pt idx="8">
                  <c:v>Deutz (4.8%)</c:v>
                </c:pt>
                <c:pt idx="9">
                  <c:v>Veuve Clicquot (1.7%)</c:v>
                </c:pt>
              </c:strCache>
            </c:strRef>
          </c:cat>
          <c:val>
            <c:numRef>
              <c:f>Sheet1!$B$2:$B$11</c:f>
              <c:numCache>
                <c:formatCode>General</c:formatCode>
                <c:ptCount val="10"/>
                <c:pt idx="0">
                  <c:v>0.10889783305747949</c:v>
                </c:pt>
                <c:pt idx="1">
                  <c:v>0.08918595468737786</c:v>
                </c:pt>
                <c:pt idx="2">
                  <c:v>0.07911151645085153</c:v>
                </c:pt>
                <c:pt idx="3">
                  <c:v>0.07543908266914594</c:v>
                </c:pt>
                <c:pt idx="4">
                  <c:v>0.07214140967859901</c:v>
                </c:pt>
                <c:pt idx="5">
                  <c:v>0.07001162205262304</c:v>
                </c:pt>
                <c:pt idx="6">
                  <c:v>0.06470547895076527</c:v>
                </c:pt>
                <c:pt idx="7">
                  <c:v>0.05855380626388075</c:v>
                </c:pt>
                <c:pt idx="8">
                  <c:v>0.051018762025996416</c:v>
                </c:pt>
                <c:pt idx="9">
                  <c:v>0.0315213813543161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oët &amp; Chando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Feuillatte (4.5%)</c:v>
                </c:pt>
                <c:pt idx="1">
                  <c:v>Laurent Perrier (3.9%)</c:v>
                </c:pt>
                <c:pt idx="2">
                  <c:v>Ruinart (12.8%)</c:v>
                </c:pt>
                <c:pt idx="3">
                  <c:v>Nicolas (14.4%)</c:v>
                </c:pt>
                <c:pt idx="4">
                  <c:v>Demoiselle (3.5%)</c:v>
                </c:pt>
                <c:pt idx="5">
                  <c:v>Malard (6.0%)</c:v>
                </c:pt>
                <c:pt idx="6">
                  <c:v>Canard-Duchêne (3.1%)</c:v>
                </c:pt>
                <c:pt idx="7">
                  <c:v>Deutz (4.8%)</c:v>
                </c:pt>
                <c:pt idx="8">
                  <c:v>Heidsieck &amp; C° Monopole (4.2%)</c:v>
                </c:pt>
                <c:pt idx="9">
                  <c:v>Veuve Clicquot (1.7%)</c:v>
                </c:pt>
              </c:strCache>
            </c:strRef>
          </c:cat>
          <c:val>
            <c:numRef>
              <c:f>Sheet1!$B$2:$B$11</c:f>
              <c:numCache>
                <c:formatCode>General</c:formatCode>
                <c:ptCount val="10"/>
                <c:pt idx="0">
                  <c:v>0.10237247058627415</c:v>
                </c:pt>
                <c:pt idx="1">
                  <c:v>0.09615878715988464</c:v>
                </c:pt>
                <c:pt idx="2">
                  <c:v>0.08330770499078852</c:v>
                </c:pt>
                <c:pt idx="3">
                  <c:v>0.07613847744822408</c:v>
                </c:pt>
                <c:pt idx="4">
                  <c:v>0.06246361810944155</c:v>
                </c:pt>
                <c:pt idx="5">
                  <c:v>0.05902828543480102</c:v>
                </c:pt>
                <c:pt idx="6">
                  <c:v>0.058033869275729115</c:v>
                </c:pt>
                <c:pt idx="7">
                  <c:v>0.05769729130811822</c:v>
                </c:pt>
                <c:pt idx="8">
                  <c:v>0.053139912798210946</c:v>
                </c:pt>
                <c:pt idx="9">
                  <c:v>0.04809685938039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uré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Patriarche (2.6%)</c:v>
                </c:pt>
                <c:pt idx="5">
                  <c:v>Bouvet Ladubay (1.5%)</c:v>
                </c:pt>
                <c:pt idx="6">
                  <c:v>Les Grumes  (1.0%)</c:v>
                </c:pt>
                <c:pt idx="7">
                  <c:v>Malard (6.0%)</c:v>
                </c:pt>
                <c:pt idx="8">
                  <c:v>Dea Augusta (0.5%)</c:v>
                </c:pt>
                <c:pt idx="9">
                  <c:v>Nicolas Feuillatte (4.5%)</c:v>
                </c:pt>
              </c:strCache>
            </c:strRef>
          </c:cat>
          <c:val>
            <c:numRef>
              <c:f>Sheet1!$B$2:$B$11</c:f>
              <c:numCache>
                <c:formatCode>General</c:formatCode>
                <c:ptCount val="10"/>
                <c:pt idx="0">
                  <c:v>0.1932081477860178</c:v>
                </c:pt>
                <c:pt idx="1">
                  <c:v>0.1077577015532096</c:v>
                </c:pt>
                <c:pt idx="2">
                  <c:v>0.10374462554138833</c:v>
                </c:pt>
                <c:pt idx="3">
                  <c:v>0.08046352017652933</c:v>
                </c:pt>
                <c:pt idx="4">
                  <c:v>0.07667957664917892</c:v>
                </c:pt>
                <c:pt idx="5">
                  <c:v>0.038268107608142636</c:v>
                </c:pt>
                <c:pt idx="6">
                  <c:v>0.03464350833248402</c:v>
                </c:pt>
                <c:pt idx="7">
                  <c:v>0.03264574840805838</c:v>
                </c:pt>
                <c:pt idx="8">
                  <c:v>0.02760000155410136</c:v>
                </c:pt>
                <c:pt idx="9">
                  <c:v>0.0258982109842369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uré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Patriarche (2.6%)</c:v>
                </c:pt>
                <c:pt idx="4">
                  <c:v>Savian (2.1%)</c:v>
                </c:pt>
                <c:pt idx="5">
                  <c:v>Bouvet Ladubay (1.5%)</c:v>
                </c:pt>
                <c:pt idx="6">
                  <c:v>Malard (6.0%)</c:v>
                </c:pt>
                <c:pt idx="7">
                  <c:v>Les Grumes  (1.0%)</c:v>
                </c:pt>
                <c:pt idx="8">
                  <c:v>Nicolas Feuillatte (4.5%)</c:v>
                </c:pt>
                <c:pt idx="9">
                  <c:v>Demoiselle (3.5%)</c:v>
                </c:pt>
              </c:strCache>
            </c:strRef>
          </c:cat>
          <c:val>
            <c:numRef>
              <c:f>Sheet1!$B$2:$B$11</c:f>
              <c:numCache>
                <c:formatCode>General</c:formatCode>
                <c:ptCount val="10"/>
                <c:pt idx="0">
                  <c:v>0.1679930737412022</c:v>
                </c:pt>
                <c:pt idx="1">
                  <c:v>0.1163518194443263</c:v>
                </c:pt>
                <c:pt idx="2">
                  <c:v>0.1061068944697581</c:v>
                </c:pt>
                <c:pt idx="3">
                  <c:v>0.0819437191412675</c:v>
                </c:pt>
                <c:pt idx="4">
                  <c:v>0.07085650165165559</c:v>
                </c:pt>
                <c:pt idx="5">
                  <c:v>0.03898606239706544</c:v>
                </c:pt>
                <c:pt idx="6">
                  <c:v>0.03394155234606601</c:v>
                </c:pt>
                <c:pt idx="7">
                  <c:v>0.030481927134768008</c:v>
                </c:pt>
                <c:pt idx="8">
                  <c:v>0.02807628926792533</c:v>
                </c:pt>
                <c:pt idx="9">
                  <c:v>0.0263989971869148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colas Feuillatte (4.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Demoiselle (3.5%)</c:v>
                </c:pt>
                <c:pt idx="4">
                  <c:v>Canard-Duchêne (3.1%)</c:v>
                </c:pt>
                <c:pt idx="5">
                  <c:v>Ruinart (12.8%)</c:v>
                </c:pt>
                <c:pt idx="6">
                  <c:v>Carlo V (5.4%)</c:v>
                </c:pt>
                <c:pt idx="7">
                  <c:v>Bottega (3.7%)</c:v>
                </c:pt>
                <c:pt idx="8">
                  <c:v>Laurent Perrier (3.9%)</c:v>
                </c:pt>
                <c:pt idx="9">
                  <c:v>Patriarche (2.6%)</c:v>
                </c:pt>
              </c:strCache>
            </c:strRef>
          </c:cat>
          <c:val>
            <c:numRef>
              <c:f>Sheet1!$B$2:$B$11</c:f>
              <c:numCache>
                <c:formatCode>General</c:formatCode>
                <c:ptCount val="10"/>
                <c:pt idx="0">
                  <c:v>0.24666955075509078</c:v>
                </c:pt>
                <c:pt idx="1">
                  <c:v>0.14943083023471035</c:v>
                </c:pt>
                <c:pt idx="2">
                  <c:v>0.07528772753684625</c:v>
                </c:pt>
                <c:pt idx="3">
                  <c:v>0.05252145936797521</c:v>
                </c:pt>
                <c:pt idx="4">
                  <c:v>0.04915548550810805</c:v>
                </c:pt>
                <c:pt idx="5">
                  <c:v>0.03906458587217022</c:v>
                </c:pt>
                <c:pt idx="6">
                  <c:v>0.02972860475862856</c:v>
                </c:pt>
                <c:pt idx="7">
                  <c:v>0.028938914705338957</c:v>
                </c:pt>
                <c:pt idx="8">
                  <c:v>0.027389783181813357</c:v>
                </c:pt>
                <c:pt idx="9">
                  <c:v>0.02343827890186355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yala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Heidsieck &amp; C° Monopole (4.2%)</c:v>
                </c:pt>
                <c:pt idx="2">
                  <c:v>Deutz (4.8%)</c:v>
                </c:pt>
                <c:pt idx="3">
                  <c:v>Canard-Duchêne (3.1%)</c:v>
                </c:pt>
                <c:pt idx="4">
                  <c:v>Nicolas (14.4%)</c:v>
                </c:pt>
                <c:pt idx="5">
                  <c:v>Besserat De Bellefon (2.0%)</c:v>
                </c:pt>
                <c:pt idx="6">
                  <c:v>Ruinart (12.8%)</c:v>
                </c:pt>
                <c:pt idx="7">
                  <c:v>Nicolas Feuillatte (4.5%)</c:v>
                </c:pt>
                <c:pt idx="8">
                  <c:v>Demoiselle (3.5%)</c:v>
                </c:pt>
                <c:pt idx="9">
                  <c:v>De Bligny (1.3%)</c:v>
                </c:pt>
              </c:strCache>
            </c:strRef>
          </c:cat>
          <c:val>
            <c:numRef>
              <c:f>Sheet1!$B$2:$B$11</c:f>
              <c:numCache>
                <c:formatCode>General</c:formatCode>
                <c:ptCount val="10"/>
                <c:pt idx="0">
                  <c:v>0.18795040663751297</c:v>
                </c:pt>
                <c:pt idx="1">
                  <c:v>0.15096531370638336</c:v>
                </c:pt>
                <c:pt idx="2">
                  <c:v>0.10686321263479917</c:v>
                </c:pt>
                <c:pt idx="3">
                  <c:v>0.09651546903138859</c:v>
                </c:pt>
                <c:pt idx="4">
                  <c:v>0.06309345154555795</c:v>
                </c:pt>
                <c:pt idx="5">
                  <c:v>0.05438609729431475</c:v>
                </c:pt>
                <c:pt idx="6">
                  <c:v>0.043454298414971754</c:v>
                </c:pt>
                <c:pt idx="7">
                  <c:v>0.03122084077072912</c:v>
                </c:pt>
                <c:pt idx="8">
                  <c:v>0.028186649972431102</c:v>
                </c:pt>
                <c:pt idx="9">
                  <c:v>0.0243679399441126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colas Feuillatte (4.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Canard-Duchêne (3.1%)</c:v>
                </c:pt>
                <c:pt idx="4">
                  <c:v>Demoiselle (3.5%)</c:v>
                </c:pt>
                <c:pt idx="5">
                  <c:v>Ruinart (12.8%)</c:v>
                </c:pt>
                <c:pt idx="6">
                  <c:v>Laurent Perrier (3.9%)</c:v>
                </c:pt>
                <c:pt idx="7">
                  <c:v>Bottega (3.7%)</c:v>
                </c:pt>
                <c:pt idx="8">
                  <c:v>Deutz (4.8%)</c:v>
                </c:pt>
                <c:pt idx="9">
                  <c:v>Carlo V (5.4%)</c:v>
                </c:pt>
              </c:strCache>
            </c:strRef>
          </c:cat>
          <c:val>
            <c:numRef>
              <c:f>Sheet1!$B$2:$B$11</c:f>
              <c:numCache>
                <c:formatCode>General</c:formatCode>
                <c:ptCount val="10"/>
                <c:pt idx="0">
                  <c:v>0.1750738166454299</c:v>
                </c:pt>
                <c:pt idx="1">
                  <c:v>0.13718738500618646</c:v>
                </c:pt>
                <c:pt idx="2">
                  <c:v>0.10322455763628104</c:v>
                </c:pt>
                <c:pt idx="3">
                  <c:v>0.07363034783187024</c:v>
                </c:pt>
                <c:pt idx="4">
                  <c:v>0.06927725406741883</c:v>
                </c:pt>
                <c:pt idx="5">
                  <c:v>0.045769337762908036</c:v>
                </c:pt>
                <c:pt idx="6">
                  <c:v>0.035171739883729576</c:v>
                </c:pt>
                <c:pt idx="7">
                  <c:v>0.02806277713375978</c:v>
                </c:pt>
                <c:pt idx="8">
                  <c:v>0.02524020611544702</c:v>
                </c:pt>
                <c:pt idx="9">
                  <c:v>0.02255984588399372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atriarche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Bottega (3.7%)</c:v>
                </c:pt>
                <c:pt idx="4">
                  <c:v>Bouvet Ladubay (1.5%)</c:v>
                </c:pt>
                <c:pt idx="5">
                  <c:v>Château Moncontour  (1.5%)</c:v>
                </c:pt>
                <c:pt idx="6">
                  <c:v>Les Grumes  (1.0%)</c:v>
                </c:pt>
                <c:pt idx="7">
                  <c:v>Muré (1.3%)</c:v>
                </c:pt>
                <c:pt idx="8">
                  <c:v>Malard (6.0%)</c:v>
                </c:pt>
                <c:pt idx="9">
                  <c:v>Dea Augusta (0.5%)</c:v>
                </c:pt>
              </c:strCache>
            </c:strRef>
          </c:cat>
          <c:val>
            <c:numRef>
              <c:f>Sheet1!$B$2:$B$11</c:f>
              <c:numCache>
                <c:formatCode>General</c:formatCode>
                <c:ptCount val="10"/>
                <c:pt idx="0">
                  <c:v>0.14257393351178704</c:v>
                </c:pt>
                <c:pt idx="1">
                  <c:v>0.12257360843362752</c:v>
                </c:pt>
                <c:pt idx="2">
                  <c:v>0.08213815326143831</c:v>
                </c:pt>
                <c:pt idx="3">
                  <c:v>0.07133563028896354</c:v>
                </c:pt>
                <c:pt idx="4">
                  <c:v>0.06842168925503478</c:v>
                </c:pt>
                <c:pt idx="5">
                  <c:v>0.06270199177143457</c:v>
                </c:pt>
                <c:pt idx="6">
                  <c:v>0.04608195641148325</c:v>
                </c:pt>
                <c:pt idx="7">
                  <c:v>0.0436566955818774</c:v>
                </c:pt>
                <c:pt idx="8">
                  <c:v>0.04032729506267398</c:v>
                </c:pt>
                <c:pt idx="9">
                  <c:v>0.0333553721499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atriarche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Carlo V (5.4%)</c:v>
                </c:pt>
                <c:pt idx="2">
                  <c:v>Savian (2.1%)</c:v>
                </c:pt>
                <c:pt idx="3">
                  <c:v>Bottega (3.7%)</c:v>
                </c:pt>
                <c:pt idx="4">
                  <c:v>Bouvet Ladubay (1.5%)</c:v>
                </c:pt>
                <c:pt idx="5">
                  <c:v>Château Moncontour  (1.5%)</c:v>
                </c:pt>
                <c:pt idx="6">
                  <c:v>Muré (1.3%)</c:v>
                </c:pt>
                <c:pt idx="7">
                  <c:v>Malard (6.0%)</c:v>
                </c:pt>
                <c:pt idx="8">
                  <c:v>Les Grumes  (1.0%)</c:v>
                </c:pt>
                <c:pt idx="9">
                  <c:v>De Chanceny (0.7%)</c:v>
                </c:pt>
              </c:strCache>
            </c:strRef>
          </c:cat>
          <c:val>
            <c:numRef>
              <c:f>Sheet1!$B$2:$B$11</c:f>
              <c:numCache>
                <c:formatCode>General</c:formatCode>
                <c:ptCount val="10"/>
                <c:pt idx="0">
                  <c:v>0.12740884374373615</c:v>
                </c:pt>
                <c:pt idx="1">
                  <c:v>0.1250615096234142</c:v>
                </c:pt>
                <c:pt idx="2">
                  <c:v>0.07485660184615907</c:v>
                </c:pt>
                <c:pt idx="3">
                  <c:v>0.07146758550443542</c:v>
                </c:pt>
                <c:pt idx="4">
                  <c:v>0.06809376546338235</c:v>
                </c:pt>
                <c:pt idx="5">
                  <c:v>0.06195105841048523</c:v>
                </c:pt>
                <c:pt idx="6">
                  <c:v>0.04570819023231628</c:v>
                </c:pt>
                <c:pt idx="7">
                  <c:v>0.042774534303598885</c:v>
                </c:pt>
                <c:pt idx="8">
                  <c:v>0.042080724279823366</c:v>
                </c:pt>
                <c:pt idx="9">
                  <c:v>0.0347171181366875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errier-Jouë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Nicolas (14.4%)</c:v>
                </c:pt>
                <c:pt idx="3">
                  <c:v>Laurent Perrier (3.9%)</c:v>
                </c:pt>
                <c:pt idx="4">
                  <c:v>Malard (6.0%)</c:v>
                </c:pt>
                <c:pt idx="5">
                  <c:v>Demoiselle (3.5%)</c:v>
                </c:pt>
                <c:pt idx="6">
                  <c:v>Heidsieck &amp; C° Monopole (4.2%)</c:v>
                </c:pt>
                <c:pt idx="7">
                  <c:v>Nicolas Feuillatte (4.5%)</c:v>
                </c:pt>
                <c:pt idx="8">
                  <c:v>Taittinger (2.2%)</c:v>
                </c:pt>
                <c:pt idx="9">
                  <c:v>Besserat De Bellefon (2.0%)</c:v>
                </c:pt>
              </c:strCache>
            </c:strRef>
          </c:cat>
          <c:val>
            <c:numRef>
              <c:f>Sheet1!$B$2:$B$11</c:f>
              <c:numCache>
                <c:formatCode>General</c:formatCode>
                <c:ptCount val="10"/>
                <c:pt idx="0">
                  <c:v>0.09543677147564386</c:v>
                </c:pt>
                <c:pt idx="1">
                  <c:v>0.07994734966001292</c:v>
                </c:pt>
                <c:pt idx="2">
                  <c:v>0.07301814772579644</c:v>
                </c:pt>
                <c:pt idx="3">
                  <c:v>0.07072779422449345</c:v>
                </c:pt>
                <c:pt idx="4">
                  <c:v>0.07012182390089579</c:v>
                </c:pt>
                <c:pt idx="5">
                  <c:v>0.06640089171614076</c:v>
                </c:pt>
                <c:pt idx="6">
                  <c:v>0.05609865587806915</c:v>
                </c:pt>
                <c:pt idx="7">
                  <c:v>0.04960329430830006</c:v>
                </c:pt>
                <c:pt idx="8">
                  <c:v>0.04888827838345224</c:v>
                </c:pt>
                <c:pt idx="9">
                  <c:v>0.03848143874213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errier-Jouë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Laurent Perrier (3.9%)</c:v>
                </c:pt>
                <c:pt idx="3">
                  <c:v>Taittinger (2.2%)</c:v>
                </c:pt>
                <c:pt idx="4">
                  <c:v>Demoiselle (3.5%)</c:v>
                </c:pt>
                <c:pt idx="5">
                  <c:v>Heidsieck &amp; C° Monopole (4.2%)</c:v>
                </c:pt>
                <c:pt idx="6">
                  <c:v>Nicolas (14.4%)</c:v>
                </c:pt>
                <c:pt idx="7">
                  <c:v>Ayala (1.7%)</c:v>
                </c:pt>
                <c:pt idx="8">
                  <c:v>Malard (6.0%)</c:v>
                </c:pt>
                <c:pt idx="9">
                  <c:v>Veuve Clicquot (1.7%)</c:v>
                </c:pt>
              </c:strCache>
            </c:strRef>
          </c:cat>
          <c:val>
            <c:numRef>
              <c:f>Sheet1!$B$2:$B$11</c:f>
              <c:numCache>
                <c:formatCode>General</c:formatCode>
                <c:ptCount val="10"/>
                <c:pt idx="0">
                  <c:v>0.1879183627290109</c:v>
                </c:pt>
                <c:pt idx="1">
                  <c:v>0.1356716410123421</c:v>
                </c:pt>
                <c:pt idx="2">
                  <c:v>0.08148164141302712</c:v>
                </c:pt>
                <c:pt idx="3">
                  <c:v>0.08133831476162821</c:v>
                </c:pt>
                <c:pt idx="4">
                  <c:v>0.047015428242238</c:v>
                </c:pt>
                <c:pt idx="5">
                  <c:v>0.044359807010527726</c:v>
                </c:pt>
                <c:pt idx="6">
                  <c:v>0.03817391373869121</c:v>
                </c:pt>
                <c:pt idx="7">
                  <c:v>0.036070568487191534</c:v>
                </c:pt>
                <c:pt idx="8">
                  <c:v>0.03591122198856671</c:v>
                </c:pt>
                <c:pt idx="9">
                  <c:v>0.031904031898174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etit Coteau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Patriarche (2.6%)</c:v>
                </c:pt>
                <c:pt idx="2">
                  <c:v>Carlo V (5.4%)</c:v>
                </c:pt>
                <c:pt idx="3">
                  <c:v>Château Moncontour  (1.5%)</c:v>
                </c:pt>
                <c:pt idx="4">
                  <c:v>Bouvet Ladubay (1.5%)</c:v>
                </c:pt>
                <c:pt idx="5">
                  <c:v>Bottega (3.7%)</c:v>
                </c:pt>
                <c:pt idx="6">
                  <c:v>Savian (2.1%)</c:v>
                </c:pt>
                <c:pt idx="7">
                  <c:v>Malard (6.0%)</c:v>
                </c:pt>
                <c:pt idx="8">
                  <c:v>Les Grumes  (1.0%)</c:v>
                </c:pt>
                <c:pt idx="9">
                  <c:v>Lyre's (1.0%)</c:v>
                </c:pt>
              </c:strCache>
            </c:strRef>
          </c:cat>
          <c:val>
            <c:numRef>
              <c:f>Sheet1!$B$2:$B$11</c:f>
              <c:numCache>
                <c:formatCode>General</c:formatCode>
                <c:ptCount val="10"/>
                <c:pt idx="0">
                  <c:v>0.1239612562864097</c:v>
                </c:pt>
                <c:pt idx="1">
                  <c:v>0.09646070477173019</c:v>
                </c:pt>
                <c:pt idx="2">
                  <c:v>0.08424719810461175</c:v>
                </c:pt>
                <c:pt idx="3">
                  <c:v>0.07928940817871974</c:v>
                </c:pt>
                <c:pt idx="4">
                  <c:v>0.060379132380387224</c:v>
                </c:pt>
                <c:pt idx="5">
                  <c:v>0.05361620103243879</c:v>
                </c:pt>
                <c:pt idx="6">
                  <c:v>0.05275112166363447</c:v>
                </c:pt>
                <c:pt idx="7">
                  <c:v>0.045428346599227384</c:v>
                </c:pt>
                <c:pt idx="8">
                  <c:v>0.04430903579378999</c:v>
                </c:pt>
                <c:pt idx="9">
                  <c:v>0.0365603722683884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etit Coteau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Patriarche (2.6%)</c:v>
                </c:pt>
                <c:pt idx="2">
                  <c:v>Château Moncontour  (1.5%)</c:v>
                </c:pt>
                <c:pt idx="3">
                  <c:v>Carlo V (5.4%)</c:v>
                </c:pt>
                <c:pt idx="4">
                  <c:v>Bouvet Ladubay (1.5%)</c:v>
                </c:pt>
                <c:pt idx="5">
                  <c:v>Bottega (3.7%)</c:v>
                </c:pt>
                <c:pt idx="6">
                  <c:v>Malard (6.0%)</c:v>
                </c:pt>
                <c:pt idx="7">
                  <c:v>Savian (2.1%)</c:v>
                </c:pt>
                <c:pt idx="8">
                  <c:v>Les Grumes  (1.0%)</c:v>
                </c:pt>
                <c:pt idx="9">
                  <c:v>Lyre's (1.0%)</c:v>
                </c:pt>
              </c:strCache>
            </c:strRef>
          </c:cat>
          <c:val>
            <c:numRef>
              <c:f>Sheet1!$B$2:$B$11</c:f>
              <c:numCache>
                <c:formatCode>General</c:formatCode>
                <c:ptCount val="10"/>
                <c:pt idx="0">
                  <c:v>0.13059742332283336</c:v>
                </c:pt>
                <c:pt idx="1">
                  <c:v>0.09731191917767149</c:v>
                </c:pt>
                <c:pt idx="2">
                  <c:v>0.07824546834355853</c:v>
                </c:pt>
                <c:pt idx="3">
                  <c:v>0.0737033680463797</c:v>
                </c:pt>
                <c:pt idx="4">
                  <c:v>0.057871892567007886</c:v>
                </c:pt>
                <c:pt idx="5">
                  <c:v>0.052628272619729084</c:v>
                </c:pt>
                <c:pt idx="6">
                  <c:v>0.047941805074515384</c:v>
                </c:pt>
                <c:pt idx="7">
                  <c:v>0.047483218039754166</c:v>
                </c:pt>
                <c:pt idx="8">
                  <c:v>0.04013905730010982</c:v>
                </c:pt>
                <c:pt idx="9">
                  <c:v>0.035360958335958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icamelo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icamelo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iper-Heidsie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Feuillatte (4.5%)</c:v>
                </c:pt>
                <c:pt idx="2">
                  <c:v>Canard-Duchêne (3.1%)</c:v>
                </c:pt>
                <c:pt idx="3">
                  <c:v>Malard (6.0%)</c:v>
                </c:pt>
                <c:pt idx="4">
                  <c:v>Nicolas (14.4%)</c:v>
                </c:pt>
                <c:pt idx="5">
                  <c:v>Besserat De Bellefon (2.0%)</c:v>
                </c:pt>
                <c:pt idx="6">
                  <c:v>Carlo V (5.4%)</c:v>
                </c:pt>
                <c:pt idx="7">
                  <c:v>Demoiselle (3.5%)</c:v>
                </c:pt>
                <c:pt idx="8">
                  <c:v>Bottega (3.7%)</c:v>
                </c:pt>
                <c:pt idx="9">
                  <c:v>Laurent Perrier (3.9%)</c:v>
                </c:pt>
              </c:strCache>
            </c:strRef>
          </c:cat>
          <c:val>
            <c:numRef>
              <c:f>Sheet1!$B$2:$B$11</c:f>
              <c:numCache>
                <c:formatCode>General</c:formatCode>
                <c:ptCount val="10"/>
                <c:pt idx="0">
                  <c:v>0.38787718451765346</c:v>
                </c:pt>
                <c:pt idx="1">
                  <c:v>0.0916320326961087</c:v>
                </c:pt>
                <c:pt idx="2">
                  <c:v>0.06689144115727799</c:v>
                </c:pt>
                <c:pt idx="3">
                  <c:v>0.05201913361340489</c:v>
                </c:pt>
                <c:pt idx="4">
                  <c:v>0.046009351232312916</c:v>
                </c:pt>
                <c:pt idx="5">
                  <c:v>0.03318679200984113</c:v>
                </c:pt>
                <c:pt idx="6">
                  <c:v>0.030742418473036107</c:v>
                </c:pt>
                <c:pt idx="7">
                  <c:v>0.030740553126430613</c:v>
                </c:pt>
                <c:pt idx="8">
                  <c:v>0.02413600436665301</c:v>
                </c:pt>
                <c:pt idx="9">
                  <c:v>0.02075448230893659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yala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Heidsieck &amp; C° Monopole (4.2%)</c:v>
                </c:pt>
                <c:pt idx="2">
                  <c:v>Malard (6.0%)</c:v>
                </c:pt>
                <c:pt idx="3">
                  <c:v>Canard-Duchêne (3.1%)</c:v>
                </c:pt>
                <c:pt idx="4">
                  <c:v>Ruinart (12.8%)</c:v>
                </c:pt>
                <c:pt idx="5">
                  <c:v>Besserat De Bellefon (2.0%)</c:v>
                </c:pt>
                <c:pt idx="6">
                  <c:v>Nicolas (14.4%)</c:v>
                </c:pt>
                <c:pt idx="7">
                  <c:v>Demoiselle (3.5%)</c:v>
                </c:pt>
                <c:pt idx="8">
                  <c:v>Laurent Perrier (3.9%)</c:v>
                </c:pt>
                <c:pt idx="9">
                  <c:v>Nicolas Feuillatte (4.5%)</c:v>
                </c:pt>
              </c:strCache>
            </c:strRef>
          </c:cat>
          <c:val>
            <c:numRef>
              <c:f>Sheet1!$B$2:$B$11</c:f>
              <c:numCache>
                <c:formatCode>General</c:formatCode>
                <c:ptCount val="10"/>
                <c:pt idx="0">
                  <c:v>0.16395860419672703</c:v>
                </c:pt>
                <c:pt idx="1">
                  <c:v>0.12718957490715654</c:v>
                </c:pt>
                <c:pt idx="2">
                  <c:v>0.1268401465835771</c:v>
                </c:pt>
                <c:pt idx="3">
                  <c:v>0.08121036024267875</c:v>
                </c:pt>
                <c:pt idx="4">
                  <c:v>0.06262206179829916</c:v>
                </c:pt>
                <c:pt idx="5">
                  <c:v>0.058100194282747195</c:v>
                </c:pt>
                <c:pt idx="6">
                  <c:v>0.05269505705172805</c:v>
                </c:pt>
                <c:pt idx="7">
                  <c:v>0.03066413878246896</c:v>
                </c:pt>
                <c:pt idx="8">
                  <c:v>0.02851287137817203</c:v>
                </c:pt>
                <c:pt idx="9">
                  <c:v>0.0270948650799317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iper-Heidsie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Feuillatte (4.5%)</c:v>
                </c:pt>
                <c:pt idx="2">
                  <c:v>Canard-Duchêne (3.1%)</c:v>
                </c:pt>
                <c:pt idx="3">
                  <c:v>Nicolas (14.4%)</c:v>
                </c:pt>
                <c:pt idx="4">
                  <c:v>Malard (6.0%)</c:v>
                </c:pt>
                <c:pt idx="5">
                  <c:v>Laurent Perrier (3.9%)</c:v>
                </c:pt>
                <c:pt idx="6">
                  <c:v>Demoiselle (3.5%)</c:v>
                </c:pt>
                <c:pt idx="7">
                  <c:v>Besserat De Bellefon (2.0%)</c:v>
                </c:pt>
                <c:pt idx="8">
                  <c:v>Deutz (4.8%)</c:v>
                </c:pt>
                <c:pt idx="9">
                  <c:v>Ruinart (12.8%)</c:v>
                </c:pt>
              </c:strCache>
            </c:strRef>
          </c:cat>
          <c:val>
            <c:numRef>
              <c:f>Sheet1!$B$2:$B$11</c:f>
              <c:numCache>
                <c:formatCode>General</c:formatCode>
                <c:ptCount val="10"/>
                <c:pt idx="0">
                  <c:v>0.2813307069717131</c:v>
                </c:pt>
                <c:pt idx="1">
                  <c:v>0.089143440353485</c:v>
                </c:pt>
                <c:pt idx="2">
                  <c:v>0.05572208229586669</c:v>
                </c:pt>
                <c:pt idx="3">
                  <c:v>0.05101679643360735</c:v>
                </c:pt>
                <c:pt idx="4">
                  <c:v>0.04788313502488041</c:v>
                </c:pt>
                <c:pt idx="5">
                  <c:v>0.04677906691325169</c:v>
                </c:pt>
                <c:pt idx="6">
                  <c:v>0.04609276279072741</c:v>
                </c:pt>
                <c:pt idx="7">
                  <c:v>0.04155072745230142</c:v>
                </c:pt>
                <c:pt idx="8">
                  <c:v>0.032298125979856006</c:v>
                </c:pt>
                <c:pt idx="9">
                  <c:v>0.0301973080030279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ol Roge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Besserat De Bellefon (2.0%)</c:v>
                </c:pt>
                <c:pt idx="3">
                  <c:v>Demoiselle (3.5%)</c:v>
                </c:pt>
                <c:pt idx="4">
                  <c:v>Heidsieck &amp; C° Monopole (4.2%)</c:v>
                </c:pt>
                <c:pt idx="5">
                  <c:v>Laurent Perrier (3.9%)</c:v>
                </c:pt>
                <c:pt idx="6">
                  <c:v>Deutz (4.8%)</c:v>
                </c:pt>
                <c:pt idx="7">
                  <c:v>Ruinart (12.8%)</c:v>
                </c:pt>
                <c:pt idx="8">
                  <c:v>Nicolas Feuillatte (4.5%)</c:v>
                </c:pt>
                <c:pt idx="9">
                  <c:v>Taittinger (2.2%)</c:v>
                </c:pt>
              </c:strCache>
            </c:strRef>
          </c:cat>
          <c:val>
            <c:numRef>
              <c:f>Sheet1!$B$2:$B$11</c:f>
              <c:numCache>
                <c:formatCode>General</c:formatCode>
                <c:ptCount val="10"/>
                <c:pt idx="0">
                  <c:v>0.11779192453938772</c:v>
                </c:pt>
                <c:pt idx="1">
                  <c:v>0.0985719118154497</c:v>
                </c:pt>
                <c:pt idx="2">
                  <c:v>0.058886835987061216</c:v>
                </c:pt>
                <c:pt idx="3">
                  <c:v>0.058208775693714715</c:v>
                </c:pt>
                <c:pt idx="4">
                  <c:v>0.05509213997308</c:v>
                </c:pt>
                <c:pt idx="5">
                  <c:v>0.055064055243578075</c:v>
                </c:pt>
                <c:pt idx="6">
                  <c:v>0.05163576439306219</c:v>
                </c:pt>
                <c:pt idx="7">
                  <c:v>0.05076425508284304</c:v>
                </c:pt>
                <c:pt idx="8">
                  <c:v>0.0479243419381207</c:v>
                </c:pt>
                <c:pt idx="9">
                  <c:v>0.032319174380703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ol Roge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Malard (6.0%)</c:v>
                </c:pt>
                <c:pt idx="2">
                  <c:v>Nicolas (14.4%)</c:v>
                </c:pt>
                <c:pt idx="3">
                  <c:v>Ruinart (12.8%)</c:v>
                </c:pt>
                <c:pt idx="4">
                  <c:v>Laurent Perrier (3.9%)</c:v>
                </c:pt>
                <c:pt idx="5">
                  <c:v>Demoiselle (3.5%)</c:v>
                </c:pt>
                <c:pt idx="6">
                  <c:v>Besserat De Bellefon (2.0%)</c:v>
                </c:pt>
                <c:pt idx="7">
                  <c:v>Taittinger (2.2%)</c:v>
                </c:pt>
                <c:pt idx="8">
                  <c:v>Nicolas Feuillatte (4.5%)</c:v>
                </c:pt>
                <c:pt idx="9">
                  <c:v>Heidsieck &amp; C° Monopole (4.2%)</c:v>
                </c:pt>
              </c:strCache>
            </c:strRef>
          </c:cat>
          <c:val>
            <c:numRef>
              <c:f>Sheet1!$B$2:$B$11</c:f>
              <c:numCache>
                <c:formatCode>General</c:formatCode>
                <c:ptCount val="10"/>
                <c:pt idx="0">
                  <c:v>0.09044465939084226</c:v>
                </c:pt>
                <c:pt idx="1">
                  <c:v>0.0878304990429218</c:v>
                </c:pt>
                <c:pt idx="2">
                  <c:v>0.0845411164558052</c:v>
                </c:pt>
                <c:pt idx="3">
                  <c:v>0.07883888566813875</c:v>
                </c:pt>
                <c:pt idx="4">
                  <c:v>0.06462878524373612</c:v>
                </c:pt>
                <c:pt idx="5">
                  <c:v>0.052693799153531236</c:v>
                </c:pt>
                <c:pt idx="6">
                  <c:v>0.04964248014417999</c:v>
                </c:pt>
                <c:pt idx="7">
                  <c:v>0.04854551252914426</c:v>
                </c:pt>
                <c:pt idx="8">
                  <c:v>0.0428717940874519</c:v>
                </c:pt>
                <c:pt idx="9">
                  <c:v>0.040930046950263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ommery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Heidsieck &amp; C° Monopole (4.2%)</c:v>
                </c:pt>
                <c:pt idx="2">
                  <c:v>Nicolas (14.4%)</c:v>
                </c:pt>
                <c:pt idx="3">
                  <c:v>Nicolas Feuillatte (4.5%)</c:v>
                </c:pt>
                <c:pt idx="4">
                  <c:v>Demoiselle (3.5%)</c:v>
                </c:pt>
                <c:pt idx="5">
                  <c:v>Laurent Perrier (3.9%)</c:v>
                </c:pt>
                <c:pt idx="6">
                  <c:v>Besserat De Bellefon (2.0%)</c:v>
                </c:pt>
                <c:pt idx="7">
                  <c:v>Deutz (4.8%)</c:v>
                </c:pt>
                <c:pt idx="8">
                  <c:v>Canard-Duchêne (3.1%)</c:v>
                </c:pt>
                <c:pt idx="9">
                  <c:v>Ruinart (12.8%)</c:v>
                </c:pt>
              </c:strCache>
            </c:strRef>
          </c:cat>
          <c:val>
            <c:numRef>
              <c:f>Sheet1!$B$2:$B$11</c:f>
              <c:numCache>
                <c:formatCode>General</c:formatCode>
                <c:ptCount val="10"/>
                <c:pt idx="0">
                  <c:v>0.11284961775319528</c:v>
                </c:pt>
                <c:pt idx="1">
                  <c:v>0.11048806991459895</c:v>
                </c:pt>
                <c:pt idx="2">
                  <c:v>0.08998229244284883</c:v>
                </c:pt>
                <c:pt idx="3">
                  <c:v>0.07661131571377718</c:v>
                </c:pt>
                <c:pt idx="4">
                  <c:v>0.05495534444433529</c:v>
                </c:pt>
                <c:pt idx="5">
                  <c:v>0.04880106608105982</c:v>
                </c:pt>
                <c:pt idx="6">
                  <c:v>0.04499466963693054</c:v>
                </c:pt>
                <c:pt idx="7">
                  <c:v>0.042086647061010264</c:v>
                </c:pt>
                <c:pt idx="8">
                  <c:v>0.03732011453512726</c:v>
                </c:pt>
                <c:pt idx="9">
                  <c:v>0.036845984287232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ommery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Laurent Perrier (3.9%)</c:v>
                </c:pt>
                <c:pt idx="3">
                  <c:v>Deutz (4.8%)</c:v>
                </c:pt>
                <c:pt idx="4">
                  <c:v>Heidsieck &amp; C° Monopole (4.2%)</c:v>
                </c:pt>
                <c:pt idx="5">
                  <c:v>Nicolas Feuillatte (4.5%)</c:v>
                </c:pt>
                <c:pt idx="6">
                  <c:v>Ruinart (12.8%)</c:v>
                </c:pt>
                <c:pt idx="7">
                  <c:v>Demoiselle (3.5%)</c:v>
                </c:pt>
                <c:pt idx="8">
                  <c:v>Veuve Clicquot (1.7%)</c:v>
                </c:pt>
                <c:pt idx="9">
                  <c:v>Taittinger (2.2%)</c:v>
                </c:pt>
              </c:strCache>
            </c:strRef>
          </c:cat>
          <c:val>
            <c:numRef>
              <c:f>Sheet1!$B$2:$B$11</c:f>
              <c:numCache>
                <c:formatCode>General</c:formatCode>
                <c:ptCount val="10"/>
                <c:pt idx="0">
                  <c:v>0.09266739471259106</c:v>
                </c:pt>
                <c:pt idx="1">
                  <c:v>0.0772668337150958</c:v>
                </c:pt>
                <c:pt idx="2">
                  <c:v>0.07009653775723032</c:v>
                </c:pt>
                <c:pt idx="3">
                  <c:v>0.06999158865933786</c:v>
                </c:pt>
                <c:pt idx="4">
                  <c:v>0.06986722390872122</c:v>
                </c:pt>
                <c:pt idx="5">
                  <c:v>0.0681930274103335</c:v>
                </c:pt>
                <c:pt idx="6">
                  <c:v>0.056554861473423985</c:v>
                </c:pt>
                <c:pt idx="7">
                  <c:v>0.049451611187118265</c:v>
                </c:pt>
                <c:pt idx="8">
                  <c:v>0.044579089602839156</c:v>
                </c:pt>
                <c:pt idx="9">
                  <c:v>0.0440097440153014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iccadonna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iccadonna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oederer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Taittinger (2.2%)</c:v>
                </c:pt>
                <c:pt idx="4">
                  <c:v>Malard (6.0%)</c:v>
                </c:pt>
                <c:pt idx="5">
                  <c:v>Laurent Perrier (3.9%)</c:v>
                </c:pt>
                <c:pt idx="6">
                  <c:v>Veuve Clicquot (1.7%)</c:v>
                </c:pt>
                <c:pt idx="7">
                  <c:v>Nicolas Feuillatte (4.5%)</c:v>
                </c:pt>
                <c:pt idx="8">
                  <c:v>Demoiselle (3.5%)</c:v>
                </c:pt>
                <c:pt idx="9">
                  <c:v>Bollinger (1.3%)</c:v>
                </c:pt>
              </c:strCache>
            </c:strRef>
          </c:cat>
          <c:val>
            <c:numRef>
              <c:f>Sheet1!$B$2:$B$11</c:f>
              <c:numCache>
                <c:formatCode>General</c:formatCode>
                <c:ptCount val="10"/>
                <c:pt idx="0">
                  <c:v>0.24917434390399848</c:v>
                </c:pt>
                <c:pt idx="1">
                  <c:v>0.1361183913465833</c:v>
                </c:pt>
                <c:pt idx="2">
                  <c:v>0.07051627085561586</c:v>
                </c:pt>
                <c:pt idx="3">
                  <c:v>0.04782443011945331</c:v>
                </c:pt>
                <c:pt idx="4">
                  <c:v>0.04664757433123796</c:v>
                </c:pt>
                <c:pt idx="5">
                  <c:v>0.03972982552119796</c:v>
                </c:pt>
                <c:pt idx="6">
                  <c:v>0.03942364982440309</c:v>
                </c:pt>
                <c:pt idx="7">
                  <c:v>0.03495813057749187</c:v>
                </c:pt>
                <c:pt idx="8">
                  <c:v>0.033643388875768516</c:v>
                </c:pt>
                <c:pt idx="9">
                  <c:v>0.0289036668658595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oederer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Malard (6.0%)</c:v>
                </c:pt>
                <c:pt idx="4">
                  <c:v>Taittinger (2.2%)</c:v>
                </c:pt>
                <c:pt idx="5">
                  <c:v>Demoiselle (3.5%)</c:v>
                </c:pt>
                <c:pt idx="6">
                  <c:v>Laurent Perrier (3.9%)</c:v>
                </c:pt>
                <c:pt idx="7">
                  <c:v>Bollinger (1.3%)</c:v>
                </c:pt>
                <c:pt idx="8">
                  <c:v>Veuve Clicquot (1.7%)</c:v>
                </c:pt>
                <c:pt idx="9">
                  <c:v>Nicolas Feuillatte (4.5%)</c:v>
                </c:pt>
              </c:strCache>
            </c:strRef>
          </c:cat>
          <c:val>
            <c:numRef>
              <c:f>Sheet1!$B$2:$B$11</c:f>
              <c:numCache>
                <c:formatCode>General</c:formatCode>
                <c:ptCount val="10"/>
                <c:pt idx="0">
                  <c:v>0.298631171646651</c:v>
                </c:pt>
                <c:pt idx="1">
                  <c:v>0.1369147383885214</c:v>
                </c:pt>
                <c:pt idx="2">
                  <c:v>0.05768365705593552</c:v>
                </c:pt>
                <c:pt idx="3">
                  <c:v>0.04159321896427738</c:v>
                </c:pt>
                <c:pt idx="4">
                  <c:v>0.040537180552674384</c:v>
                </c:pt>
                <c:pt idx="5">
                  <c:v>0.03856291766591158</c:v>
                </c:pt>
                <c:pt idx="6">
                  <c:v>0.035979229307223456</c:v>
                </c:pt>
                <c:pt idx="7">
                  <c:v>0.03546161405597542</c:v>
                </c:pt>
                <c:pt idx="8">
                  <c:v>0.033224300647194435</c:v>
                </c:pt>
                <c:pt idx="9">
                  <c:v>0.031991352596949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uinart (1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Laurent Perrier (3.9%)</c:v>
                </c:pt>
                <c:pt idx="2">
                  <c:v>Nicolas (14.4%)</c:v>
                </c:pt>
                <c:pt idx="3">
                  <c:v>Demoiselle (3.5%)</c:v>
                </c:pt>
                <c:pt idx="4">
                  <c:v>Taittinger (2.2%)</c:v>
                </c:pt>
                <c:pt idx="5">
                  <c:v>Nicolas Feuillatte (4.5%)</c:v>
                </c:pt>
                <c:pt idx="6">
                  <c:v>Veuve Clicquot (1.7%)</c:v>
                </c:pt>
                <c:pt idx="7">
                  <c:v>Ayala (1.7%)</c:v>
                </c:pt>
                <c:pt idx="8">
                  <c:v>Bollinger (1.3%)</c:v>
                </c:pt>
                <c:pt idx="9">
                  <c:v>Malard (6.0%)</c:v>
                </c:pt>
              </c:strCache>
            </c:strRef>
          </c:cat>
          <c:val>
            <c:numRef>
              <c:f>Sheet1!$B$2:$B$11</c:f>
              <c:numCache>
                <c:formatCode>General</c:formatCode>
                <c:ptCount val="10"/>
                <c:pt idx="0">
                  <c:v>0.14348788104759302</c:v>
                </c:pt>
                <c:pt idx="1">
                  <c:v>0.07719814949293165</c:v>
                </c:pt>
                <c:pt idx="2">
                  <c:v>0.07068712869385113</c:v>
                </c:pt>
                <c:pt idx="3">
                  <c:v>0.062036882874654406</c:v>
                </c:pt>
                <c:pt idx="4">
                  <c:v>0.061427938046514106</c:v>
                </c:pt>
                <c:pt idx="5">
                  <c:v>0.05961199528019891</c:v>
                </c:pt>
                <c:pt idx="6">
                  <c:v>0.057992108765183355</c:v>
                </c:pt>
                <c:pt idx="7">
                  <c:v>0.04928835407834542</c:v>
                </c:pt>
                <c:pt idx="8">
                  <c:v>0.04226088793726463</c:v>
                </c:pt>
                <c:pt idx="9">
                  <c:v>0.0402099107600469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sserat De Bellefo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Canard-Duchêne (3.1%)</c:v>
                </c:pt>
                <c:pt idx="4">
                  <c:v>Vesselle (1.0%)</c:v>
                </c:pt>
                <c:pt idx="5">
                  <c:v>Nicolas Feuillatte (4.5%)</c:v>
                </c:pt>
                <c:pt idx="6">
                  <c:v>Ayala (1.7%)</c:v>
                </c:pt>
                <c:pt idx="7">
                  <c:v>Deutz (4.8%)</c:v>
                </c:pt>
                <c:pt idx="8">
                  <c:v>De Bligny (1.3%)</c:v>
                </c:pt>
                <c:pt idx="9">
                  <c:v>Demoiselle (3.5%)</c:v>
                </c:pt>
              </c:strCache>
            </c:strRef>
          </c:cat>
          <c:val>
            <c:numRef>
              <c:f>Sheet1!$B$2:$B$11</c:f>
              <c:numCache>
                <c:formatCode>General</c:formatCode>
                <c:ptCount val="10"/>
                <c:pt idx="0">
                  <c:v>0.15489720869780435</c:v>
                </c:pt>
                <c:pt idx="1">
                  <c:v>0.13408644837254693</c:v>
                </c:pt>
                <c:pt idx="2">
                  <c:v>0.12494548047933758</c:v>
                </c:pt>
                <c:pt idx="3">
                  <c:v>0.0457991701165825</c:v>
                </c:pt>
                <c:pt idx="4">
                  <c:v>0.04462321108193013</c:v>
                </c:pt>
                <c:pt idx="5">
                  <c:v>0.0441674269972599</c:v>
                </c:pt>
                <c:pt idx="6">
                  <c:v>0.036560265647678426</c:v>
                </c:pt>
                <c:pt idx="7">
                  <c:v>0.03603316343958461</c:v>
                </c:pt>
                <c:pt idx="8">
                  <c:v>0.0345813464325614</c:v>
                </c:pt>
                <c:pt idx="9">
                  <c:v>0.030445271157177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uinart (1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Demoiselle (3.5%)</c:v>
                </c:pt>
                <c:pt idx="2">
                  <c:v>Laurent Perrier (3.9%)</c:v>
                </c:pt>
                <c:pt idx="3">
                  <c:v>Nicolas (14.4%)</c:v>
                </c:pt>
                <c:pt idx="4">
                  <c:v>Bollinger (1.3%)</c:v>
                </c:pt>
                <c:pt idx="5">
                  <c:v>Taittinger (2.2%)</c:v>
                </c:pt>
                <c:pt idx="6">
                  <c:v>Veuve Clicquot (1.7%)</c:v>
                </c:pt>
                <c:pt idx="7">
                  <c:v>Nicolas Feuillatte (4.5%)</c:v>
                </c:pt>
                <c:pt idx="8">
                  <c:v>Moët &amp; Chandon (1.1%)</c:v>
                </c:pt>
                <c:pt idx="9">
                  <c:v>Malard (6.0%)</c:v>
                </c:pt>
              </c:strCache>
            </c:strRef>
          </c:cat>
          <c:val>
            <c:numRef>
              <c:f>Sheet1!$B$2:$B$11</c:f>
              <c:numCache>
                <c:formatCode>General</c:formatCode>
                <c:ptCount val="10"/>
                <c:pt idx="0">
                  <c:v>0.14048765478287767</c:v>
                </c:pt>
                <c:pt idx="1">
                  <c:v>0.07502932106480867</c:v>
                </c:pt>
                <c:pt idx="2">
                  <c:v>0.0732218287827386</c:v>
                </c:pt>
                <c:pt idx="3">
                  <c:v>0.0644482132042551</c:v>
                </c:pt>
                <c:pt idx="4">
                  <c:v>0.06347480222300352</c:v>
                </c:pt>
                <c:pt idx="5">
                  <c:v>0.05894757806062254</c:v>
                </c:pt>
                <c:pt idx="6">
                  <c:v>0.05658796377301971</c:v>
                </c:pt>
                <c:pt idx="7">
                  <c:v>0.05445413553431651</c:v>
                </c:pt>
                <c:pt idx="8">
                  <c:v>0.03366301206716325</c:v>
                </c:pt>
                <c:pt idx="9">
                  <c:v>0.03330632485022684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avian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Les Grumes  (1.0%)</c:v>
                </c:pt>
                <c:pt idx="4">
                  <c:v>Patriarche (2.6%)</c:v>
                </c:pt>
                <c:pt idx="5">
                  <c:v>Bouvet Ladubay (1.5%)</c:v>
                </c:pt>
                <c:pt idx="6">
                  <c:v>Muré (1.3%)</c:v>
                </c:pt>
                <c:pt idx="7">
                  <c:v>Château Moncontour  (1.5%)</c:v>
                </c:pt>
                <c:pt idx="8">
                  <c:v>Malard (6.0%)</c:v>
                </c:pt>
                <c:pt idx="9">
                  <c:v>De Chanceny (0.7%)</c:v>
                </c:pt>
              </c:strCache>
            </c:strRef>
          </c:cat>
          <c:val>
            <c:numRef>
              <c:f>Sheet1!$B$2:$B$11</c:f>
              <c:numCache>
                <c:formatCode>General</c:formatCode>
                <c:ptCount val="10"/>
                <c:pt idx="0">
                  <c:v>0.4869215523866475</c:v>
                </c:pt>
                <c:pt idx="1">
                  <c:v>0.09701801203810438</c:v>
                </c:pt>
                <c:pt idx="2">
                  <c:v>0.057371342741849574</c:v>
                </c:pt>
                <c:pt idx="3">
                  <c:v>0.057297833200758416</c:v>
                </c:pt>
                <c:pt idx="4">
                  <c:v>0.050336715658285035</c:v>
                </c:pt>
                <c:pt idx="5">
                  <c:v>0.03368123615063517</c:v>
                </c:pt>
                <c:pt idx="6">
                  <c:v>0.025236905432727257</c:v>
                </c:pt>
                <c:pt idx="7">
                  <c:v>0.020270157657120945</c:v>
                </c:pt>
                <c:pt idx="8">
                  <c:v>0.019715112821664858</c:v>
                </c:pt>
                <c:pt idx="9">
                  <c:v>0.0151608223075577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avian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Les Grumes  (1.0%)</c:v>
                </c:pt>
                <c:pt idx="4">
                  <c:v>Patriarche (2.6%)</c:v>
                </c:pt>
                <c:pt idx="5">
                  <c:v>Bouvet Ladubay (1.5%)</c:v>
                </c:pt>
                <c:pt idx="6">
                  <c:v>Muré (1.3%)</c:v>
                </c:pt>
                <c:pt idx="7">
                  <c:v>Château Moncontour  (1.5%)</c:v>
                </c:pt>
                <c:pt idx="8">
                  <c:v>Malard (6.0%)</c:v>
                </c:pt>
                <c:pt idx="9">
                  <c:v>De Chanceny (0.7%)</c:v>
                </c:pt>
              </c:strCache>
            </c:strRef>
          </c:cat>
          <c:val>
            <c:numRef>
              <c:f>Sheet1!$B$2:$B$11</c:f>
              <c:numCache>
                <c:formatCode>General</c:formatCode>
                <c:ptCount val="10"/>
                <c:pt idx="0">
                  <c:v>0.4267690555898995</c:v>
                </c:pt>
                <c:pt idx="1">
                  <c:v>0.14097770348583677</c:v>
                </c:pt>
                <c:pt idx="2">
                  <c:v>0.06819158131907035</c:v>
                </c:pt>
                <c:pt idx="3">
                  <c:v>0.0507323621265388</c:v>
                </c:pt>
                <c:pt idx="4">
                  <c:v>0.0497787458045827</c:v>
                </c:pt>
                <c:pt idx="5">
                  <c:v>0.03158471284138918</c:v>
                </c:pt>
                <c:pt idx="6">
                  <c:v>0.028424660333952984</c:v>
                </c:pt>
                <c:pt idx="7">
                  <c:v>0.02169565144877431</c:v>
                </c:pt>
                <c:pt idx="8">
                  <c:v>0.019929771670190874</c:v>
                </c:pt>
                <c:pt idx="9">
                  <c:v>0.01462708133392527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Taittinger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Laurent Perrier (3.9%)</c:v>
                </c:pt>
                <c:pt idx="3">
                  <c:v>Malard (6.0%)</c:v>
                </c:pt>
                <c:pt idx="4">
                  <c:v>Nicolas (14.4%)</c:v>
                </c:pt>
                <c:pt idx="5">
                  <c:v>Heidsieck &amp; C° Monopole (4.2%)</c:v>
                </c:pt>
                <c:pt idx="6">
                  <c:v>Nicolas Feuillatte (4.5%)</c:v>
                </c:pt>
                <c:pt idx="7">
                  <c:v>Veuve Clicquot (1.7%)</c:v>
                </c:pt>
                <c:pt idx="8">
                  <c:v>Demoiselle (3.5%)</c:v>
                </c:pt>
                <c:pt idx="9">
                  <c:v>Besserat De Bellefon (2.0%)</c:v>
                </c:pt>
              </c:strCache>
            </c:strRef>
          </c:cat>
          <c:val>
            <c:numRef>
              <c:f>Sheet1!$B$2:$B$11</c:f>
              <c:numCache>
                <c:formatCode>General</c:formatCode>
                <c:ptCount val="10"/>
                <c:pt idx="0">
                  <c:v>0.10299935196160472</c:v>
                </c:pt>
                <c:pt idx="1">
                  <c:v>0.09748133306309238</c:v>
                </c:pt>
                <c:pt idx="2">
                  <c:v>0.08468627806838336</c:v>
                </c:pt>
                <c:pt idx="3">
                  <c:v>0.08147203402009791</c:v>
                </c:pt>
                <c:pt idx="4">
                  <c:v>0.06151412785624114</c:v>
                </c:pt>
                <c:pt idx="5">
                  <c:v>0.05865316148764005</c:v>
                </c:pt>
                <c:pt idx="6">
                  <c:v>0.049097496280947645</c:v>
                </c:pt>
                <c:pt idx="7">
                  <c:v>0.04641173665185996</c:v>
                </c:pt>
                <c:pt idx="8">
                  <c:v>0.044521436352370714</c:v>
                </c:pt>
                <c:pt idx="9">
                  <c:v>0.0416277886368070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Taittinger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Laurent Perrier (3.9%)</c:v>
                </c:pt>
                <c:pt idx="3">
                  <c:v>Veuve Clicquot (1.7%)</c:v>
                </c:pt>
                <c:pt idx="4">
                  <c:v>Malard (6.0%)</c:v>
                </c:pt>
                <c:pt idx="5">
                  <c:v>Heidsieck &amp; C° Monopole (4.2%)</c:v>
                </c:pt>
                <c:pt idx="6">
                  <c:v>Nicolas (14.4%)</c:v>
                </c:pt>
                <c:pt idx="7">
                  <c:v>Nicolas Feuillatte (4.5%)</c:v>
                </c:pt>
                <c:pt idx="8">
                  <c:v>Demoiselle (3.5%)</c:v>
                </c:pt>
                <c:pt idx="9">
                  <c:v>Besserat De Bellefon (2.0%)</c:v>
                </c:pt>
              </c:strCache>
            </c:strRef>
          </c:cat>
          <c:val>
            <c:numRef>
              <c:f>Sheet1!$B$2:$B$11</c:f>
              <c:numCache>
                <c:formatCode>General</c:formatCode>
                <c:ptCount val="10"/>
                <c:pt idx="0">
                  <c:v>0.18313898771172313</c:v>
                </c:pt>
                <c:pt idx="1">
                  <c:v>0.12331497489203609</c:v>
                </c:pt>
                <c:pt idx="2">
                  <c:v>0.08909705922985417</c:v>
                </c:pt>
                <c:pt idx="3">
                  <c:v>0.072145898714265</c:v>
                </c:pt>
                <c:pt idx="4">
                  <c:v>0.05143594004473643</c:v>
                </c:pt>
                <c:pt idx="5">
                  <c:v>0.04062786951969975</c:v>
                </c:pt>
                <c:pt idx="6">
                  <c:v>0.03800400238232029</c:v>
                </c:pt>
                <c:pt idx="7">
                  <c:v>0.033814750495133244</c:v>
                </c:pt>
                <c:pt idx="8">
                  <c:v>0.03307645702988578</c:v>
                </c:pt>
                <c:pt idx="9">
                  <c:v>0.0323723663743966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ssell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Heidsieck &amp; C° Monopole (4.2%)</c:v>
                </c:pt>
                <c:pt idx="4">
                  <c:v>Louis Martin (0.5%)</c:v>
                </c:pt>
                <c:pt idx="5">
                  <c:v>Besserat De Bellefon (2.0%)</c:v>
                </c:pt>
                <c:pt idx="6">
                  <c:v>Carlo V (5.4%)</c:v>
                </c:pt>
                <c:pt idx="7">
                  <c:v>Patriarche (2.6%)</c:v>
                </c:pt>
                <c:pt idx="8">
                  <c:v>Bottega (3.7%)</c:v>
                </c:pt>
                <c:pt idx="9">
                  <c:v>Demoiselle (3.5%)</c:v>
                </c:pt>
              </c:strCache>
            </c:strRef>
          </c:cat>
          <c:val>
            <c:numRef>
              <c:f>Sheet1!$B$2:$B$11</c:f>
              <c:numCache>
                <c:formatCode>General</c:formatCode>
                <c:ptCount val="10"/>
                <c:pt idx="0">
                  <c:v>0.322772631065088</c:v>
                </c:pt>
                <c:pt idx="1">
                  <c:v>0.1725987845610789</c:v>
                </c:pt>
                <c:pt idx="2">
                  <c:v>0.04238843700613243</c:v>
                </c:pt>
                <c:pt idx="3">
                  <c:v>0.03970010185846051</c:v>
                </c:pt>
                <c:pt idx="4">
                  <c:v>0.035950932436315704</c:v>
                </c:pt>
                <c:pt idx="5">
                  <c:v>0.027196626208491854</c:v>
                </c:pt>
                <c:pt idx="6">
                  <c:v>0.02710923203660518</c:v>
                </c:pt>
                <c:pt idx="7">
                  <c:v>0.026447819844024084</c:v>
                </c:pt>
                <c:pt idx="8">
                  <c:v>0.02269097703997358</c:v>
                </c:pt>
                <c:pt idx="9">
                  <c:v>0.0203178481603029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ssell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Besserat De Bellefon (2.0%)</c:v>
                </c:pt>
                <c:pt idx="4">
                  <c:v>Nicolas Feuillatte (4.5%)</c:v>
                </c:pt>
                <c:pt idx="5">
                  <c:v>Louis Martin (0.5%)</c:v>
                </c:pt>
                <c:pt idx="6">
                  <c:v>Lefèvre (0.4%)</c:v>
                </c:pt>
                <c:pt idx="7">
                  <c:v>Demoiselle (3.5%)</c:v>
                </c:pt>
                <c:pt idx="8">
                  <c:v>Canard-Duchêne (3.1%)</c:v>
                </c:pt>
                <c:pt idx="9">
                  <c:v>De Bligny (1.3%)</c:v>
                </c:pt>
              </c:strCache>
            </c:strRef>
          </c:cat>
          <c:val>
            <c:numRef>
              <c:f>Sheet1!$B$2:$B$11</c:f>
              <c:numCache>
                <c:formatCode>General</c:formatCode>
                <c:ptCount val="10"/>
                <c:pt idx="0">
                  <c:v>0.23995932659239194</c:v>
                </c:pt>
                <c:pt idx="1">
                  <c:v>0.17126306930243376</c:v>
                </c:pt>
                <c:pt idx="2">
                  <c:v>0.05779952446873216</c:v>
                </c:pt>
                <c:pt idx="3">
                  <c:v>0.04680634916603086</c:v>
                </c:pt>
                <c:pt idx="4">
                  <c:v>0.04638391876186824</c:v>
                </c:pt>
                <c:pt idx="5">
                  <c:v>0.03360121318439399</c:v>
                </c:pt>
                <c:pt idx="6">
                  <c:v>0.030318967589769895</c:v>
                </c:pt>
                <c:pt idx="7">
                  <c:v>0.02660493564073287</c:v>
                </c:pt>
                <c:pt idx="8">
                  <c:v>0.02632231610936385</c:v>
                </c:pt>
                <c:pt idx="9">
                  <c:v>0.0260364897515151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uve Clicquo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Laurent Perrier (3.9%)</c:v>
                </c:pt>
                <c:pt idx="3">
                  <c:v>Nicolas Feuillatte (4.5%)</c:v>
                </c:pt>
                <c:pt idx="4">
                  <c:v>Malard (6.0%)</c:v>
                </c:pt>
                <c:pt idx="5">
                  <c:v>Demoiselle (3.5%)</c:v>
                </c:pt>
                <c:pt idx="6">
                  <c:v>Heidsieck &amp; C° Monopole (4.2%)</c:v>
                </c:pt>
                <c:pt idx="7">
                  <c:v>Taittinger (2.2%)</c:v>
                </c:pt>
                <c:pt idx="8">
                  <c:v>Deutz (4.8%)</c:v>
                </c:pt>
                <c:pt idx="9">
                  <c:v>Carlo V (5.4%)</c:v>
                </c:pt>
              </c:strCache>
            </c:strRef>
          </c:cat>
          <c:val>
            <c:numRef>
              <c:f>Sheet1!$B$2:$B$11</c:f>
              <c:numCache>
                <c:formatCode>General</c:formatCode>
                <c:ptCount val="10"/>
                <c:pt idx="0">
                  <c:v>0.082782206738086</c:v>
                </c:pt>
                <c:pt idx="1">
                  <c:v>0.07714585020167054</c:v>
                </c:pt>
                <c:pt idx="2">
                  <c:v>0.07307174360836498</c:v>
                </c:pt>
                <c:pt idx="3">
                  <c:v>0.06979231588158132</c:v>
                </c:pt>
                <c:pt idx="4">
                  <c:v>0.06543324064665586</c:v>
                </c:pt>
                <c:pt idx="5">
                  <c:v>0.05720387394432026</c:v>
                </c:pt>
                <c:pt idx="6">
                  <c:v>0.056292530497565885</c:v>
                </c:pt>
                <c:pt idx="7">
                  <c:v>0.05480255814328437</c:v>
                </c:pt>
                <c:pt idx="8">
                  <c:v>0.05384001241285678</c:v>
                </c:pt>
                <c:pt idx="9">
                  <c:v>0.040402452632358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uve Clicquo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Taittinger (2.2%)</c:v>
                </c:pt>
                <c:pt idx="3">
                  <c:v>Laurent Perrier (3.9%)</c:v>
                </c:pt>
                <c:pt idx="4">
                  <c:v>Nicolas Feuillatte (4.5%)</c:v>
                </c:pt>
                <c:pt idx="5">
                  <c:v>Nicolas (14.4%)</c:v>
                </c:pt>
                <c:pt idx="6">
                  <c:v>Demoiselle (3.5%)</c:v>
                </c:pt>
                <c:pt idx="7">
                  <c:v>Malard (6.0%)</c:v>
                </c:pt>
                <c:pt idx="8">
                  <c:v>Moët &amp; Chandon (1.1%)</c:v>
                </c:pt>
                <c:pt idx="9">
                  <c:v>Heidsieck &amp; C° Monopole (4.2%)</c:v>
                </c:pt>
              </c:strCache>
            </c:strRef>
          </c:cat>
          <c:val>
            <c:numRef>
              <c:f>Sheet1!$B$2:$B$11</c:f>
              <c:numCache>
                <c:formatCode>General</c:formatCode>
                <c:ptCount val="10"/>
                <c:pt idx="0">
                  <c:v>0.1398198987906207</c:v>
                </c:pt>
                <c:pt idx="1">
                  <c:v>0.09546080533471585</c:v>
                </c:pt>
                <c:pt idx="2">
                  <c:v>0.08909555782815591</c:v>
                </c:pt>
                <c:pt idx="3">
                  <c:v>0.08668274607127993</c:v>
                </c:pt>
                <c:pt idx="4">
                  <c:v>0.060775721617010274</c:v>
                </c:pt>
                <c:pt idx="5">
                  <c:v>0.05877628143855506</c:v>
                </c:pt>
                <c:pt idx="6">
                  <c:v>0.0472691047666864</c:v>
                </c:pt>
                <c:pt idx="7">
                  <c:v>0.043473374465944674</c:v>
                </c:pt>
                <c:pt idx="8">
                  <c:v>0.0390711056236384</c:v>
                </c:pt>
                <c:pt idx="9">
                  <c:v>0.0386968597716188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uve du Verna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Les Grumes  (1.0%)</c:v>
                </c:pt>
                <c:pt idx="2">
                  <c:v>Savian (2.1%)</c:v>
                </c:pt>
                <c:pt idx="3">
                  <c:v>Nicolas (14.4%)</c:v>
                </c:pt>
                <c:pt idx="4">
                  <c:v>Bottega (3.7%)</c:v>
                </c:pt>
                <c:pt idx="5">
                  <c:v>Patriarche (2.6%)</c:v>
                </c:pt>
                <c:pt idx="6">
                  <c:v>Muré (1.3%)</c:v>
                </c:pt>
                <c:pt idx="7">
                  <c:v>Bouvet Ladubay (1.5%)</c:v>
                </c:pt>
                <c:pt idx="8">
                  <c:v>Dea Augusta (0.5%)</c:v>
                </c:pt>
                <c:pt idx="9">
                  <c:v>Malard (6.0%)</c:v>
                </c:pt>
              </c:strCache>
            </c:strRef>
          </c:cat>
          <c:val>
            <c:numRef>
              <c:f>Sheet1!$B$2:$B$11</c:f>
              <c:numCache>
                <c:formatCode>General</c:formatCode>
                <c:ptCount val="10"/>
                <c:pt idx="0">
                  <c:v>0.25363612788626183</c:v>
                </c:pt>
                <c:pt idx="1">
                  <c:v>0.07578119549956275</c:v>
                </c:pt>
                <c:pt idx="2">
                  <c:v>0.06992249171919639</c:v>
                </c:pt>
                <c:pt idx="3">
                  <c:v>0.06554453721926516</c:v>
                </c:pt>
                <c:pt idx="4">
                  <c:v>0.06198894520742149</c:v>
                </c:pt>
                <c:pt idx="5">
                  <c:v>0.05501238636295191</c:v>
                </c:pt>
                <c:pt idx="6">
                  <c:v>0.04314944089055815</c:v>
                </c:pt>
                <c:pt idx="7">
                  <c:v>0.04029441536835108</c:v>
                </c:pt>
                <c:pt idx="8">
                  <c:v>0.03739077584543716</c:v>
                </c:pt>
                <c:pt idx="9">
                  <c:v>0.030517479630679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9/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9/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 Id="rId3" Type="http://schemas.openxmlformats.org/officeDocument/2006/relationships/chart" Target="../charts/chart19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 Id="rId3" Type="http://schemas.openxmlformats.org/officeDocument/2006/relationships/chart" Target="../charts/chart19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 Id="rId3" Type="http://schemas.openxmlformats.org/officeDocument/2006/relationships/chart" Target="../charts/chart20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 Id="rId3" Type="http://schemas.openxmlformats.org/officeDocument/2006/relationships/chart" Target="../charts/chart20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 Id="rId3" Type="http://schemas.openxmlformats.org/officeDocument/2006/relationships/chart" Target="../charts/chart20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5.xml"/><Relationship Id="rId3" Type="http://schemas.openxmlformats.org/officeDocument/2006/relationships/chart" Target="../charts/chart20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7.xml"/><Relationship Id="rId3" Type="http://schemas.openxmlformats.org/officeDocument/2006/relationships/chart" Target="../charts/chart20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9.xml"/><Relationship Id="rId3" Type="http://schemas.openxmlformats.org/officeDocument/2006/relationships/chart" Target="../charts/chart21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1.xml"/><Relationship Id="rId3" Type="http://schemas.openxmlformats.org/officeDocument/2006/relationships/chart" Target="../charts/chart21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3.xml"/><Relationship Id="rId3" Type="http://schemas.openxmlformats.org/officeDocument/2006/relationships/chart" Target="../charts/chart2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5.xml"/><Relationship Id="rId3" Type="http://schemas.openxmlformats.org/officeDocument/2006/relationships/chart" Target="../charts/chart21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7.xml"/><Relationship Id="rId3" Type="http://schemas.openxmlformats.org/officeDocument/2006/relationships/chart" Target="../charts/chart21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9.xml"/><Relationship Id="rId3" Type="http://schemas.openxmlformats.org/officeDocument/2006/relationships/chart" Target="../charts/chart22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1.xml"/><Relationship Id="rId3" Type="http://schemas.openxmlformats.org/officeDocument/2006/relationships/chart" Target="../charts/chart22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3.xml"/><Relationship Id="rId3" Type="http://schemas.openxmlformats.org/officeDocument/2006/relationships/chart" Target="../charts/chart22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5.xml"/><Relationship Id="rId3" Type="http://schemas.openxmlformats.org/officeDocument/2006/relationships/chart" Target="../charts/chart22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7.xml"/><Relationship Id="rId3" Type="http://schemas.openxmlformats.org/officeDocument/2006/relationships/chart" Target="../charts/chart22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9.xml"/><Relationship Id="rId3" Type="http://schemas.openxmlformats.org/officeDocument/2006/relationships/chart" Target="../charts/chart230.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1.xml"/><Relationship Id="rId3" Type="http://schemas.openxmlformats.org/officeDocument/2006/relationships/chart" Target="../charts/chart23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3.xml"/><Relationship Id="rId3" Type="http://schemas.openxmlformats.org/officeDocument/2006/relationships/chart" Target="../charts/chart2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5.xml"/><Relationship Id="rId3" Type="http://schemas.openxmlformats.org/officeDocument/2006/relationships/chart" Target="../charts/chart23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7.xml"/><Relationship Id="rId3" Type="http://schemas.openxmlformats.org/officeDocument/2006/relationships/chart" Target="../charts/chart23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9.xml"/><Relationship Id="rId3" Type="http://schemas.openxmlformats.org/officeDocument/2006/relationships/chart" Target="../charts/chart24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1.xml"/><Relationship Id="rId3" Type="http://schemas.openxmlformats.org/officeDocument/2006/relationships/chart" Target="../charts/chart24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3.xml"/><Relationship Id="rId3" Type="http://schemas.openxmlformats.org/officeDocument/2006/relationships/chart" Target="../charts/chart24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5.xml"/><Relationship Id="rId3" Type="http://schemas.openxmlformats.org/officeDocument/2006/relationships/chart" Target="../charts/chart24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7.xml"/><Relationship Id="rId3" Type="http://schemas.openxmlformats.org/officeDocument/2006/relationships/chart" Target="../charts/chart24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9.xml"/><Relationship Id="rId3" Type="http://schemas.openxmlformats.org/officeDocument/2006/relationships/chart" Target="../charts/chart25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1.xml"/><Relationship Id="rId3" Type="http://schemas.openxmlformats.org/officeDocument/2006/relationships/chart" Target="../charts/chart25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3.xml"/><Relationship Id="rId3" Type="http://schemas.openxmlformats.org/officeDocument/2006/relationships/chart" Target="../charts/chart25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5.xml"/><Relationship Id="rId3" Type="http://schemas.openxmlformats.org/officeDocument/2006/relationships/chart" Target="../charts/chart256.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7.xml"/><Relationship Id="rId3" Type="http://schemas.openxmlformats.org/officeDocument/2006/relationships/chart" Target="../charts/chart258.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9.xml"/><Relationship Id="rId3" Type="http://schemas.openxmlformats.org/officeDocument/2006/relationships/chart" Target="../charts/chart26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1.xml"/><Relationship Id="rId3" Type="http://schemas.openxmlformats.org/officeDocument/2006/relationships/chart" Target="../charts/chart26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3.xml"/><Relationship Id="rId3" Type="http://schemas.openxmlformats.org/officeDocument/2006/relationships/chart" Target="../charts/chart26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5.xml"/><Relationship Id="rId3" Type="http://schemas.openxmlformats.org/officeDocument/2006/relationships/chart" Target="../charts/chart26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7.xml"/><Relationship Id="rId3" Type="http://schemas.openxmlformats.org/officeDocument/2006/relationships/chart" Target="../charts/chart268.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9.xml"/><Relationship Id="rId3" Type="http://schemas.openxmlformats.org/officeDocument/2006/relationships/chart" Target="../charts/chart270.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1.xml"/><Relationship Id="rId3" Type="http://schemas.openxmlformats.org/officeDocument/2006/relationships/chart" Target="../charts/chart27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3.xml"/><Relationship Id="rId3" Type="http://schemas.openxmlformats.org/officeDocument/2006/relationships/chart" Target="../charts/chart27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5.xml"/><Relationship Id="rId3" Type="http://schemas.openxmlformats.org/officeDocument/2006/relationships/chart" Target="../charts/chart27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7.xml"/><Relationship Id="rId3" Type="http://schemas.openxmlformats.org/officeDocument/2006/relationships/chart" Target="../charts/chart278.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9.xml"/><Relationship Id="rId3" Type="http://schemas.openxmlformats.org/officeDocument/2006/relationships/chart" Target="../charts/chart280.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1.xml"/><Relationship Id="rId3" Type="http://schemas.openxmlformats.org/officeDocument/2006/relationships/chart" Target="../charts/chart28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3.xml"/><Relationship Id="rId3" Type="http://schemas.openxmlformats.org/officeDocument/2006/relationships/chart" Target="../charts/chart284.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5.xml"/><Relationship Id="rId3" Type="http://schemas.openxmlformats.org/officeDocument/2006/relationships/chart" Target="../charts/chart286.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7.xml"/><Relationship Id="rId3" Type="http://schemas.openxmlformats.org/officeDocument/2006/relationships/chart" Target="../charts/chart288.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9.xml"/><Relationship Id="rId3" Type="http://schemas.openxmlformats.org/officeDocument/2006/relationships/chart" Target="../charts/chart290.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1.xml"/><Relationship Id="rId3" Type="http://schemas.openxmlformats.org/officeDocument/2006/relationships/chart" Target="../charts/chart29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3.xml"/><Relationship Id="rId3" Type="http://schemas.openxmlformats.org/officeDocument/2006/relationships/chart" Target="../charts/chart29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5.xml"/><Relationship Id="rId3" Type="http://schemas.openxmlformats.org/officeDocument/2006/relationships/chart" Target="../charts/chart29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7.xml"/><Relationship Id="rId3" Type="http://schemas.openxmlformats.org/officeDocument/2006/relationships/chart" Target="../charts/chart298.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9.xml"/><Relationship Id="rId3" Type="http://schemas.openxmlformats.org/officeDocument/2006/relationships/chart" Target="../charts/chart300.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1.xml"/><Relationship Id="rId3" Type="http://schemas.openxmlformats.org/officeDocument/2006/relationships/chart" Target="../charts/chart30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3.xml"/><Relationship Id="rId3" Type="http://schemas.openxmlformats.org/officeDocument/2006/relationships/chart" Target="../charts/chart304.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5.xml"/><Relationship Id="rId3" Type="http://schemas.openxmlformats.org/officeDocument/2006/relationships/chart" Target="../charts/chart30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7.xml"/><Relationship Id="rId3" Type="http://schemas.openxmlformats.org/officeDocument/2006/relationships/chart" Target="../charts/chart308.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9.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0.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7.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8.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9.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4.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7.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8.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9.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0.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2.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6.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7.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8.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9.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0.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2.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4.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6.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8.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9.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0.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3.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4.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6.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7.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8.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0.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2.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3.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4.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5.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6.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7.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8.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0.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3.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4.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5.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6.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7.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8.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9.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0.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2.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3.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4.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5.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6.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7.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8.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9.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0.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2.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3.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4.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5.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6.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8.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9.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0.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2.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3.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4.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5.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6.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7.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8.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0.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2.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3.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4.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5.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6.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7.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8.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9.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0.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2.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3.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4.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5.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6.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7.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9.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0.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2.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3.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4.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5.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6.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7.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8.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9.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0.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2.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3.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4.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5.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6.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7.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8.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9.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0.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2.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3.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4.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 Id="rId3" Type="http://schemas.openxmlformats.org/officeDocument/2006/relationships/chart" Target="../charts/chart1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 Id="rId3" Type="http://schemas.openxmlformats.org/officeDocument/2006/relationships/chart" Target="../charts/chart13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 Id="rId3" Type="http://schemas.openxmlformats.org/officeDocument/2006/relationships/chart" Target="../charts/chart13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 Id="rId3" Type="http://schemas.openxmlformats.org/officeDocument/2006/relationships/chart" Target="../charts/chart14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 Id="rId3" Type="http://schemas.openxmlformats.org/officeDocument/2006/relationships/chart" Target="../charts/chart14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 Id="rId3" Type="http://schemas.openxmlformats.org/officeDocument/2006/relationships/chart" Target="../charts/chart14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 Id="rId3" Type="http://schemas.openxmlformats.org/officeDocument/2006/relationships/chart" Target="../charts/chart14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 Id="rId3" Type="http://schemas.openxmlformats.org/officeDocument/2006/relationships/chart" Target="../charts/chart14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 Id="rId3" Type="http://schemas.openxmlformats.org/officeDocument/2006/relationships/chart" Target="../charts/chart15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 Id="rId3" Type="http://schemas.openxmlformats.org/officeDocument/2006/relationships/chart" Target="../charts/chart15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 Id="rId3" Type="http://schemas.openxmlformats.org/officeDocument/2006/relationships/chart" Target="../charts/chart1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 Id="rId3" Type="http://schemas.openxmlformats.org/officeDocument/2006/relationships/chart" Target="../charts/chart15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 Id="rId3" Type="http://schemas.openxmlformats.org/officeDocument/2006/relationships/chart" Target="../charts/chart15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 Id="rId3" Type="http://schemas.openxmlformats.org/officeDocument/2006/relationships/chart" Target="../charts/chart16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 Id="rId3" Type="http://schemas.openxmlformats.org/officeDocument/2006/relationships/chart" Target="../charts/chart16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 Id="rId3" Type="http://schemas.openxmlformats.org/officeDocument/2006/relationships/chart" Target="../charts/chart16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 Id="rId3" Type="http://schemas.openxmlformats.org/officeDocument/2006/relationships/chart" Target="../charts/chart16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 Id="rId3" Type="http://schemas.openxmlformats.org/officeDocument/2006/relationships/chart" Target="../charts/chart16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 Id="rId3" Type="http://schemas.openxmlformats.org/officeDocument/2006/relationships/chart" Target="../charts/chart17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 Id="rId3" Type="http://schemas.openxmlformats.org/officeDocument/2006/relationships/chart" Target="../charts/chart17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 Id="rId3" Type="http://schemas.openxmlformats.org/officeDocument/2006/relationships/chart" Target="../charts/chart1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 Id="rId3" Type="http://schemas.openxmlformats.org/officeDocument/2006/relationships/chart" Target="../charts/chart17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 Id="rId3" Type="http://schemas.openxmlformats.org/officeDocument/2006/relationships/chart" Target="../charts/chart17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 Id="rId3" Type="http://schemas.openxmlformats.org/officeDocument/2006/relationships/chart" Target="../charts/chart18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 Id="rId3" Type="http://schemas.openxmlformats.org/officeDocument/2006/relationships/chart" Target="../charts/chart18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 Id="rId3" Type="http://schemas.openxmlformats.org/officeDocument/2006/relationships/chart" Target="../charts/chart18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 Id="rId3" Type="http://schemas.openxmlformats.org/officeDocument/2006/relationships/chart" Target="../charts/chart18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 Id="rId3" Type="http://schemas.openxmlformats.org/officeDocument/2006/relationships/chart" Target="../charts/chart18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 Id="rId3" Type="http://schemas.openxmlformats.org/officeDocument/2006/relationships/chart" Target="../charts/chart19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 Id="rId3" Type="http://schemas.openxmlformats.org/officeDocument/2006/relationships/chart" Target="../charts/chart19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 Id="rId3" Type="http://schemas.openxmlformats.org/officeDocument/2006/relationships/chart" Target="../charts/chart1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2239625" y="3710240"/>
            <a:ext cx="6250170" cy="6209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710240"/>
            <a:ext cx="781271" cy="6209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781271" cy="2483606"/>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2239625" y="1226634"/>
            <a:ext cx="6250170" cy="2483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Effervescents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43370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uvet Ladubay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90161706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375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03331387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750ml (7.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45793551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étui) 750ml (1.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239026075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étui) 150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24240030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1927121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93834421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750ml (2.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5719078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étui)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0013428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Rosé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22850925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et Rosé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861497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nard-Duchêne (3.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05748004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oët &amp; Chandon Réserve Impériale 750ml (1.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200758157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ommery Brut Silver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euve Clicquot Réserve Cuvée 750ml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318197627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errier-Jouët Blanc Grand Brut 750ml (0.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449472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iper-Heidsieck Essential by Nicolas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4253457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ol Roger Brut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47617401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ouis Roederer Brut Collection 245 750ml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78852211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Taittinger Prestige Brut 750ml (1.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75688372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Taittinger Prestige Brut 150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5666897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Extra Brut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41928694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Brut 750ml (3.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7979520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lo V (5.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91207146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Brut 150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17918174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Rosé 75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99449458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Saint-Gall Tradition 1er Cru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429097851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33841003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75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2986734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150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3468849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ristophe Lefèvre Cuvée Prestige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 Saint-Gall Tradition 1er Cru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Georges Vesselle Grand Cru Brut 750ml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5020751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ranken Demoiselle Rosé Prestige 750ml (2.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25724174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ranken Demoiselle Tête de Cuvée 750ml (1.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4803729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Piper-Heidsieck Essential by Nicolas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idsieck Monopole Silver Top 750ml (4.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1512464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hâteau Moncontour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79993752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ommery Brut Silver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0713721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lairette de Die Cuvée Dea Augusta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25235089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Loire De Chanceny Brut 2015 75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387125357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Saumur Bouvet Cuvée Saphir Brut 750ml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12544842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rdeaux La Maqueline Brut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194934777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Patriarche Rosé Brut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90229334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Patriarche Brut 750ml (1.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5912381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Louis Picamelot Brut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83725525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Alsace Muré Prestige Bio 750ml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89735699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Alsace Wolfberger AOP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831461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ontarini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04036096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Château Moncontour Brut Vouvray 750ml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5609477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ouvray Domaine du Petit Coteau 750ml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52239870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Les Grumes Bulles 750ml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31651086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euve du Vernay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83160867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euve du Vernay Sans Alcool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173238279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French Bloom Blanc Bio Sans Alcool 75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321381160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French Bloom Rosé Bio Sans Alcool 750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97224057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Lyre's Classico Sans Alcool 750ml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73786111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750ml (2.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276384767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Rosé 750ml (1.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427155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ru La Maqueline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409268047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Carlo V Cuvée Del Imperator 750ml (5.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26199417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Savian Extra Dry Bio 750ml (2.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420126709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Contarini Brut 150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00269116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Riccadonna Extra Dry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64280368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Mionetto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140081265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Gold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406670503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perol Spritz Coffret pour l'apéro 750ml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83203374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Nicola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1ère Cuvée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Nicolas 1èr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Nicolas Blanc de Blancs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Nicolas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Nicolas Blanc de Blancs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3492701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Nicolas Inno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Bulles Blanc de Blancs désalcooli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08335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Nicola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E.Nicolas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E.Nicolas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46756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Bligny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66760867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rut &amp; Rosé bund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Malard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3738197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sserat de Bellefon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Besserat de Bellefon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Besserat de Bellefon Ble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2872431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Ayala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Ayala Brut Majeu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3455132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olling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Bollinger Special Cuvé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Bollinger 1846 Special Cuvé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2484150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anard-Duchên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anard-Duchêne Blanc Cuvée Léonie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Canard-Duchêne Blanc Cuvée Léoni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4853048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alli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allier Blanc Série R.021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9789052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utz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utz Brut Classique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utz Brut Classiqu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Deutz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7699842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listed P3M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Gosset Grande Réserv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 Venoge Cordon Bleu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7020242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enrio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Henriot Brut Souverain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Henriot Brut Souverain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777270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aurent Perri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aurent-Perrier Blanc La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Laurent-Perrier Blanc La Cuvé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Laurent-Perrier Blanc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010944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Chanceny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858469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efèvr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hristophe Lefèvre Cuvée Prestig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1129471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alard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Malard Brut Millésime 201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Malard Grand Cru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Malard Grand Cru Blanc de Noir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Malard 1er Cru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2202089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 Bligny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hâteau de Blign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5115084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ouis Martin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ouis Martin Brut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8378475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Bru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Ruinart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rut (étui)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835245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Magnum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rut (étui)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4394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Blanc de Blanc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lanc de Blancs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Ruinart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lanc de Blancs (étui)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4985637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Rosé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6491228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oët &amp; Chandon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Moët &amp; Chandon Réserve Impérial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7221034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Veuve Clicquo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Veuve Clicquot Réserv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583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Saint-Gal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94492960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errier-Jouë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errier-Jouët Blanc Grand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4458098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iper-Heidsieck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iper-Heidsieck Essential by Nicola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4012572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ol Rog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ol Roger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527021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oeder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ouis Roederer Brut Collection 24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2594302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Taitting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Taittinger Prestig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Taittinger Prestig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2676845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Feuilatt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Feuillatte Extra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Nicolas Feuillatte Réserve Exclusiv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Nicolas Feuillatte Réserve Exclusiv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Nicolas Feuillatte Réserve Exclusive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9866418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 Saint-Gall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 Saint-Gall Tradition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5700389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 Venog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 Venoge Cordon Bleu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 Venoge Cordon Ble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997901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Vessel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Georges Vesselle Grand Cr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9167939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moisel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Vranken Demoiselle Rosé Prestig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Vranken Demoiselle Tête d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36173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Venoge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68090782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onop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Heidsieck Monopole Silver Top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8572105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ommery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ommery Brut Silve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6090453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lairette de Di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lairette de Die Cuvée Dea Augusta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5817976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réman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rémant de Loire De Chanceny Brut 201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rémant Saumur Bouvet Cuvée Saphir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rémant de Bordeaux La Maquelin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rémant de Bourgogne Patriarche Rosé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rémant de Bourgogne Patriarch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B8B60D"/>
                    </a:solidFill>
                  </a:tcPr>
                </a:tc>
                <a:tc>
                  <a:txBody>
                    <a:bodyPr/>
                    <a:lstStyle/>
                    <a:p>
                      <a:pPr algn="l">
                        <a:defRPr sz="800">
                          <a:latin typeface="Nexa Book"/>
                        </a:defRPr>
                      </a:pPr>
                      <a:r>
                        <a:rPr sz="800">
                          <a:latin typeface="Nexa Book"/>
                        </a:rPr>
                        <a:t>Crémant d'Alsace Muré Prestige Bi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3608710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From other market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rémant de Bourgogne Louis Picamelot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rémant d'Alsace Wolfberger AOP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Prosecco Riccadonna Extra Dr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Prosecco Mionett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Prosecco Bottega Gold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5042322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ousseux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Mousseux Château Moncontour Brut Vouvra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Mousseux Vouvray Domaine du Petit Cotea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Mousseux Les Grumes Bulle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Mousseux Veuve du Verna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677058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ans alcool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Mousseux Veuve du Vernay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Mousseux French Bloom Blanc Bi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Mousseux French Bloom Rosé Bi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Mousseux Lyre's Classic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14131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rosecco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Prosecco Bottega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Prosecco Bottega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Prosecco Carlo V Cuvée Del Imperato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Prosecco Savian Extra Dry Bi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Prosecco Contarini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8675697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offre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Aperol Spritz Coffret pour l'apéro 750m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1220615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undle 2x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0909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2239625" y="3710240"/>
            <a:ext cx="6250170" cy="6209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710240"/>
            <a:ext cx="781271" cy="6209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781271" cy="2483606"/>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2239625" y="1226634"/>
            <a:ext cx="6250170" cy="2483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Champagnes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3579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a Augusta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14639156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undle 3x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Ruinart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0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2068884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1ère Cuvée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1</a:t>
            </a:fld>
            <a:endParaRPr lang="en-US"/>
          </a:p>
        </p:txBody>
      </p:sp>
      <p:sp>
        <p:nvSpPr>
          <p:cNvPr id="22" name="Rectangle 21"/>
          <p:cNvSpPr/>
          <p:nvPr/>
        </p:nvSpPr>
        <p:spPr>
          <a:xfrm>
            <a:off x="972000" y="1458000"/>
            <a:ext cx="4634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7664376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1ère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2</a:t>
            </a:fld>
            <a:endParaRPr lang="en-US"/>
          </a:p>
        </p:txBody>
      </p:sp>
      <p:sp>
        <p:nvSpPr>
          <p:cNvPr id="22" name="Rectangle 21"/>
          <p:cNvSpPr/>
          <p:nvPr/>
        </p:nvSpPr>
        <p:spPr>
          <a:xfrm>
            <a:off x="9720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372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0806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30668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9277205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3</a:t>
            </a:fld>
            <a:endParaRPr lang="en-US"/>
          </a:p>
        </p:txBody>
      </p:sp>
      <p:sp>
        <p:nvSpPr>
          <p:cNvPr id="22" name="Rectangle 21"/>
          <p:cNvSpPr/>
          <p:nvPr/>
        </p:nvSpPr>
        <p:spPr>
          <a:xfrm>
            <a:off x="97200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3926981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4</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1229666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5</a:t>
            </a:fld>
            <a:endParaRPr lang="en-US"/>
          </a:p>
        </p:txBody>
      </p:sp>
      <p:sp>
        <p:nvSpPr>
          <p:cNvPr id="22" name="Rectangle 21"/>
          <p:cNvSpPr/>
          <p:nvPr/>
        </p:nvSpPr>
        <p:spPr>
          <a:xfrm>
            <a:off x="9720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10240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75884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354711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ulles Blanc de Blancs désalcooli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6</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41605584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7</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147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945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7434297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8</a:t>
            </a:fld>
            <a:endParaRPr lang="en-US"/>
          </a:p>
        </p:txBody>
      </p:sp>
      <p:sp>
        <p:nvSpPr>
          <p:cNvPr id="22" name="Rectangle 21"/>
          <p:cNvSpPr/>
          <p:nvPr/>
        </p:nvSpPr>
        <p:spPr>
          <a:xfrm>
            <a:off x="972000" y="1458000"/>
            <a:ext cx="4465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3708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4680635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9</a:t>
            </a:fld>
            <a:endParaRPr lang="en-US"/>
          </a:p>
        </p:txBody>
      </p:sp>
      <p:sp>
        <p:nvSpPr>
          <p:cNvPr id="22" name="Rectangle 21"/>
          <p:cNvSpPr/>
          <p:nvPr/>
        </p:nvSpPr>
        <p:spPr>
          <a:xfrm>
            <a:off x="972000" y="1458000"/>
            <a:ext cx="2204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7628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702320" y="1458000"/>
            <a:ext cx="1921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610672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moiselle (3.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10529244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0</a:t>
            </a:fld>
            <a:endParaRPr lang="en-US"/>
          </a:p>
        </p:txBody>
      </p:sp>
      <p:sp>
        <p:nvSpPr>
          <p:cNvPr id="22" name="Rectangle 21"/>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7196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55456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49284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60588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4812485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1</a:t>
            </a:fld>
            <a:endParaRPr lang="en-US"/>
          </a:p>
        </p:txBody>
      </p:sp>
      <p:sp>
        <p:nvSpPr>
          <p:cNvPr id="22" name="Rectangle 21"/>
          <p:cNvSpPr/>
          <p:nvPr/>
        </p:nvSpPr>
        <p:spPr>
          <a:xfrm>
            <a:off x="972000" y="1458000"/>
            <a:ext cx="4465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3708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8463227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et Rosé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2</a:t>
            </a:fld>
            <a:endParaRPr lang="en-US"/>
          </a:p>
        </p:txBody>
      </p:sp>
      <p:sp>
        <p:nvSpPr>
          <p:cNvPr id="22" name="Rectangle 21"/>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7196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571920" y="1458000"/>
            <a:ext cx="3052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362650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esserat de Bellefon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3</a:t>
            </a:fld>
            <a:endParaRPr lang="en-US"/>
          </a:p>
        </p:txBody>
      </p:sp>
      <p:sp>
        <p:nvSpPr>
          <p:cNvPr id="22" name="Rectangle 21"/>
          <p:cNvSpPr/>
          <p:nvPr/>
        </p:nvSpPr>
        <p:spPr>
          <a:xfrm>
            <a:off x="972000" y="1458000"/>
            <a:ext cx="4578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55012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5735454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esserat de Bellefon Bleu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4</a:t>
            </a:fld>
            <a:endParaRPr lang="en-US"/>
          </a:p>
        </p:txBody>
      </p:sp>
      <p:sp>
        <p:nvSpPr>
          <p:cNvPr id="22" name="Rectangle 21"/>
          <p:cNvSpPr/>
          <p:nvPr/>
        </p:nvSpPr>
        <p:spPr>
          <a:xfrm>
            <a:off x="972000" y="1458000"/>
            <a:ext cx="2204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1762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345840" y="1458000"/>
            <a:ext cx="3278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7865673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Ayala Brut Majeur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5</a:t>
            </a:fld>
            <a:endParaRPr lang="en-US"/>
          </a:p>
        </p:txBody>
      </p:sp>
      <p:sp>
        <p:nvSpPr>
          <p:cNvPr id="22" name="Rectangle 21"/>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8496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9676635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ollinger Special Cuvé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6</a:t>
            </a:fld>
            <a:endParaRPr lang="en-US"/>
          </a:p>
        </p:txBody>
      </p:sp>
      <p:sp>
        <p:nvSpPr>
          <p:cNvPr id="22" name="Rectangle 21"/>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6764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78064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220179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ollinger 1846 Special Cuvée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7</a:t>
            </a:fld>
            <a:endParaRPr lang="en-US"/>
          </a:p>
        </p:txBody>
      </p:sp>
      <p:sp>
        <p:nvSpPr>
          <p:cNvPr id="22" name="Rectangle 21"/>
          <p:cNvSpPr/>
          <p:nvPr/>
        </p:nvSpPr>
        <p:spPr>
          <a:xfrm>
            <a:off x="97200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4152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66316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447611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2820413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9</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2147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91104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76850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Perrier-Jouë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utz (4.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03252942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0</a:t>
            </a:fld>
            <a:endParaRPr lang="en-US"/>
          </a:p>
        </p:txBody>
      </p:sp>
      <p:sp>
        <p:nvSpPr>
          <p:cNvPr id="22" name="Rectangle 21"/>
          <p:cNvSpPr/>
          <p:nvPr/>
        </p:nvSpPr>
        <p:spPr>
          <a:xfrm>
            <a:off x="97200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284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13712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65504706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1</a:t>
            </a:fld>
            <a:endParaRPr lang="en-US"/>
          </a:p>
        </p:txBody>
      </p:sp>
      <p:sp>
        <p:nvSpPr>
          <p:cNvPr id="22" name="Rectangle 21"/>
          <p:cNvSpPr/>
          <p:nvPr/>
        </p:nvSpPr>
        <p:spPr>
          <a:xfrm>
            <a:off x="97200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64580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9423305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2</a:t>
            </a:fld>
            <a:endParaRPr lang="en-US"/>
          </a:p>
        </p:txBody>
      </p:sp>
      <p:sp>
        <p:nvSpPr>
          <p:cNvPr id="22" name="Rectangle 21"/>
          <p:cNvSpPr/>
          <p:nvPr/>
        </p:nvSpPr>
        <p:spPr>
          <a:xfrm>
            <a:off x="972000" y="1458000"/>
            <a:ext cx="3617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5892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3622582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llier Blanc Série R.021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3</a:t>
            </a:fld>
            <a:endParaRPr lang="en-US"/>
          </a:p>
        </p:txBody>
      </p:sp>
      <p:sp>
        <p:nvSpPr>
          <p:cNvPr id="22" name="Rectangle 21"/>
          <p:cNvSpPr/>
          <p:nvPr/>
        </p:nvSpPr>
        <p:spPr>
          <a:xfrm>
            <a:off x="972000" y="1458000"/>
            <a:ext cx="339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11120" y="1458000"/>
            <a:ext cx="2204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1578735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4</a:t>
            </a:fld>
            <a:endParaRPr lang="en-US"/>
          </a:p>
        </p:txBody>
      </p:sp>
      <p:sp>
        <p:nvSpPr>
          <p:cNvPr id="22" name="Rectangle 21"/>
          <p:cNvSpPr/>
          <p:nvPr/>
        </p:nvSpPr>
        <p:spPr>
          <a:xfrm>
            <a:off x="97200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154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956322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5</a:t>
            </a:fld>
            <a:endParaRPr lang="en-US"/>
          </a:p>
        </p:txBody>
      </p:sp>
      <p:sp>
        <p:nvSpPr>
          <p:cNvPr id="22" name="Rectangle 21"/>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284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4760265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6</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430558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7</a:t>
            </a:fld>
            <a:endParaRPr lang="en-US"/>
          </a:p>
        </p:txBody>
      </p:sp>
      <p:sp>
        <p:nvSpPr>
          <p:cNvPr id="22" name="Rectangle 21"/>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3" name="Rectangle 22"/>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3864651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8</a:t>
            </a:fld>
            <a:endParaRPr lang="en-US"/>
          </a:p>
        </p:txBody>
      </p:sp>
      <p:sp>
        <p:nvSpPr>
          <p:cNvPr id="22" name="Rectangle 21"/>
          <p:cNvSpPr/>
          <p:nvPr/>
        </p:nvSpPr>
        <p:spPr>
          <a:xfrm>
            <a:off x="972000" y="1458000"/>
            <a:ext cx="3334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30668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1882279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9</a:t>
            </a:fld>
            <a:endParaRPr lang="en-US"/>
          </a:p>
        </p:txBody>
      </p:sp>
      <p:sp>
        <p:nvSpPr>
          <p:cNvPr id="22" name="Rectangle 21"/>
          <p:cNvSpPr/>
          <p:nvPr/>
        </p:nvSpPr>
        <p:spPr>
          <a:xfrm>
            <a:off x="9720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3720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83716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91104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7" name="Rectangle 26"/>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679428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French Bloom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74508855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Gosset Grande Réserv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0</a:t>
            </a:fld>
            <a:endParaRPr lang="en-US"/>
          </a:p>
        </p:txBody>
      </p:sp>
      <p:sp>
        <p:nvSpPr>
          <p:cNvPr id="22" name="Rectangle 21"/>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28480" y="1458000"/>
            <a:ext cx="4295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6191799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nriot Brut Souverain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1</a:t>
            </a:fld>
            <a:endParaRPr lang="en-US"/>
          </a:p>
        </p:txBody>
      </p:sp>
      <p:sp>
        <p:nvSpPr>
          <p:cNvPr id="22" name="Rectangle 21"/>
          <p:cNvSpPr/>
          <p:nvPr/>
        </p:nvSpPr>
        <p:spPr>
          <a:xfrm>
            <a:off x="97200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2697418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nriot Brut Souverain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2</a:t>
            </a:fld>
            <a:endParaRPr lang="en-US"/>
          </a:p>
        </p:txBody>
      </p:sp>
      <p:sp>
        <p:nvSpPr>
          <p:cNvPr id="22" name="Rectangle 21"/>
          <p:cNvSpPr/>
          <p:nvPr/>
        </p:nvSpPr>
        <p:spPr>
          <a:xfrm>
            <a:off x="972000" y="1458000"/>
            <a:ext cx="25999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5719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741480" y="1458000"/>
            <a:ext cx="2882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0656158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La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3</a:t>
            </a:fld>
            <a:endParaRPr lang="en-US"/>
          </a:p>
        </p:txBody>
      </p:sp>
      <p:sp>
        <p:nvSpPr>
          <p:cNvPr id="22" name="Rectangle 21"/>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72412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4263837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La Cuvée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68942804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23319011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hristophe Lefèvre Cuvée Prestig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6</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356159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Millésime 2015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7</a:t>
            </a:fld>
            <a:endParaRPr lang="en-US"/>
          </a:p>
        </p:txBody>
      </p:sp>
      <p:sp>
        <p:nvSpPr>
          <p:cNvPr id="22" name="Rectangle 21"/>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29885370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Grand Cru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8</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3066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3189421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Grand Cru Blanc de Noir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9</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3066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603515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osset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251812747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0</a:t>
            </a:fld>
            <a:endParaRPr lang="en-US"/>
          </a:p>
        </p:txBody>
      </p:sp>
      <p:sp>
        <p:nvSpPr>
          <p:cNvPr id="22" name="Rectangle 21"/>
          <p:cNvSpPr/>
          <p:nvPr/>
        </p:nvSpPr>
        <p:spPr>
          <a:xfrm>
            <a:off x="9720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2546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55456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8802386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1</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850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51540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4167588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2</a:t>
            </a:fld>
            <a:endParaRPr lang="en-US"/>
          </a:p>
        </p:txBody>
      </p:sp>
      <p:sp>
        <p:nvSpPr>
          <p:cNvPr id="22" name="Rectangle 21"/>
          <p:cNvSpPr/>
          <p:nvPr/>
        </p:nvSpPr>
        <p:spPr>
          <a:xfrm>
            <a:off x="972000" y="1458000"/>
            <a:ext cx="3447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4197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776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5686126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1er Cru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3</a:t>
            </a:fld>
            <a:endParaRPr lang="en-US"/>
          </a:p>
        </p:txBody>
      </p:sp>
      <p:sp>
        <p:nvSpPr>
          <p:cNvPr id="22" name="Rectangle 21"/>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9368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702320" y="1458000"/>
            <a:ext cx="1921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7995744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et Rosé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4</a:t>
            </a:fld>
            <a:endParaRPr lang="en-US"/>
          </a:p>
        </p:txBody>
      </p:sp>
      <p:sp>
        <p:nvSpPr>
          <p:cNvPr id="22" name="Rectangle 21"/>
          <p:cNvSpPr/>
          <p:nvPr/>
        </p:nvSpPr>
        <p:spPr>
          <a:xfrm>
            <a:off x="972000" y="1458000"/>
            <a:ext cx="2769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41480" y="1458000"/>
            <a:ext cx="113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8545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02408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4785767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hâteau de Blign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5</a:t>
            </a:fld>
            <a:endParaRPr lang="en-US"/>
          </a:p>
        </p:txBody>
      </p:sp>
      <p:sp>
        <p:nvSpPr>
          <p:cNvPr id="22" name="Rectangle 21"/>
          <p:cNvSpPr/>
          <p:nvPr/>
        </p:nvSpPr>
        <p:spPr>
          <a:xfrm>
            <a:off x="9720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02722626"/>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ouis Martin Brut 1er Cr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6</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4588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9942263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7</a:t>
            </a:fld>
            <a:endParaRPr lang="en-US"/>
          </a:p>
        </p:txBody>
      </p:sp>
      <p:sp>
        <p:nvSpPr>
          <p:cNvPr id="22" name="Rectangle 21"/>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8731853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8</a:t>
            </a:fld>
            <a:endParaRPr lang="en-US"/>
          </a:p>
        </p:txBody>
      </p:sp>
      <p:sp>
        <p:nvSpPr>
          <p:cNvPr id="22" name="Rectangle 21"/>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7227524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étui)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9</a:t>
            </a:fld>
            <a:endParaRPr lang="en-US"/>
          </a:p>
        </p:txBody>
      </p:sp>
      <p:sp>
        <p:nvSpPr>
          <p:cNvPr id="22" name="Rectangle 21"/>
          <p:cNvSpPr/>
          <p:nvPr/>
        </p:nvSpPr>
        <p:spPr>
          <a:xfrm>
            <a:off x="972000" y="1458000"/>
            <a:ext cx="2939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91104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55171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iper-Heidsie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eidsieck &amp; C° Monopole (4.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05367360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étui)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0</a:t>
            </a:fld>
            <a:endParaRPr lang="en-US"/>
          </a:p>
        </p:txBody>
      </p:sp>
      <p:sp>
        <p:nvSpPr>
          <p:cNvPr id="22" name="Rectangle 21"/>
          <p:cNvSpPr/>
          <p:nvPr/>
        </p:nvSpPr>
        <p:spPr>
          <a:xfrm>
            <a:off x="972000" y="1458000"/>
            <a:ext cx="4691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66316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2899599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1</a:t>
            </a:fld>
            <a:endParaRPr lang="en-US"/>
          </a:p>
        </p:txBody>
      </p:sp>
      <p:sp>
        <p:nvSpPr>
          <p:cNvPr id="22" name="Rectangle 21"/>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19760" y="1458000"/>
            <a:ext cx="56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176280" y="1458000"/>
            <a:ext cx="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17628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85452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04144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456370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2</a:t>
            </a:fld>
            <a:endParaRPr lang="en-US"/>
          </a:p>
        </p:txBody>
      </p:sp>
      <p:sp>
        <p:nvSpPr>
          <p:cNvPr id="22" name="Rectangle 21"/>
          <p:cNvSpPr/>
          <p:nvPr/>
        </p:nvSpPr>
        <p:spPr>
          <a:xfrm>
            <a:off x="97200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3458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284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49284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5025368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3</a:t>
            </a:fld>
            <a:endParaRPr lang="en-US"/>
          </a:p>
        </p:txBody>
      </p:sp>
      <p:sp>
        <p:nvSpPr>
          <p:cNvPr id="22" name="Rectangle 21"/>
          <p:cNvSpPr/>
          <p:nvPr/>
        </p:nvSpPr>
        <p:spPr>
          <a:xfrm>
            <a:off x="972000" y="1458000"/>
            <a:ext cx="3165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13712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60347710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étui)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23458023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5</a:t>
            </a:fld>
            <a:endParaRPr lang="en-US"/>
          </a:p>
        </p:txBody>
      </p:sp>
      <p:sp>
        <p:nvSpPr>
          <p:cNvPr id="22" name="Rectangle 21"/>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98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5261340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et Rosé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6</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7792927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oët &amp; Chandon Réserve Impérial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7</a:t>
            </a:fld>
            <a:endParaRPr lang="en-US"/>
          </a:p>
        </p:txBody>
      </p:sp>
      <p:sp>
        <p:nvSpPr>
          <p:cNvPr id="22" name="Rectangle 21"/>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72412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8718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04144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7235632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euve Clicquot Réserve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8</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3284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8545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4734136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errier-Jouët Blanc Grand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9</a:t>
            </a:fld>
            <a:endParaRPr lang="en-US"/>
          </a:p>
        </p:txBody>
      </p:sp>
      <p:sp>
        <p:nvSpPr>
          <p:cNvPr id="22" name="Rectangle 21"/>
          <p:cNvSpPr/>
          <p:nvPr/>
        </p:nvSpPr>
        <p:spPr>
          <a:xfrm>
            <a:off x="972000" y="1458000"/>
            <a:ext cx="3052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02408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225743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enriot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73273758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iper-Heidsieck Essential by Nicola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0</a:t>
            </a:fld>
            <a:endParaRPr lang="en-US"/>
          </a:p>
        </p:txBody>
      </p:sp>
      <p:sp>
        <p:nvSpPr>
          <p:cNvPr id="22" name="Rectangle 21"/>
          <p:cNvSpPr/>
          <p:nvPr/>
        </p:nvSpPr>
        <p:spPr>
          <a:xfrm>
            <a:off x="97200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04588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8012046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ol Roger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1</a:t>
            </a:fld>
            <a:endParaRPr lang="en-US"/>
          </a:p>
        </p:txBody>
      </p:sp>
      <p:sp>
        <p:nvSpPr>
          <p:cNvPr id="22" name="Rectangle 21"/>
          <p:cNvSpPr/>
          <p:nvPr/>
        </p:nvSpPr>
        <p:spPr>
          <a:xfrm>
            <a:off x="972000" y="1458000"/>
            <a:ext cx="2769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741480" y="1458000"/>
            <a:ext cx="113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8545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82404986"/>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ouis Roederer Brut Collection 245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2</a:t>
            </a:fld>
            <a:endParaRPr lang="en-US"/>
          </a:p>
        </p:txBody>
      </p:sp>
      <p:sp>
        <p:nvSpPr>
          <p:cNvPr id="22" name="Rectangle 21"/>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676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49804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7957819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Taittinger Prestig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3</a:t>
            </a:fld>
            <a:endParaRPr lang="en-US"/>
          </a:p>
        </p:txBody>
      </p:sp>
      <p:sp>
        <p:nvSpPr>
          <p:cNvPr id="22" name="Rectangle 21"/>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6764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78064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41371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6631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4971409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Taittinger Prestige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390795086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Extra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5</a:t>
            </a:fld>
            <a:endParaRPr lang="en-US"/>
          </a:p>
        </p:txBody>
      </p:sp>
      <p:sp>
        <p:nvSpPr>
          <p:cNvPr id="22" name="Rectangle 21"/>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3342628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6</a:t>
            </a:fld>
            <a:endParaRPr lang="en-US"/>
          </a:p>
        </p:txBody>
      </p:sp>
      <p:sp>
        <p:nvSpPr>
          <p:cNvPr id="22" name="Rectangle 21"/>
          <p:cNvSpPr/>
          <p:nvPr/>
        </p:nvSpPr>
        <p:spPr>
          <a:xfrm>
            <a:off x="97200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2848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3439519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7</a:t>
            </a:fld>
            <a:endParaRPr lang="en-US"/>
          </a:p>
        </p:txBody>
      </p:sp>
      <p:sp>
        <p:nvSpPr>
          <p:cNvPr id="22" name="Rectangle 21"/>
          <p:cNvSpPr/>
          <p:nvPr/>
        </p:nvSpPr>
        <p:spPr>
          <a:xfrm>
            <a:off x="972000" y="1458000"/>
            <a:ext cx="2486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45888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28440" y="1458000"/>
            <a:ext cx="113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7414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702320" y="1458000"/>
            <a:ext cx="1921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415671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8</a:t>
            </a:fld>
            <a:endParaRPr lang="en-US"/>
          </a:p>
        </p:txBody>
      </p:sp>
      <p:sp>
        <p:nvSpPr>
          <p:cNvPr id="22" name="Rectangle 21"/>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5893311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Saint-Gall Tradition 1er Cr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9</a:t>
            </a:fld>
            <a:endParaRPr lang="en-US"/>
          </a:p>
        </p:txBody>
      </p:sp>
      <p:sp>
        <p:nvSpPr>
          <p:cNvPr id="22" name="Rectangle 21"/>
          <p:cNvSpPr/>
          <p:nvPr/>
        </p:nvSpPr>
        <p:spPr>
          <a:xfrm>
            <a:off x="9720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024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867331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llier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2392187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0</a:t>
            </a:fld>
            <a:endParaRPr lang="en-US"/>
          </a:p>
        </p:txBody>
      </p:sp>
      <p:sp>
        <p:nvSpPr>
          <p:cNvPr id="22" name="Rectangle 21"/>
          <p:cNvSpPr/>
          <p:nvPr/>
        </p:nvSpPr>
        <p:spPr>
          <a:xfrm>
            <a:off x="97200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193639"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72363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1</a:t>
            </a:fld>
            <a:endParaRPr lang="en-US"/>
          </a:p>
        </p:txBody>
      </p:sp>
      <p:sp>
        <p:nvSpPr>
          <p:cNvPr id="22" name="Rectangle 21"/>
          <p:cNvSpPr/>
          <p:nvPr/>
        </p:nvSpPr>
        <p:spPr>
          <a:xfrm>
            <a:off x="9720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6849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87188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5419712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2</a:t>
            </a:fld>
            <a:endParaRPr lang="en-US"/>
          </a:p>
        </p:txBody>
      </p:sp>
      <p:sp>
        <p:nvSpPr>
          <p:cNvPr id="22" name="Rectangle 21"/>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8072236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Georges Vesselle Grand Cru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3</a:t>
            </a:fld>
            <a:endParaRPr lang="en-US"/>
          </a:p>
        </p:txBody>
      </p:sp>
      <p:sp>
        <p:nvSpPr>
          <p:cNvPr id="22" name="Rectangle 21"/>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8928580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ranken Demoiselle Rosé Prestig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4</a:t>
            </a:fld>
            <a:endParaRPr lang="en-US"/>
          </a:p>
        </p:txBody>
      </p:sp>
      <p:sp>
        <p:nvSpPr>
          <p:cNvPr id="22" name="Rectangle 21"/>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8496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27741348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ranken Demoiselle Tête de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5</a:t>
            </a:fld>
            <a:endParaRPr lang="en-US"/>
          </a:p>
        </p:txBody>
      </p:sp>
      <p:sp>
        <p:nvSpPr>
          <p:cNvPr id="22" name="Rectangle 21"/>
          <p:cNvSpPr/>
          <p:nvPr/>
        </p:nvSpPr>
        <p:spPr>
          <a:xfrm>
            <a:off x="97200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8763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9220596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idsieck Monopole Silver Top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6</a:t>
            </a:fld>
            <a:endParaRPr lang="en-US"/>
          </a:p>
        </p:txBody>
      </p:sp>
      <p:sp>
        <p:nvSpPr>
          <p:cNvPr id="22" name="Rectangle 21"/>
          <p:cNvSpPr/>
          <p:nvPr/>
        </p:nvSpPr>
        <p:spPr>
          <a:xfrm>
            <a:off x="972000" y="1458000"/>
            <a:ext cx="2543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515400" y="1458000"/>
            <a:ext cx="3108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1254908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ommery Brut Silver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7</a:t>
            </a:fld>
            <a:endParaRPr lang="en-US"/>
          </a:p>
        </p:txBody>
      </p:sp>
      <p:sp>
        <p:nvSpPr>
          <p:cNvPr id="22" name="Rectangle 21"/>
          <p:cNvSpPr/>
          <p:nvPr/>
        </p:nvSpPr>
        <p:spPr>
          <a:xfrm>
            <a:off x="972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067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27196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5719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741480" y="1458000"/>
            <a:ext cx="2882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6669133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lairette de Die Cuvée Dea Augusta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8</a:t>
            </a:fld>
            <a:endParaRPr lang="en-US"/>
          </a:p>
        </p:txBody>
      </p:sp>
      <p:sp>
        <p:nvSpPr>
          <p:cNvPr id="22" name="Rectangle 21"/>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55456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3858380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Loire De Chanceny Brut 2015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9</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183862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urent Perrier (3.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21540283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Saumur Bouvet Cuvée Saphir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0</a:t>
            </a:fld>
            <a:endParaRPr lang="en-US"/>
          </a:p>
        </p:txBody>
      </p:sp>
      <p:sp>
        <p:nvSpPr>
          <p:cNvPr id="22" name="Rectangle 21"/>
          <p:cNvSpPr/>
          <p:nvPr/>
        </p:nvSpPr>
        <p:spPr>
          <a:xfrm>
            <a:off x="97200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85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76614465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rdeaux La Maquelin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1</a:t>
            </a:fld>
            <a:endParaRPr lang="en-US"/>
          </a:p>
        </p:txBody>
      </p:sp>
      <p:sp>
        <p:nvSpPr>
          <p:cNvPr id="22" name="Rectangle 21"/>
          <p:cNvSpPr/>
          <p:nvPr/>
        </p:nvSpPr>
        <p:spPr>
          <a:xfrm>
            <a:off x="97200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3716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45888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5656572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Patriarche Rosé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2</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86206761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Patriarch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3</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387270655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Louis Picamelot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7606212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Alsace Muré Prestige Bio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5</a:t>
            </a:fld>
            <a:endParaRPr lang="en-US"/>
          </a:p>
        </p:txBody>
      </p:sp>
      <p:sp>
        <p:nvSpPr>
          <p:cNvPr id="22" name="Rectangle 21"/>
          <p:cNvSpPr/>
          <p:nvPr/>
        </p:nvSpPr>
        <p:spPr>
          <a:xfrm>
            <a:off x="97200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47624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61718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3005229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Alsace Wolfberger AOP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6</a:t>
            </a:fld>
            <a:endParaRPr lang="en-US"/>
          </a:p>
        </p:txBody>
      </p:sp>
      <p:sp>
        <p:nvSpPr>
          <p:cNvPr id="22" name="Rectangle 21"/>
          <p:cNvSpPr/>
          <p:nvPr/>
        </p:nvSpPr>
        <p:spPr>
          <a:xfrm>
            <a:off x="972000" y="1458000"/>
            <a:ext cx="3391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3632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7273333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Château Moncontour Brut Vouvra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7</a:t>
            </a:fld>
            <a:endParaRPr lang="en-US"/>
          </a:p>
        </p:txBody>
      </p:sp>
      <p:sp>
        <p:nvSpPr>
          <p:cNvPr id="22" name="Rectangle 21"/>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19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92549232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ouvray Domaine du Petit Cotea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877634702"/>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Les Grumes Bulle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9</a:t>
            </a:fld>
            <a:endParaRPr lang="en-US"/>
          </a:p>
        </p:txBody>
      </p:sp>
      <p:sp>
        <p:nvSpPr>
          <p:cNvPr id="22" name="Rectangle 21"/>
          <p:cNvSpPr/>
          <p:nvPr/>
        </p:nvSpPr>
        <p:spPr>
          <a:xfrm>
            <a:off x="972000" y="1458000"/>
            <a:ext cx="3786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75884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049042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efèvre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368441510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euve du Verna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0</a:t>
            </a:fld>
            <a:endParaRPr lang="en-US"/>
          </a:p>
        </p:txBody>
      </p:sp>
      <p:sp>
        <p:nvSpPr>
          <p:cNvPr id="22" name="Rectangle 21"/>
          <p:cNvSpPr/>
          <p:nvPr/>
        </p:nvSpPr>
        <p:spPr>
          <a:xfrm>
            <a:off x="972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385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0467353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euve du Vernay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1</a:t>
            </a:fld>
            <a:endParaRPr lang="en-US"/>
          </a:p>
        </p:txBody>
      </p:sp>
      <p:sp>
        <p:nvSpPr>
          <p:cNvPr id="22" name="Rectangle 21"/>
          <p:cNvSpPr/>
          <p:nvPr/>
        </p:nvSpPr>
        <p:spPr>
          <a:xfrm>
            <a:off x="972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85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119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798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4762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22873131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French Bloom Blanc Bio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2</a:t>
            </a:fld>
            <a:endParaRPr lang="en-US"/>
          </a:p>
        </p:txBody>
      </p:sp>
      <p:sp>
        <p:nvSpPr>
          <p:cNvPr id="22" name="Rectangle 21"/>
          <p:cNvSpPr/>
          <p:nvPr/>
        </p:nvSpPr>
        <p:spPr>
          <a:xfrm>
            <a:off x="97200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32840" y="1458000"/>
            <a:ext cx="4691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11585745"/>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French Bloom Rosé Bio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3</a:t>
            </a:fld>
            <a:endParaRPr lang="en-US"/>
          </a:p>
        </p:txBody>
      </p:sp>
      <p:sp>
        <p:nvSpPr>
          <p:cNvPr id="22" name="Rectangle 21"/>
          <p:cNvSpPr/>
          <p:nvPr/>
        </p:nvSpPr>
        <p:spPr>
          <a:xfrm>
            <a:off x="9720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0240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9110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13712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58928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0417734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Lyre's Classico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4</a:t>
            </a:fld>
            <a:endParaRPr lang="en-US"/>
          </a:p>
        </p:txBody>
      </p:sp>
      <p:sp>
        <p:nvSpPr>
          <p:cNvPr id="22" name="Rectangle 21"/>
          <p:cNvSpPr/>
          <p:nvPr/>
        </p:nvSpPr>
        <p:spPr>
          <a:xfrm>
            <a:off x="972000" y="1458000"/>
            <a:ext cx="3165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137120" y="1458000"/>
            <a:ext cx="12434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7252848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5</a:t>
            </a:fld>
            <a:endParaRPr lang="en-US"/>
          </a:p>
        </p:txBody>
      </p:sp>
      <p:sp>
        <p:nvSpPr>
          <p:cNvPr id="22" name="Rectangle 21"/>
          <p:cNvSpPr/>
          <p:nvPr/>
        </p:nvSpPr>
        <p:spPr>
          <a:xfrm>
            <a:off x="972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8500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798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47624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17633930"/>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6</a:t>
            </a:fld>
            <a:endParaRPr lang="en-US"/>
          </a:p>
        </p:txBody>
      </p:sp>
      <p:sp>
        <p:nvSpPr>
          <p:cNvPr id="22" name="Rectangle 21"/>
          <p:cNvSpPr/>
          <p:nvPr/>
        </p:nvSpPr>
        <p:spPr>
          <a:xfrm>
            <a:off x="9720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76328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30085406"/>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Carlo V Cuvée Del Imperator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7</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6535053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Savian Extra Dry Bio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8</a:t>
            </a:fld>
            <a:endParaRPr lang="en-US"/>
          </a:p>
        </p:txBody>
      </p:sp>
      <p:sp>
        <p:nvSpPr>
          <p:cNvPr id="22" name="Rectangle 21"/>
          <p:cNvSpPr/>
          <p:nvPr/>
        </p:nvSpPr>
        <p:spPr>
          <a:xfrm>
            <a:off x="972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385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119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4517312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Contarini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9</a:t>
            </a:fld>
            <a:endParaRPr lang="en-US"/>
          </a:p>
        </p:txBody>
      </p:sp>
      <p:sp>
        <p:nvSpPr>
          <p:cNvPr id="22" name="Rectangle 21"/>
          <p:cNvSpPr/>
          <p:nvPr/>
        </p:nvSpPr>
        <p:spPr>
          <a:xfrm>
            <a:off x="97200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476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3240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791014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216214" y="3296306"/>
            <a:ext cx="5273581" cy="10348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296306"/>
            <a:ext cx="1757860" cy="1034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1757860" cy="2069672"/>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216214" y="1226634"/>
            <a:ext cx="5273581" cy="2069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Mousseux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90112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es Grumes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3271856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Riccadonna Extra Dr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0</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84650075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Mionetto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1</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3632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2916737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Gold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2</a:t>
            </a:fld>
            <a:endParaRPr lang="en-US"/>
          </a:p>
        </p:txBody>
      </p:sp>
      <p:sp>
        <p:nvSpPr>
          <p:cNvPr id="22" name="Rectangle 21"/>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023794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perol Spritz Coffret pour l'apéro 750m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3</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523233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efèvre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uis Martin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7919468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yre's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091924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alard (6.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894539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ionetto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1439901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oët &amp; Chandon (1.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9275988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uré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871666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colas Feuillatte (4.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851035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atriarche (2.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3187202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errier-Jouët (0.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695575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Effervescents Sans Alcool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07904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etit Coteau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7670332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icamelot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22927022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iper-Heidsieck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7574802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ol Roger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9320099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ommery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38438751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iccadonna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9287328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oederer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14235215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uinart (12.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1036697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avian (2.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125854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Taittinger (2.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1920134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colas (14.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19738463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efèvre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sselle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9449775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uve Clicquot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42008256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uve du Vernay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551497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Wolfberger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487592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1ère Cuvée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37155529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1ère Cuvée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9838963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6317132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19646607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1500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13226564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ulles Blanc de Blancs désalcoolisé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945824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yala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8804163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750ml (11.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8153378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150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9975544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4953402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9983281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Rosé 750ml (0.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32115888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et Rosé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5325196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esserat de Bellefon Blanc de Blancs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4187826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esserat de Bellefon Bleu Brut 750ml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4114025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Ayala Brut Majeur 750ml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27326182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ollinger Special Cuvée Brut 750ml (1.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25142421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sserat De Bellefon (2.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6069876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ollinger 1846 Special Cuvée 150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4142028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375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1954577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750ml (2.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6445861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150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492721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7490644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1093380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llier Blanc Série R.021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2212510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375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375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6244395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750ml (3.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62838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1500ml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3221386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Perrier-Jouë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llinger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13853181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5725012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40431458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Rosé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1453179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Gosset Grande Réserve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6599011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nriot Brut Souverain 375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1223469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nriot Brut Souverain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34712407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La Cuvée 750ml (2.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48191349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La Cuvée 150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79496293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Rosé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391298670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hristophe Lefèvre Cuvée Prestige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2412445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ttega (3.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0644356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Millésime 2015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1773908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alard Grand Cru Blanc de Noirs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Grand Cru Blanc de Blancs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4413336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Grand Cru Blanc de Noirs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17362481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750ml (4.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65156739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6212522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37038529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1er Cru Rosé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7200332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et Rosé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71883222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 Saint-Gall Tradition 1er Cru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hâteau de Bligny 750ml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9556981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ristophe Lefèvre Cuvée Prestige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Grand Cru Blanc de Noirs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ouis Martin Brut 1er Cru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883355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2232</Words>
  <Application>Microsoft Office PowerPoint</Application>
  <PresentationFormat>On-screen Show (16:9)</PresentationFormat>
  <Paragraphs>10186</Paragraphs>
  <Slides>30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3</vt:i4>
      </vt:variant>
    </vt:vector>
  </HeadingPairs>
  <TitlesOfParts>
    <vt:vector size="313"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24</cp:revision>
  <dcterms:created xsi:type="dcterms:W3CDTF">2024-07-08T12:09:12Z</dcterms:created>
  <dcterms:modified xsi:type="dcterms:W3CDTF">2025-09-25T18:4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